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jpeg" ContentType="image/jpeg"/>
  <Default Extension="emf" ContentType="image/x-emf"/>
  <Default Extension="wmf" ContentType="image/x-w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gif" ContentType="image/gi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Masters/slideMaster15.xml" ContentType="application/vnd.openxmlformats-officedocument.presentationml.slideMaster+xml"/>
  <Override PartName="/ppt/slideMasters/slideMaster16.xml" ContentType="application/vnd.openxmlformats-officedocument.presentationml.slideMaster+xml"/>
  <Override PartName="/ppt/slideMasters/slideMaster17.xml" ContentType="application/vnd.openxmlformats-officedocument.presentationml.slideMaster+xml"/>
  <Override PartName="/ppt/slideMasters/slideMaster18.xml" ContentType="application/vnd.openxmlformats-officedocument.presentationml.slideMaster+xml"/>
  <Override PartName="/ppt/slideMasters/slideMaster19.xml" ContentType="application/vnd.openxmlformats-officedocument.presentationml.slideMaster+xml"/>
  <Override PartName="/ppt/slideMasters/slideMaster20.xml" ContentType="application/vnd.openxmlformats-officedocument.presentationml.slideMaster+xml"/>
  <Override PartName="/ppt/slideMasters/slideMaster21.xml" ContentType="application/vnd.openxmlformats-officedocument.presentationml.slideMaster+xml"/>
  <Override PartName="/ppt/slideMasters/slideMaster22.xml" ContentType="application/vnd.openxmlformats-officedocument.presentationml.slideMaster+xml"/>
  <Override PartName="/ppt/slideMasters/slideMaster23.xml" ContentType="application/vnd.openxmlformats-officedocument.presentationml.slideMaster+xml"/>
  <Override PartName="/ppt/slideMasters/slideMaster2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slides/slide72.xml" ContentType="application/vnd.openxmlformats-officedocument.presentationml.slide+xml"/>
  <Override PartName="/ppt/slides/slide73.xml" ContentType="application/vnd.openxmlformats-officedocument.presentationml.slide+xml"/>
  <Override PartName="/ppt/slides/slide74.xml" ContentType="application/vnd.openxmlformats-officedocument.presentationml.slide+xml"/>
  <Override PartName="/ppt/slides/slide75.xml" ContentType="application/vnd.openxmlformats-officedocument.presentationml.slide+xml"/>
  <Override PartName="/ppt/slides/slide76.xml" ContentType="application/vnd.openxmlformats-officedocument.presentationml.slide+xml"/>
  <Override PartName="/ppt/slides/slide77.xml" ContentType="application/vnd.openxmlformats-officedocument.presentationml.slide+xml"/>
  <Override PartName="/ppt/slides/slide78.xml" ContentType="application/vnd.openxmlformats-officedocument.presentationml.slide+xml"/>
  <Override PartName="/ppt/slides/slide79.xml" ContentType="application/vnd.openxmlformats-officedocument.presentationml.slide+xml"/>
  <Override PartName="/ppt/slides/slide80.xml" ContentType="application/vnd.openxmlformats-officedocument.presentationml.slide+xml"/>
  <Override PartName="/ppt/slides/slide81.xml" ContentType="application/vnd.openxmlformats-officedocument.presentationml.slide+xml"/>
  <Override PartName="/ppt/slides/slide82.xml" ContentType="application/vnd.openxmlformats-officedocument.presentationml.slide+xml"/>
  <Override PartName="/ppt/slides/slide83.xml" ContentType="application/vnd.openxmlformats-officedocument.presentationml.slide+xml"/>
  <Override PartName="/ppt/slides/slide84.xml" ContentType="application/vnd.openxmlformats-officedocument.presentationml.slide+xml"/>
  <Override PartName="/ppt/slides/slide85.xml" ContentType="application/vnd.openxmlformats-officedocument.presentationml.slide+xml"/>
  <Override PartName="/ppt/slides/slide86.xml" ContentType="application/vnd.openxmlformats-officedocument.presentationml.slide+xml"/>
  <Override PartName="/ppt/slides/slide87.xml" ContentType="application/vnd.openxmlformats-officedocument.presentationml.slide+xml"/>
  <Override PartName="/ppt/slides/slide88.xml" ContentType="application/vnd.openxmlformats-officedocument.presentationml.slide+xml"/>
  <Override PartName="/ppt/slides/slide89.xml" ContentType="application/vnd.openxmlformats-officedocument.presentationml.slide+xml"/>
  <Override PartName="/ppt/slides/slide90.xml" ContentType="application/vnd.openxmlformats-officedocument.presentationml.slide+xml"/>
  <Override PartName="/ppt/slides/slide91.xml" ContentType="application/vnd.openxmlformats-officedocument.presentationml.slide+xml"/>
  <Override PartName="/ppt/slides/slide92.xml" ContentType="application/vnd.openxmlformats-officedocument.presentationml.slide+xml"/>
  <Override PartName="/ppt/slides/slide93.xml" ContentType="application/vnd.openxmlformats-officedocument.presentationml.slide+xml"/>
  <Override PartName="/ppt/slides/slide94.xml" ContentType="application/vnd.openxmlformats-officedocument.presentationml.slide+xml"/>
  <Override PartName="/ppt/slides/slide95.xml" ContentType="application/vnd.openxmlformats-officedocument.presentationml.slide+xml"/>
  <Override PartName="/ppt/slides/slide96.xml" ContentType="application/vnd.openxmlformats-officedocument.presentationml.slide+xml"/>
  <Override PartName="/ppt/slides/slide97.xml" ContentType="application/vnd.openxmlformats-officedocument.presentationml.slide+xml"/>
  <Override PartName="/ppt/slides/slide98.xml" ContentType="application/vnd.openxmlformats-officedocument.presentationml.slide+xml"/>
  <Override PartName="/ppt/slides/slide99.xml" ContentType="application/vnd.openxmlformats-officedocument.presentationml.slide+xml"/>
  <Override PartName="/ppt/slides/slide100.xml" ContentType="application/vnd.openxmlformats-officedocument.presentationml.slide+xml"/>
  <Override PartName="/ppt/slides/slide101.xml" ContentType="application/vnd.openxmlformats-officedocument.presentationml.slide+xml"/>
  <Override PartName="/ppt/slides/slide10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2.xml" ContentType="application/vnd.openxmlformats-officedocument.theme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heme/theme3.xml" ContentType="application/vnd.openxmlformats-officedocument.theme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theme/theme4.xml" ContentType="application/vnd.openxmlformats-officedocument.theme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theme/theme5.xml" ContentType="application/vnd.openxmlformats-officedocument.theme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theme/theme6.xml" ContentType="application/vnd.openxmlformats-officedocument.theme+xml"/>
  <Override PartName="/ppt/theme/themeOverride1.xml" ContentType="application/vnd.openxmlformats-officedocument.themeOverride+xml"/>
  <Override PartName="/ppt/theme/themeOverride2.xml" ContentType="application/vnd.openxmlformats-officedocument.themeOverride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theme/theme7.xml" ContentType="application/vnd.openxmlformats-officedocument.theme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theme/theme8.xml" ContentType="application/vnd.openxmlformats-officedocument.theme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theme/theme9.xml" ContentType="application/vnd.openxmlformats-officedocument.theme+xml"/>
  <Override PartName="/ppt/theme/themeOverride3.xml" ContentType="application/vnd.openxmlformats-officedocument.themeOverride+xml"/>
  <Override PartName="/ppt/theme/themeOverride4.xml" ContentType="application/vnd.openxmlformats-officedocument.themeOverride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theme/theme10.xml" ContentType="application/vnd.openxmlformats-officedocument.theme+xml"/>
  <Override PartName="/ppt/theme/themeOverride5.xml" ContentType="application/vnd.openxmlformats-officedocument.themeOverride+xml"/>
  <Override PartName="/ppt/theme/themeOverride6.xml" ContentType="application/vnd.openxmlformats-officedocument.themeOverride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theme/theme11.xml" ContentType="application/vnd.openxmlformats-officedocument.theme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theme/theme12.xml" ContentType="application/vnd.openxmlformats-officedocument.theme+xml"/>
  <Override PartName="/ppt/tags/tag1.xml" ContentType="application/vnd.openxmlformats-officedocument.presentationml.tags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theme/theme13.xml" ContentType="application/vnd.openxmlformats-officedocument.theme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theme/theme14.xml" ContentType="application/vnd.openxmlformats-officedocument.theme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theme/theme15.xml" ContentType="application/vnd.openxmlformats-officedocument.theme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theme/theme16.xml" ContentType="application/vnd.openxmlformats-officedocument.theme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theme/theme17.xml" ContentType="application/vnd.openxmlformats-officedocument.theme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slideLayouts/slideLayout20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theme/theme18.xml" ContentType="application/vnd.openxmlformats-officedocument.theme+xml"/>
  <Override PartName="/ppt/slideLayouts/slideLayout213.xml" ContentType="application/vnd.openxmlformats-officedocument.presentationml.slideLayout+xml"/>
  <Override PartName="/ppt/slideLayouts/slideLayout214.xml" ContentType="application/vnd.openxmlformats-officedocument.presentationml.slideLayout+xml"/>
  <Override PartName="/ppt/slideLayouts/slideLayout21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slideLayouts/slideLayout217.xml" ContentType="application/vnd.openxmlformats-officedocument.presentationml.slideLayout+xml"/>
  <Override PartName="/ppt/slideLayouts/slideLayout218.xml" ContentType="application/vnd.openxmlformats-officedocument.presentationml.slideLayout+xml"/>
  <Override PartName="/ppt/slideLayouts/slideLayout219.xml" ContentType="application/vnd.openxmlformats-officedocument.presentationml.slideLayout+xml"/>
  <Override PartName="/ppt/slideLayouts/slideLayout220.xml" ContentType="application/vnd.openxmlformats-officedocument.presentationml.slideLayout+xml"/>
  <Override PartName="/ppt/slideLayouts/slideLayout221.xml" ContentType="application/vnd.openxmlformats-officedocument.presentationml.slideLayout+xml"/>
  <Override PartName="/ppt/slideLayouts/slideLayout222.xml" ContentType="application/vnd.openxmlformats-officedocument.presentationml.slideLayout+xml"/>
  <Override PartName="/ppt/slideLayouts/slideLayout223.xml" ContentType="application/vnd.openxmlformats-officedocument.presentationml.slideLayout+xml"/>
  <Override PartName="/ppt/slideLayouts/slideLayout224.xml" ContentType="application/vnd.openxmlformats-officedocument.presentationml.slideLayout+xml"/>
  <Override PartName="/ppt/slideLayouts/slideLayout225.xml" ContentType="application/vnd.openxmlformats-officedocument.presentationml.slideLayout+xml"/>
  <Override PartName="/ppt/theme/theme19.xml" ContentType="application/vnd.openxmlformats-officedocument.theme+xml"/>
  <Override PartName="/ppt/slideLayouts/slideLayout226.xml" ContentType="application/vnd.openxmlformats-officedocument.presentationml.slideLayout+xml"/>
  <Override PartName="/ppt/slideLayouts/slideLayout227.xml" ContentType="application/vnd.openxmlformats-officedocument.presentationml.slideLayout+xml"/>
  <Override PartName="/ppt/slideLayouts/slideLayout228.xml" ContentType="application/vnd.openxmlformats-officedocument.presentationml.slideLayout+xml"/>
  <Override PartName="/ppt/slideLayouts/slideLayout229.xml" ContentType="application/vnd.openxmlformats-officedocument.presentationml.slideLayout+xml"/>
  <Override PartName="/ppt/slideLayouts/slideLayout230.xml" ContentType="application/vnd.openxmlformats-officedocument.presentationml.slideLayout+xml"/>
  <Override PartName="/ppt/slideLayouts/slideLayout231.xml" ContentType="application/vnd.openxmlformats-officedocument.presentationml.slideLayout+xml"/>
  <Override PartName="/ppt/slideLayouts/slideLayout232.xml" ContentType="application/vnd.openxmlformats-officedocument.presentationml.slideLayout+xml"/>
  <Override PartName="/ppt/slideLayouts/slideLayout233.xml" ContentType="application/vnd.openxmlformats-officedocument.presentationml.slideLayout+xml"/>
  <Override PartName="/ppt/slideLayouts/slideLayout234.xml" ContentType="application/vnd.openxmlformats-officedocument.presentationml.slideLayout+xml"/>
  <Override PartName="/ppt/slideLayouts/slideLayout235.xml" ContentType="application/vnd.openxmlformats-officedocument.presentationml.slideLayout+xml"/>
  <Override PartName="/ppt/slideLayouts/slideLayout236.xml" ContentType="application/vnd.openxmlformats-officedocument.presentationml.slideLayout+xml"/>
  <Override PartName="/ppt/slideLayouts/slideLayout237.xml" ContentType="application/vnd.openxmlformats-officedocument.presentationml.slideLayout+xml"/>
  <Override PartName="/ppt/slideLayouts/slideLayout238.xml" ContentType="application/vnd.openxmlformats-officedocument.presentationml.slideLayout+xml"/>
  <Override PartName="/ppt/theme/theme20.xml" ContentType="application/vnd.openxmlformats-officedocument.theme+xml"/>
  <Override PartName="/ppt/slideLayouts/slideLayout239.xml" ContentType="application/vnd.openxmlformats-officedocument.presentationml.slideLayout+xml"/>
  <Override PartName="/ppt/slideLayouts/slideLayout240.xml" ContentType="application/vnd.openxmlformats-officedocument.presentationml.slideLayout+xml"/>
  <Override PartName="/ppt/slideLayouts/slideLayout241.xml" ContentType="application/vnd.openxmlformats-officedocument.presentationml.slideLayout+xml"/>
  <Override PartName="/ppt/slideLayouts/slideLayout242.xml" ContentType="application/vnd.openxmlformats-officedocument.presentationml.slideLayout+xml"/>
  <Override PartName="/ppt/slideLayouts/slideLayout243.xml" ContentType="application/vnd.openxmlformats-officedocument.presentationml.slideLayout+xml"/>
  <Override PartName="/ppt/slideLayouts/slideLayout244.xml" ContentType="application/vnd.openxmlformats-officedocument.presentationml.slideLayout+xml"/>
  <Override PartName="/ppt/slideLayouts/slideLayout245.xml" ContentType="application/vnd.openxmlformats-officedocument.presentationml.slideLayout+xml"/>
  <Override PartName="/ppt/slideLayouts/slideLayout246.xml" ContentType="application/vnd.openxmlformats-officedocument.presentationml.slideLayout+xml"/>
  <Override PartName="/ppt/slideLayouts/slideLayout247.xml" ContentType="application/vnd.openxmlformats-officedocument.presentationml.slideLayout+xml"/>
  <Override PartName="/ppt/slideLayouts/slideLayout248.xml" ContentType="application/vnd.openxmlformats-officedocument.presentationml.slideLayout+xml"/>
  <Override PartName="/ppt/slideLayouts/slideLayout249.xml" ContentType="application/vnd.openxmlformats-officedocument.presentationml.slideLayout+xml"/>
  <Override PartName="/ppt/slideLayouts/slideLayout250.xml" ContentType="application/vnd.openxmlformats-officedocument.presentationml.slideLayout+xml"/>
  <Override PartName="/ppt/theme/theme21.xml" ContentType="application/vnd.openxmlformats-officedocument.theme+xml"/>
  <Override PartName="/ppt/slideLayouts/slideLayout251.xml" ContentType="application/vnd.openxmlformats-officedocument.presentationml.slideLayout+xml"/>
  <Override PartName="/ppt/slideLayouts/slideLayout252.xml" ContentType="application/vnd.openxmlformats-officedocument.presentationml.slideLayout+xml"/>
  <Override PartName="/ppt/slideLayouts/slideLayout253.xml" ContentType="application/vnd.openxmlformats-officedocument.presentationml.slideLayout+xml"/>
  <Override PartName="/ppt/slideLayouts/slideLayout254.xml" ContentType="application/vnd.openxmlformats-officedocument.presentationml.slideLayout+xml"/>
  <Override PartName="/ppt/slideLayouts/slideLayout255.xml" ContentType="application/vnd.openxmlformats-officedocument.presentationml.slideLayout+xml"/>
  <Override PartName="/ppt/slideLayouts/slideLayout256.xml" ContentType="application/vnd.openxmlformats-officedocument.presentationml.slideLayout+xml"/>
  <Override PartName="/ppt/slideLayouts/slideLayout257.xml" ContentType="application/vnd.openxmlformats-officedocument.presentationml.slideLayout+xml"/>
  <Override PartName="/ppt/slideLayouts/slideLayout258.xml" ContentType="application/vnd.openxmlformats-officedocument.presentationml.slideLayout+xml"/>
  <Override PartName="/ppt/slideLayouts/slideLayout259.xml" ContentType="application/vnd.openxmlformats-officedocument.presentationml.slideLayout+xml"/>
  <Override PartName="/ppt/slideLayouts/slideLayout260.xml" ContentType="application/vnd.openxmlformats-officedocument.presentationml.slideLayout+xml"/>
  <Override PartName="/ppt/slideLayouts/slideLayout261.xml" ContentType="application/vnd.openxmlformats-officedocument.presentationml.slideLayout+xml"/>
  <Override PartName="/ppt/slideLayouts/slideLayout262.xml" ContentType="application/vnd.openxmlformats-officedocument.presentationml.slideLayout+xml"/>
  <Override PartName="/ppt/theme/theme22.xml" ContentType="application/vnd.openxmlformats-officedocument.theme+xml"/>
  <Override PartName="/ppt/slideLayouts/slideLayout263.xml" ContentType="application/vnd.openxmlformats-officedocument.presentationml.slideLayout+xml"/>
  <Override PartName="/ppt/slideLayouts/slideLayout264.xml" ContentType="application/vnd.openxmlformats-officedocument.presentationml.slideLayout+xml"/>
  <Override PartName="/ppt/slideLayouts/slideLayout265.xml" ContentType="application/vnd.openxmlformats-officedocument.presentationml.slideLayout+xml"/>
  <Override PartName="/ppt/slideLayouts/slideLayout266.xml" ContentType="application/vnd.openxmlformats-officedocument.presentationml.slideLayout+xml"/>
  <Override PartName="/ppt/slideLayouts/slideLayout267.xml" ContentType="application/vnd.openxmlformats-officedocument.presentationml.slideLayout+xml"/>
  <Override PartName="/ppt/slideLayouts/slideLayout268.xml" ContentType="application/vnd.openxmlformats-officedocument.presentationml.slideLayout+xml"/>
  <Override PartName="/ppt/slideLayouts/slideLayout269.xml" ContentType="application/vnd.openxmlformats-officedocument.presentationml.slideLayout+xml"/>
  <Override PartName="/ppt/slideLayouts/slideLayout270.xml" ContentType="application/vnd.openxmlformats-officedocument.presentationml.slideLayout+xml"/>
  <Override PartName="/ppt/slideLayouts/slideLayout271.xml" ContentType="application/vnd.openxmlformats-officedocument.presentationml.slideLayout+xml"/>
  <Override PartName="/ppt/slideLayouts/slideLayout272.xml" ContentType="application/vnd.openxmlformats-officedocument.presentationml.slideLayout+xml"/>
  <Override PartName="/ppt/slideLayouts/slideLayout273.xml" ContentType="application/vnd.openxmlformats-officedocument.presentationml.slideLayout+xml"/>
  <Override PartName="/ppt/theme/theme23.xml" ContentType="application/vnd.openxmlformats-officedocument.theme+xml"/>
  <Override PartName="/ppt/slideLayouts/slideLayout274.xml" ContentType="application/vnd.openxmlformats-officedocument.presentationml.slideLayout+xml"/>
  <Override PartName="/ppt/slideLayouts/slideLayout275.xml" ContentType="application/vnd.openxmlformats-officedocument.presentationml.slideLayout+xml"/>
  <Override PartName="/ppt/slideLayouts/slideLayout276.xml" ContentType="application/vnd.openxmlformats-officedocument.presentationml.slideLayout+xml"/>
  <Override PartName="/ppt/slideLayouts/slideLayout277.xml" ContentType="application/vnd.openxmlformats-officedocument.presentationml.slideLayout+xml"/>
  <Override PartName="/ppt/slideLayouts/slideLayout278.xml" ContentType="application/vnd.openxmlformats-officedocument.presentationml.slideLayout+xml"/>
  <Override PartName="/ppt/slideLayouts/slideLayout279.xml" ContentType="application/vnd.openxmlformats-officedocument.presentationml.slideLayout+xml"/>
  <Override PartName="/ppt/slideLayouts/slideLayout280.xml" ContentType="application/vnd.openxmlformats-officedocument.presentationml.slideLayout+xml"/>
  <Override PartName="/ppt/slideLayouts/slideLayout281.xml" ContentType="application/vnd.openxmlformats-officedocument.presentationml.slideLayout+xml"/>
  <Override PartName="/ppt/slideLayouts/slideLayout282.xml" ContentType="application/vnd.openxmlformats-officedocument.presentationml.slideLayout+xml"/>
  <Override PartName="/ppt/slideLayouts/slideLayout283.xml" ContentType="application/vnd.openxmlformats-officedocument.presentationml.slideLayout+xml"/>
  <Override PartName="/ppt/slideLayouts/slideLayout284.xml" ContentType="application/vnd.openxmlformats-officedocument.presentationml.slideLayout+xml"/>
  <Override PartName="/ppt/slideLayouts/slideLayout285.xml" ContentType="application/vnd.openxmlformats-officedocument.presentationml.slideLayout+xml"/>
  <Override PartName="/ppt/slideLayouts/slideLayout286.xml" ContentType="application/vnd.openxmlformats-officedocument.presentationml.slideLayout+xml"/>
  <Override PartName="/ppt/slideLayouts/slideLayout287.xml" ContentType="application/vnd.openxmlformats-officedocument.presentationml.slideLayout+xml"/>
  <Override PartName="/ppt/slideLayouts/slideLayout288.xml" ContentType="application/vnd.openxmlformats-officedocument.presentationml.slideLayout+xml"/>
  <Override PartName="/ppt/theme/theme24.xml" ContentType="application/vnd.openxmlformats-officedocument.theme+xml"/>
  <Override PartName="/ppt/theme/theme25.xml" ContentType="application/vnd.openxmlformats-officedocument.theme+xml"/>
  <Override PartName="/ppt/theme/theme26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tags/tag21.xml" ContentType="application/vnd.openxmlformats-officedocument.presentationml.tags+xml"/>
  <Override PartName="/ppt/notesSlides/notesSlide11.xml" ContentType="application/vnd.openxmlformats-officedocument.presentationml.notesSlide+xml"/>
  <Override PartName="/ppt/tags/tag22.xml" ContentType="application/vnd.openxmlformats-officedocument.presentationml.tags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wmf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85" r:id="rId1"/>
    <p:sldMasterId id="2147483820" r:id="rId2"/>
    <p:sldMasterId id="2147483899" r:id="rId3"/>
    <p:sldMasterId id="2147483915" r:id="rId4"/>
    <p:sldMasterId id="2147483931" r:id="rId5"/>
    <p:sldMasterId id="2147483944" r:id="rId6"/>
    <p:sldMasterId id="2147483954" r:id="rId7"/>
    <p:sldMasterId id="2147483968" r:id="rId8"/>
    <p:sldMasterId id="2147483980" r:id="rId9"/>
    <p:sldMasterId id="2147483990" r:id="rId10"/>
    <p:sldMasterId id="2147484000" r:id="rId11"/>
    <p:sldMasterId id="2147484012" r:id="rId12"/>
    <p:sldMasterId id="2147484023" r:id="rId13"/>
    <p:sldMasterId id="2147484039" r:id="rId14"/>
    <p:sldMasterId id="2147484055" r:id="rId15"/>
    <p:sldMasterId id="2147484071" r:id="rId16"/>
    <p:sldMasterId id="2147484084" r:id="rId17"/>
    <p:sldMasterId id="2147484100" r:id="rId18"/>
    <p:sldMasterId id="2147484113" r:id="rId19"/>
    <p:sldMasterId id="2147484127" r:id="rId20"/>
    <p:sldMasterId id="2147484141" r:id="rId21"/>
    <p:sldMasterId id="2147484154" r:id="rId22"/>
    <p:sldMasterId id="2147484167" r:id="rId23"/>
    <p:sldMasterId id="2147484179" r:id="rId24"/>
  </p:sldMasterIdLst>
  <p:notesMasterIdLst>
    <p:notesMasterId r:id="rId127"/>
  </p:notesMasterIdLst>
  <p:handoutMasterIdLst>
    <p:handoutMasterId r:id="rId128"/>
  </p:handoutMasterIdLst>
  <p:sldIdLst>
    <p:sldId id="985" r:id="rId25"/>
    <p:sldId id="1083" r:id="rId26"/>
    <p:sldId id="1045" r:id="rId27"/>
    <p:sldId id="1023" r:id="rId28"/>
    <p:sldId id="1024" r:id="rId29"/>
    <p:sldId id="1156" r:id="rId30"/>
    <p:sldId id="1160" r:id="rId31"/>
    <p:sldId id="1039" r:id="rId32"/>
    <p:sldId id="1047" r:id="rId33"/>
    <p:sldId id="1048" r:id="rId34"/>
    <p:sldId id="1049" r:id="rId35"/>
    <p:sldId id="1040" r:id="rId36"/>
    <p:sldId id="1041" r:id="rId37"/>
    <p:sldId id="1157" r:id="rId38"/>
    <p:sldId id="1042" r:id="rId39"/>
    <p:sldId id="1050" r:id="rId40"/>
    <p:sldId id="1051" r:id="rId41"/>
    <p:sldId id="1052" r:id="rId42"/>
    <p:sldId id="1053" r:id="rId43"/>
    <p:sldId id="1054" r:id="rId44"/>
    <p:sldId id="1056" r:id="rId45"/>
    <p:sldId id="1057" r:id="rId46"/>
    <p:sldId id="1058" r:id="rId47"/>
    <p:sldId id="1059" r:id="rId48"/>
    <p:sldId id="1060" r:id="rId49"/>
    <p:sldId id="1061" r:id="rId50"/>
    <p:sldId id="1062" r:id="rId51"/>
    <p:sldId id="1063" r:id="rId52"/>
    <p:sldId id="1064" r:id="rId53"/>
    <p:sldId id="1158" r:id="rId54"/>
    <p:sldId id="1065" r:id="rId55"/>
    <p:sldId id="1066" r:id="rId56"/>
    <p:sldId id="1167" r:id="rId57"/>
    <p:sldId id="1067" r:id="rId58"/>
    <p:sldId id="1068" r:id="rId59"/>
    <p:sldId id="1069" r:id="rId60"/>
    <p:sldId id="1070" r:id="rId61"/>
    <p:sldId id="1071" r:id="rId62"/>
    <p:sldId id="1072" r:id="rId63"/>
    <p:sldId id="1073" r:id="rId64"/>
    <p:sldId id="1075" r:id="rId65"/>
    <p:sldId id="1084" r:id="rId66"/>
    <p:sldId id="1085" r:id="rId67"/>
    <p:sldId id="1086" r:id="rId68"/>
    <p:sldId id="1095" r:id="rId69"/>
    <p:sldId id="1096" r:id="rId70"/>
    <p:sldId id="1097" r:id="rId71"/>
    <p:sldId id="1165" r:id="rId72"/>
    <p:sldId id="1166" r:id="rId73"/>
    <p:sldId id="1076" r:id="rId74"/>
    <p:sldId id="1077" r:id="rId75"/>
    <p:sldId id="1078" r:id="rId76"/>
    <p:sldId id="1079" r:id="rId77"/>
    <p:sldId id="1080" r:id="rId78"/>
    <p:sldId id="1087" r:id="rId79"/>
    <p:sldId id="1082" r:id="rId80"/>
    <p:sldId id="1161" r:id="rId81"/>
    <p:sldId id="1168" r:id="rId82"/>
    <p:sldId id="1088" r:id="rId83"/>
    <p:sldId id="1098" r:id="rId84"/>
    <p:sldId id="1099" r:id="rId85"/>
    <p:sldId id="1100" r:id="rId86"/>
    <p:sldId id="1101" r:id="rId87"/>
    <p:sldId id="1102" r:id="rId88"/>
    <p:sldId id="1130" r:id="rId89"/>
    <p:sldId id="1103" r:id="rId90"/>
    <p:sldId id="1104" r:id="rId91"/>
    <p:sldId id="1105" r:id="rId92"/>
    <p:sldId id="1106" r:id="rId93"/>
    <p:sldId id="1108" r:id="rId94"/>
    <p:sldId id="1109" r:id="rId95"/>
    <p:sldId id="1110" r:id="rId96"/>
    <p:sldId id="1111" r:id="rId97"/>
    <p:sldId id="1112" r:id="rId98"/>
    <p:sldId id="1113" r:id="rId99"/>
    <p:sldId id="1114" r:id="rId100"/>
    <p:sldId id="1115" r:id="rId101"/>
    <p:sldId id="1120" r:id="rId102"/>
    <p:sldId id="1122" r:id="rId103"/>
    <p:sldId id="1123" r:id="rId104"/>
    <p:sldId id="1125" r:id="rId105"/>
    <p:sldId id="1126" r:id="rId106"/>
    <p:sldId id="1127" r:id="rId107"/>
    <p:sldId id="1128" r:id="rId108"/>
    <p:sldId id="1129" r:id="rId109"/>
    <p:sldId id="1131" r:id="rId110"/>
    <p:sldId id="1132" r:id="rId111"/>
    <p:sldId id="1135" r:id="rId112"/>
    <p:sldId id="1137" r:id="rId113"/>
    <p:sldId id="1138" r:id="rId114"/>
    <p:sldId id="1151" r:id="rId115"/>
    <p:sldId id="1152" r:id="rId116"/>
    <p:sldId id="1155" r:id="rId117"/>
    <p:sldId id="1090" r:id="rId118"/>
    <p:sldId id="1091" r:id="rId119"/>
    <p:sldId id="1092" r:id="rId120"/>
    <p:sldId id="1093" r:id="rId121"/>
    <p:sldId id="1159" r:id="rId122"/>
    <p:sldId id="1162" r:id="rId123"/>
    <p:sldId id="1094" r:id="rId124"/>
    <p:sldId id="1164" r:id="rId125"/>
    <p:sldId id="1163" r:id="rId126"/>
  </p:sldIdLst>
  <p:sldSz cx="9144000" cy="6858000" type="screen4x3"/>
  <p:notesSz cx="6997700" cy="9283700"/>
  <p:defaultTextStyle>
    <a:defPPr>
      <a:defRPr lang="en-US"/>
    </a:defPPr>
    <a:lvl1pPr algn="l" rtl="0" eaLnBrk="0" fontAlgn="base" hangingPunct="0">
      <a:spcBef>
        <a:spcPct val="0"/>
      </a:spcBef>
      <a:spcAft>
        <a:spcPct val="0"/>
      </a:spcAft>
      <a:defRPr sz="30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457200" algn="l" rtl="0" eaLnBrk="0" fontAlgn="base" hangingPunct="0">
      <a:spcBef>
        <a:spcPct val="0"/>
      </a:spcBef>
      <a:spcAft>
        <a:spcPct val="0"/>
      </a:spcAft>
      <a:defRPr sz="30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914400" algn="l" rtl="0" eaLnBrk="0" fontAlgn="base" hangingPunct="0">
      <a:spcBef>
        <a:spcPct val="0"/>
      </a:spcBef>
      <a:spcAft>
        <a:spcPct val="0"/>
      </a:spcAft>
      <a:defRPr sz="30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371600" algn="l" rtl="0" eaLnBrk="0" fontAlgn="base" hangingPunct="0">
      <a:spcBef>
        <a:spcPct val="0"/>
      </a:spcBef>
      <a:spcAft>
        <a:spcPct val="0"/>
      </a:spcAft>
      <a:defRPr sz="30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1828800" algn="l" rtl="0" eaLnBrk="0" fontAlgn="base" hangingPunct="0">
      <a:spcBef>
        <a:spcPct val="0"/>
      </a:spcBef>
      <a:spcAft>
        <a:spcPct val="0"/>
      </a:spcAft>
      <a:defRPr sz="30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2286000" algn="l" defTabSz="914400" rtl="0" eaLnBrk="1" latinLnBrk="0" hangingPunct="1">
      <a:defRPr sz="30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6pPr>
    <a:lvl7pPr marL="2743200" algn="l" defTabSz="914400" rtl="0" eaLnBrk="1" latinLnBrk="0" hangingPunct="1">
      <a:defRPr sz="30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7pPr>
    <a:lvl8pPr marL="3200400" algn="l" defTabSz="914400" rtl="0" eaLnBrk="1" latinLnBrk="0" hangingPunct="1">
      <a:defRPr sz="30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8pPr>
    <a:lvl9pPr marL="3657600" algn="l" defTabSz="914400" rtl="0" eaLnBrk="1" latinLnBrk="0" hangingPunct="1">
      <a:defRPr sz="30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924">
          <p15:clr>
            <a:srgbClr val="A4A3A4"/>
          </p15:clr>
        </p15:guide>
        <p15:guide id="2" pos="2204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3333CC"/>
    <a:srgbClr val="C0C0C0"/>
    <a:srgbClr val="66FF33"/>
    <a:srgbClr val="FF5050"/>
    <a:srgbClr val="996633"/>
    <a:srgbClr val="FF9900"/>
    <a:srgbClr val="FFCC66"/>
    <a:srgbClr val="FF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6103" autoAdjust="0"/>
    <p:restoredTop sz="87993" autoAdjust="0"/>
  </p:normalViewPr>
  <p:slideViewPr>
    <p:cSldViewPr>
      <p:cViewPr varScale="1">
        <p:scale>
          <a:sx n="92" d="100"/>
          <a:sy n="92" d="100"/>
        </p:scale>
        <p:origin x="1320" y="108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34416"/>
    </p:cViewPr>
  </p:sorterViewPr>
  <p:notesViewPr>
    <p:cSldViewPr>
      <p:cViewPr varScale="1">
        <p:scale>
          <a:sx n="105" d="100"/>
          <a:sy n="105" d="100"/>
        </p:scale>
        <p:origin x="-1440" y="-72"/>
      </p:cViewPr>
      <p:guideLst>
        <p:guide orient="horz" pos="2924"/>
        <p:guide pos="2204"/>
      </p:guideLst>
    </p:cSldViewPr>
  </p:notesViewPr>
  <p:gridSpacing cx="36004" cy="36004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.xml"/><Relationship Id="rId117" Type="http://schemas.openxmlformats.org/officeDocument/2006/relationships/slide" Target="slides/slide93.xml"/><Relationship Id="rId21" Type="http://schemas.openxmlformats.org/officeDocument/2006/relationships/slideMaster" Target="slideMasters/slideMaster21.xml"/><Relationship Id="rId42" Type="http://schemas.openxmlformats.org/officeDocument/2006/relationships/slide" Target="slides/slide18.xml"/><Relationship Id="rId47" Type="http://schemas.openxmlformats.org/officeDocument/2006/relationships/slide" Target="slides/slide23.xml"/><Relationship Id="rId63" Type="http://schemas.openxmlformats.org/officeDocument/2006/relationships/slide" Target="slides/slide39.xml"/><Relationship Id="rId68" Type="http://schemas.openxmlformats.org/officeDocument/2006/relationships/slide" Target="slides/slide44.xml"/><Relationship Id="rId84" Type="http://schemas.openxmlformats.org/officeDocument/2006/relationships/slide" Target="slides/slide60.xml"/><Relationship Id="rId89" Type="http://schemas.openxmlformats.org/officeDocument/2006/relationships/slide" Target="slides/slide65.xml"/><Relationship Id="rId112" Type="http://schemas.openxmlformats.org/officeDocument/2006/relationships/slide" Target="slides/slide88.xml"/><Relationship Id="rId16" Type="http://schemas.openxmlformats.org/officeDocument/2006/relationships/slideMaster" Target="slideMasters/slideMaster16.xml"/><Relationship Id="rId107" Type="http://schemas.openxmlformats.org/officeDocument/2006/relationships/slide" Target="slides/slide83.xml"/><Relationship Id="rId11" Type="http://schemas.openxmlformats.org/officeDocument/2006/relationships/slideMaster" Target="slideMasters/slideMaster11.xml"/><Relationship Id="rId32" Type="http://schemas.openxmlformats.org/officeDocument/2006/relationships/slide" Target="slides/slide8.xml"/><Relationship Id="rId37" Type="http://schemas.openxmlformats.org/officeDocument/2006/relationships/slide" Target="slides/slide13.xml"/><Relationship Id="rId53" Type="http://schemas.openxmlformats.org/officeDocument/2006/relationships/slide" Target="slides/slide29.xml"/><Relationship Id="rId58" Type="http://schemas.openxmlformats.org/officeDocument/2006/relationships/slide" Target="slides/slide34.xml"/><Relationship Id="rId74" Type="http://schemas.openxmlformats.org/officeDocument/2006/relationships/slide" Target="slides/slide50.xml"/><Relationship Id="rId79" Type="http://schemas.openxmlformats.org/officeDocument/2006/relationships/slide" Target="slides/slide55.xml"/><Relationship Id="rId102" Type="http://schemas.openxmlformats.org/officeDocument/2006/relationships/slide" Target="slides/slide78.xml"/><Relationship Id="rId123" Type="http://schemas.openxmlformats.org/officeDocument/2006/relationships/slide" Target="slides/slide99.xml"/><Relationship Id="rId128" Type="http://schemas.openxmlformats.org/officeDocument/2006/relationships/handoutMaster" Target="handoutMasters/handoutMaster1.xml"/><Relationship Id="rId5" Type="http://schemas.openxmlformats.org/officeDocument/2006/relationships/slideMaster" Target="slideMasters/slideMaster5.xml"/><Relationship Id="rId90" Type="http://schemas.openxmlformats.org/officeDocument/2006/relationships/slide" Target="slides/slide66.xml"/><Relationship Id="rId95" Type="http://schemas.openxmlformats.org/officeDocument/2006/relationships/slide" Target="slides/slide71.xml"/><Relationship Id="rId19" Type="http://schemas.openxmlformats.org/officeDocument/2006/relationships/slideMaster" Target="slideMasters/slideMaster19.xml"/><Relationship Id="rId14" Type="http://schemas.openxmlformats.org/officeDocument/2006/relationships/slideMaster" Target="slideMasters/slideMaster14.xml"/><Relationship Id="rId22" Type="http://schemas.openxmlformats.org/officeDocument/2006/relationships/slideMaster" Target="slideMasters/slideMaster22.xml"/><Relationship Id="rId27" Type="http://schemas.openxmlformats.org/officeDocument/2006/relationships/slide" Target="slides/slide3.xml"/><Relationship Id="rId30" Type="http://schemas.openxmlformats.org/officeDocument/2006/relationships/slide" Target="slides/slide6.xml"/><Relationship Id="rId35" Type="http://schemas.openxmlformats.org/officeDocument/2006/relationships/slide" Target="slides/slide11.xml"/><Relationship Id="rId43" Type="http://schemas.openxmlformats.org/officeDocument/2006/relationships/slide" Target="slides/slide19.xml"/><Relationship Id="rId48" Type="http://schemas.openxmlformats.org/officeDocument/2006/relationships/slide" Target="slides/slide24.xml"/><Relationship Id="rId56" Type="http://schemas.openxmlformats.org/officeDocument/2006/relationships/slide" Target="slides/slide32.xml"/><Relationship Id="rId64" Type="http://schemas.openxmlformats.org/officeDocument/2006/relationships/slide" Target="slides/slide40.xml"/><Relationship Id="rId69" Type="http://schemas.openxmlformats.org/officeDocument/2006/relationships/slide" Target="slides/slide45.xml"/><Relationship Id="rId77" Type="http://schemas.openxmlformats.org/officeDocument/2006/relationships/slide" Target="slides/slide53.xml"/><Relationship Id="rId100" Type="http://schemas.openxmlformats.org/officeDocument/2006/relationships/slide" Target="slides/slide76.xml"/><Relationship Id="rId105" Type="http://schemas.openxmlformats.org/officeDocument/2006/relationships/slide" Target="slides/slide81.xml"/><Relationship Id="rId113" Type="http://schemas.openxmlformats.org/officeDocument/2006/relationships/slide" Target="slides/slide89.xml"/><Relationship Id="rId118" Type="http://schemas.openxmlformats.org/officeDocument/2006/relationships/slide" Target="slides/slide94.xml"/><Relationship Id="rId126" Type="http://schemas.openxmlformats.org/officeDocument/2006/relationships/slide" Target="slides/slide102.xml"/><Relationship Id="rId8" Type="http://schemas.openxmlformats.org/officeDocument/2006/relationships/slideMaster" Target="slideMasters/slideMaster8.xml"/><Relationship Id="rId51" Type="http://schemas.openxmlformats.org/officeDocument/2006/relationships/slide" Target="slides/slide27.xml"/><Relationship Id="rId72" Type="http://schemas.openxmlformats.org/officeDocument/2006/relationships/slide" Target="slides/slide48.xml"/><Relationship Id="rId80" Type="http://schemas.openxmlformats.org/officeDocument/2006/relationships/slide" Target="slides/slide56.xml"/><Relationship Id="rId85" Type="http://schemas.openxmlformats.org/officeDocument/2006/relationships/slide" Target="slides/slide61.xml"/><Relationship Id="rId93" Type="http://schemas.openxmlformats.org/officeDocument/2006/relationships/slide" Target="slides/slide69.xml"/><Relationship Id="rId98" Type="http://schemas.openxmlformats.org/officeDocument/2006/relationships/slide" Target="slides/slide74.xml"/><Relationship Id="rId121" Type="http://schemas.openxmlformats.org/officeDocument/2006/relationships/slide" Target="slides/slide97.xml"/><Relationship Id="rId3" Type="http://schemas.openxmlformats.org/officeDocument/2006/relationships/slideMaster" Target="slideMasters/slideMaster3.xml"/><Relationship Id="rId12" Type="http://schemas.openxmlformats.org/officeDocument/2006/relationships/slideMaster" Target="slideMasters/slideMaster12.xml"/><Relationship Id="rId17" Type="http://schemas.openxmlformats.org/officeDocument/2006/relationships/slideMaster" Target="slideMasters/slideMaster17.xml"/><Relationship Id="rId25" Type="http://schemas.openxmlformats.org/officeDocument/2006/relationships/slide" Target="slides/slide1.xml"/><Relationship Id="rId33" Type="http://schemas.openxmlformats.org/officeDocument/2006/relationships/slide" Target="slides/slide9.xml"/><Relationship Id="rId38" Type="http://schemas.openxmlformats.org/officeDocument/2006/relationships/slide" Target="slides/slide14.xml"/><Relationship Id="rId46" Type="http://schemas.openxmlformats.org/officeDocument/2006/relationships/slide" Target="slides/slide22.xml"/><Relationship Id="rId59" Type="http://schemas.openxmlformats.org/officeDocument/2006/relationships/slide" Target="slides/slide35.xml"/><Relationship Id="rId67" Type="http://schemas.openxmlformats.org/officeDocument/2006/relationships/slide" Target="slides/slide43.xml"/><Relationship Id="rId103" Type="http://schemas.openxmlformats.org/officeDocument/2006/relationships/slide" Target="slides/slide79.xml"/><Relationship Id="rId108" Type="http://schemas.openxmlformats.org/officeDocument/2006/relationships/slide" Target="slides/slide84.xml"/><Relationship Id="rId116" Type="http://schemas.openxmlformats.org/officeDocument/2006/relationships/slide" Target="slides/slide92.xml"/><Relationship Id="rId124" Type="http://schemas.openxmlformats.org/officeDocument/2006/relationships/slide" Target="slides/slide100.xml"/><Relationship Id="rId129" Type="http://schemas.openxmlformats.org/officeDocument/2006/relationships/presProps" Target="presProps.xml"/><Relationship Id="rId20" Type="http://schemas.openxmlformats.org/officeDocument/2006/relationships/slideMaster" Target="slideMasters/slideMaster20.xml"/><Relationship Id="rId41" Type="http://schemas.openxmlformats.org/officeDocument/2006/relationships/slide" Target="slides/slide17.xml"/><Relationship Id="rId54" Type="http://schemas.openxmlformats.org/officeDocument/2006/relationships/slide" Target="slides/slide30.xml"/><Relationship Id="rId62" Type="http://schemas.openxmlformats.org/officeDocument/2006/relationships/slide" Target="slides/slide38.xml"/><Relationship Id="rId70" Type="http://schemas.openxmlformats.org/officeDocument/2006/relationships/slide" Target="slides/slide46.xml"/><Relationship Id="rId75" Type="http://schemas.openxmlformats.org/officeDocument/2006/relationships/slide" Target="slides/slide51.xml"/><Relationship Id="rId83" Type="http://schemas.openxmlformats.org/officeDocument/2006/relationships/slide" Target="slides/slide59.xml"/><Relationship Id="rId88" Type="http://schemas.openxmlformats.org/officeDocument/2006/relationships/slide" Target="slides/slide64.xml"/><Relationship Id="rId91" Type="http://schemas.openxmlformats.org/officeDocument/2006/relationships/slide" Target="slides/slide67.xml"/><Relationship Id="rId96" Type="http://schemas.openxmlformats.org/officeDocument/2006/relationships/slide" Target="slides/slide72.xml"/><Relationship Id="rId111" Type="http://schemas.openxmlformats.org/officeDocument/2006/relationships/slide" Target="slides/slide87.xml"/><Relationship Id="rId132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5" Type="http://schemas.openxmlformats.org/officeDocument/2006/relationships/slideMaster" Target="slideMasters/slideMaster15.xml"/><Relationship Id="rId23" Type="http://schemas.openxmlformats.org/officeDocument/2006/relationships/slideMaster" Target="slideMasters/slideMaster23.xml"/><Relationship Id="rId28" Type="http://schemas.openxmlformats.org/officeDocument/2006/relationships/slide" Target="slides/slide4.xml"/><Relationship Id="rId36" Type="http://schemas.openxmlformats.org/officeDocument/2006/relationships/slide" Target="slides/slide12.xml"/><Relationship Id="rId49" Type="http://schemas.openxmlformats.org/officeDocument/2006/relationships/slide" Target="slides/slide25.xml"/><Relationship Id="rId57" Type="http://schemas.openxmlformats.org/officeDocument/2006/relationships/slide" Target="slides/slide33.xml"/><Relationship Id="rId106" Type="http://schemas.openxmlformats.org/officeDocument/2006/relationships/slide" Target="slides/slide82.xml"/><Relationship Id="rId114" Type="http://schemas.openxmlformats.org/officeDocument/2006/relationships/slide" Target="slides/slide90.xml"/><Relationship Id="rId119" Type="http://schemas.openxmlformats.org/officeDocument/2006/relationships/slide" Target="slides/slide95.xml"/><Relationship Id="rId127" Type="http://schemas.openxmlformats.org/officeDocument/2006/relationships/notesMaster" Target="notesMasters/notesMaster1.xml"/><Relationship Id="rId10" Type="http://schemas.openxmlformats.org/officeDocument/2006/relationships/slideMaster" Target="slideMasters/slideMaster10.xml"/><Relationship Id="rId31" Type="http://schemas.openxmlformats.org/officeDocument/2006/relationships/slide" Target="slides/slide7.xml"/><Relationship Id="rId44" Type="http://schemas.openxmlformats.org/officeDocument/2006/relationships/slide" Target="slides/slide20.xml"/><Relationship Id="rId52" Type="http://schemas.openxmlformats.org/officeDocument/2006/relationships/slide" Target="slides/slide28.xml"/><Relationship Id="rId60" Type="http://schemas.openxmlformats.org/officeDocument/2006/relationships/slide" Target="slides/slide36.xml"/><Relationship Id="rId65" Type="http://schemas.openxmlformats.org/officeDocument/2006/relationships/slide" Target="slides/slide41.xml"/><Relationship Id="rId73" Type="http://schemas.openxmlformats.org/officeDocument/2006/relationships/slide" Target="slides/slide49.xml"/><Relationship Id="rId78" Type="http://schemas.openxmlformats.org/officeDocument/2006/relationships/slide" Target="slides/slide54.xml"/><Relationship Id="rId81" Type="http://schemas.openxmlformats.org/officeDocument/2006/relationships/slide" Target="slides/slide57.xml"/><Relationship Id="rId86" Type="http://schemas.openxmlformats.org/officeDocument/2006/relationships/slide" Target="slides/slide62.xml"/><Relationship Id="rId94" Type="http://schemas.openxmlformats.org/officeDocument/2006/relationships/slide" Target="slides/slide70.xml"/><Relationship Id="rId99" Type="http://schemas.openxmlformats.org/officeDocument/2006/relationships/slide" Target="slides/slide75.xml"/><Relationship Id="rId101" Type="http://schemas.openxmlformats.org/officeDocument/2006/relationships/slide" Target="slides/slide77.xml"/><Relationship Id="rId122" Type="http://schemas.openxmlformats.org/officeDocument/2006/relationships/slide" Target="slides/slide98.xml"/><Relationship Id="rId130" Type="http://schemas.openxmlformats.org/officeDocument/2006/relationships/viewProps" Target="viewProps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3" Type="http://schemas.openxmlformats.org/officeDocument/2006/relationships/slideMaster" Target="slideMasters/slideMaster13.xml"/><Relationship Id="rId18" Type="http://schemas.openxmlformats.org/officeDocument/2006/relationships/slideMaster" Target="slideMasters/slideMaster18.xml"/><Relationship Id="rId39" Type="http://schemas.openxmlformats.org/officeDocument/2006/relationships/slide" Target="slides/slide15.xml"/><Relationship Id="rId109" Type="http://schemas.openxmlformats.org/officeDocument/2006/relationships/slide" Target="slides/slide85.xml"/><Relationship Id="rId34" Type="http://schemas.openxmlformats.org/officeDocument/2006/relationships/slide" Target="slides/slide10.xml"/><Relationship Id="rId50" Type="http://schemas.openxmlformats.org/officeDocument/2006/relationships/slide" Target="slides/slide26.xml"/><Relationship Id="rId55" Type="http://schemas.openxmlformats.org/officeDocument/2006/relationships/slide" Target="slides/slide31.xml"/><Relationship Id="rId76" Type="http://schemas.openxmlformats.org/officeDocument/2006/relationships/slide" Target="slides/slide52.xml"/><Relationship Id="rId97" Type="http://schemas.openxmlformats.org/officeDocument/2006/relationships/slide" Target="slides/slide73.xml"/><Relationship Id="rId104" Type="http://schemas.openxmlformats.org/officeDocument/2006/relationships/slide" Target="slides/slide80.xml"/><Relationship Id="rId120" Type="http://schemas.openxmlformats.org/officeDocument/2006/relationships/slide" Target="slides/slide96.xml"/><Relationship Id="rId125" Type="http://schemas.openxmlformats.org/officeDocument/2006/relationships/slide" Target="slides/slide101.xml"/><Relationship Id="rId7" Type="http://schemas.openxmlformats.org/officeDocument/2006/relationships/slideMaster" Target="slideMasters/slideMaster7.xml"/><Relationship Id="rId71" Type="http://schemas.openxmlformats.org/officeDocument/2006/relationships/slide" Target="slides/slide47.xml"/><Relationship Id="rId92" Type="http://schemas.openxmlformats.org/officeDocument/2006/relationships/slide" Target="slides/slide68.xml"/><Relationship Id="rId2" Type="http://schemas.openxmlformats.org/officeDocument/2006/relationships/slideMaster" Target="slideMasters/slideMaster2.xml"/><Relationship Id="rId29" Type="http://schemas.openxmlformats.org/officeDocument/2006/relationships/slide" Target="slides/slide5.xml"/><Relationship Id="rId24" Type="http://schemas.openxmlformats.org/officeDocument/2006/relationships/slideMaster" Target="slideMasters/slideMaster24.xml"/><Relationship Id="rId40" Type="http://schemas.openxmlformats.org/officeDocument/2006/relationships/slide" Target="slides/slide16.xml"/><Relationship Id="rId45" Type="http://schemas.openxmlformats.org/officeDocument/2006/relationships/slide" Target="slides/slide21.xml"/><Relationship Id="rId66" Type="http://schemas.openxmlformats.org/officeDocument/2006/relationships/slide" Target="slides/slide42.xml"/><Relationship Id="rId87" Type="http://schemas.openxmlformats.org/officeDocument/2006/relationships/slide" Target="slides/slide63.xml"/><Relationship Id="rId110" Type="http://schemas.openxmlformats.org/officeDocument/2006/relationships/slide" Target="slides/slide86.xml"/><Relationship Id="rId115" Type="http://schemas.openxmlformats.org/officeDocument/2006/relationships/slide" Target="slides/slide91.xml"/><Relationship Id="rId131" Type="http://schemas.openxmlformats.org/officeDocument/2006/relationships/theme" Target="theme/theme1.xml"/><Relationship Id="rId61" Type="http://schemas.openxmlformats.org/officeDocument/2006/relationships/slide" Target="slides/slide37.xml"/><Relationship Id="rId82" Type="http://schemas.openxmlformats.org/officeDocument/2006/relationships/slide" Target="slides/slide58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660BD4AD-4813-4D7D-A0C3-68C6D4546EAF}" type="doc">
      <dgm:prSet loTypeId="urn:microsoft.com/office/officeart/2005/8/layout/hierarchy1" loCatId="hierarchy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52FE27B4-A39E-43CD-BBB1-9199354D3E38}">
      <dgm:prSet phldrT="[Text]"/>
      <dgm:spPr/>
      <dgm:t>
        <a:bodyPr/>
        <a:lstStyle/>
        <a:p>
          <a:r>
            <a:rPr lang="en-US" dirty="0" smtClean="0"/>
            <a:t>Data Irregularities</a:t>
          </a:r>
          <a:endParaRPr lang="en-US" dirty="0"/>
        </a:p>
      </dgm:t>
    </dgm:pt>
    <dgm:pt modelId="{96FDE65E-5E6B-43D7-819D-944559A89936}" type="parTrans" cxnId="{995D12DF-097D-4B75-A1D4-F1623D87F0A1}">
      <dgm:prSet/>
      <dgm:spPr/>
      <dgm:t>
        <a:bodyPr/>
        <a:lstStyle/>
        <a:p>
          <a:endParaRPr lang="en-US"/>
        </a:p>
      </dgm:t>
    </dgm:pt>
    <dgm:pt modelId="{A39DB171-D7C2-4D3C-9928-E37045D0C631}" type="sibTrans" cxnId="{995D12DF-097D-4B75-A1D4-F1623D87F0A1}">
      <dgm:prSet/>
      <dgm:spPr/>
      <dgm:t>
        <a:bodyPr/>
        <a:lstStyle/>
        <a:p>
          <a:endParaRPr lang="en-US"/>
        </a:p>
      </dgm:t>
    </dgm:pt>
    <dgm:pt modelId="{54C842C2-2A16-409C-971E-FFB1228A6F67}">
      <dgm:prSet phldrT="[Text]"/>
      <dgm:spPr/>
      <dgm:t>
        <a:bodyPr/>
        <a:lstStyle/>
        <a:p>
          <a:r>
            <a:rPr lang="en-US" dirty="0" smtClean="0"/>
            <a:t>Distribution based</a:t>
          </a:r>
          <a:endParaRPr lang="en-US" dirty="0"/>
        </a:p>
      </dgm:t>
    </dgm:pt>
    <dgm:pt modelId="{41CB0779-529F-421B-B8CB-75D637E999FA}" type="parTrans" cxnId="{D151A4E4-77E6-44F5-A1DF-01B847248373}">
      <dgm:prSet/>
      <dgm:spPr/>
      <dgm:t>
        <a:bodyPr/>
        <a:lstStyle/>
        <a:p>
          <a:endParaRPr lang="en-US"/>
        </a:p>
      </dgm:t>
    </dgm:pt>
    <dgm:pt modelId="{3DB8F1FC-9906-4D21-9092-F8469EECA1FC}" type="sibTrans" cxnId="{D151A4E4-77E6-44F5-A1DF-01B847248373}">
      <dgm:prSet/>
      <dgm:spPr/>
      <dgm:t>
        <a:bodyPr/>
        <a:lstStyle/>
        <a:p>
          <a:endParaRPr lang="en-US"/>
        </a:p>
      </dgm:t>
    </dgm:pt>
    <dgm:pt modelId="{8525CE2E-9196-46FD-8B4C-CE1C4F0EB5EE}">
      <dgm:prSet phldrT="[Text]"/>
      <dgm:spPr/>
      <dgm:t>
        <a:bodyPr/>
        <a:lstStyle/>
        <a:p>
          <a:r>
            <a:rPr lang="en-US" dirty="0" smtClean="0"/>
            <a:t>Class Imbalance</a:t>
          </a:r>
          <a:endParaRPr lang="en-US" dirty="0"/>
        </a:p>
      </dgm:t>
    </dgm:pt>
    <dgm:pt modelId="{E4111A53-C707-46E3-B940-A4C8D57C278D}" type="parTrans" cxnId="{4AC9CD92-209B-44CF-8247-5452C879D21C}">
      <dgm:prSet/>
      <dgm:spPr/>
      <dgm:t>
        <a:bodyPr/>
        <a:lstStyle/>
        <a:p>
          <a:endParaRPr lang="en-US"/>
        </a:p>
      </dgm:t>
    </dgm:pt>
    <dgm:pt modelId="{4A327C42-8DFA-4549-936A-4FB9E83ABCFC}" type="sibTrans" cxnId="{4AC9CD92-209B-44CF-8247-5452C879D21C}">
      <dgm:prSet/>
      <dgm:spPr/>
      <dgm:t>
        <a:bodyPr/>
        <a:lstStyle/>
        <a:p>
          <a:endParaRPr lang="en-US"/>
        </a:p>
      </dgm:t>
    </dgm:pt>
    <dgm:pt modelId="{E3D4CDDD-224E-4A10-8E2D-F98E6580618A}">
      <dgm:prSet phldrT="[Text]"/>
      <dgm:spPr/>
      <dgm:t>
        <a:bodyPr/>
        <a:lstStyle/>
        <a:p>
          <a:r>
            <a:rPr lang="en-US" dirty="0" smtClean="0"/>
            <a:t>Class Skew</a:t>
          </a:r>
          <a:endParaRPr lang="en-US" dirty="0"/>
        </a:p>
      </dgm:t>
    </dgm:pt>
    <dgm:pt modelId="{0D137A0C-564F-4BAE-8C2C-EE165238248F}" type="parTrans" cxnId="{5C3F85D0-A3AC-4673-944D-2A03B4B4DF1D}">
      <dgm:prSet/>
      <dgm:spPr/>
      <dgm:t>
        <a:bodyPr/>
        <a:lstStyle/>
        <a:p>
          <a:endParaRPr lang="en-US"/>
        </a:p>
      </dgm:t>
    </dgm:pt>
    <dgm:pt modelId="{DA0A74E2-B6AB-47B7-B711-5E3F75BB8F0E}" type="sibTrans" cxnId="{5C3F85D0-A3AC-4673-944D-2A03B4B4DF1D}">
      <dgm:prSet/>
      <dgm:spPr/>
      <dgm:t>
        <a:bodyPr/>
        <a:lstStyle/>
        <a:p>
          <a:endParaRPr lang="en-US"/>
        </a:p>
      </dgm:t>
    </dgm:pt>
    <dgm:pt modelId="{E7490A7A-685A-448D-9BEF-9DFA85250299}">
      <dgm:prSet phldrT="[Text]"/>
      <dgm:spPr/>
      <dgm:t>
        <a:bodyPr/>
        <a:lstStyle/>
        <a:p>
          <a:r>
            <a:rPr lang="en-US" dirty="0" smtClean="0"/>
            <a:t>Feature based</a:t>
          </a:r>
          <a:endParaRPr lang="en-US" dirty="0"/>
        </a:p>
      </dgm:t>
    </dgm:pt>
    <dgm:pt modelId="{2D578666-A484-407B-9EA9-90211109CFCB}" type="parTrans" cxnId="{93C881E1-264D-4543-8155-E7A8F65AE99B}">
      <dgm:prSet/>
      <dgm:spPr/>
      <dgm:t>
        <a:bodyPr/>
        <a:lstStyle/>
        <a:p>
          <a:endParaRPr lang="en-US"/>
        </a:p>
      </dgm:t>
    </dgm:pt>
    <dgm:pt modelId="{43D490FE-07D8-4959-8BE6-74F70D695CF9}" type="sibTrans" cxnId="{93C881E1-264D-4543-8155-E7A8F65AE99B}">
      <dgm:prSet/>
      <dgm:spPr/>
      <dgm:t>
        <a:bodyPr/>
        <a:lstStyle/>
        <a:p>
          <a:endParaRPr lang="en-US"/>
        </a:p>
      </dgm:t>
    </dgm:pt>
    <dgm:pt modelId="{F2F6428D-8B22-4E99-AA21-3AA24B005CA4}">
      <dgm:prSet phldrT="[Text]"/>
      <dgm:spPr/>
      <dgm:t>
        <a:bodyPr/>
        <a:lstStyle/>
        <a:p>
          <a:r>
            <a:rPr lang="en-US" dirty="0" smtClean="0"/>
            <a:t>Missing Features</a:t>
          </a:r>
          <a:endParaRPr lang="en-US" dirty="0"/>
        </a:p>
      </dgm:t>
    </dgm:pt>
    <dgm:pt modelId="{E0019553-4E7D-4A9E-8E41-754648122DA2}" type="parTrans" cxnId="{872B8ACF-96E2-4A62-8168-77914739B476}">
      <dgm:prSet/>
      <dgm:spPr/>
      <dgm:t>
        <a:bodyPr/>
        <a:lstStyle/>
        <a:p>
          <a:endParaRPr lang="en-US"/>
        </a:p>
      </dgm:t>
    </dgm:pt>
    <dgm:pt modelId="{50FB2886-EEFC-48EE-BDB5-93094F1998B3}" type="sibTrans" cxnId="{872B8ACF-96E2-4A62-8168-77914739B476}">
      <dgm:prSet/>
      <dgm:spPr/>
      <dgm:t>
        <a:bodyPr/>
        <a:lstStyle/>
        <a:p>
          <a:endParaRPr lang="en-US"/>
        </a:p>
      </dgm:t>
    </dgm:pt>
    <dgm:pt modelId="{95D444AE-8106-4819-9EB1-F315E6225729}">
      <dgm:prSet phldrT="[Text]"/>
      <dgm:spPr/>
      <dgm:t>
        <a:bodyPr/>
        <a:lstStyle/>
        <a:p>
          <a:r>
            <a:rPr lang="en-US" dirty="0" smtClean="0"/>
            <a:t>Small </a:t>
          </a:r>
          <a:r>
            <a:rPr lang="en-US" dirty="0" err="1" smtClean="0"/>
            <a:t>Disjuncts</a:t>
          </a:r>
          <a:endParaRPr lang="en-US" dirty="0"/>
        </a:p>
      </dgm:t>
    </dgm:pt>
    <dgm:pt modelId="{B7C8EAB7-50C2-4367-B626-12EB8861351B}" type="parTrans" cxnId="{CD334D31-73B6-4B03-9616-862FE5F90470}">
      <dgm:prSet/>
      <dgm:spPr/>
      <dgm:t>
        <a:bodyPr/>
        <a:lstStyle/>
        <a:p>
          <a:endParaRPr lang="en-US"/>
        </a:p>
      </dgm:t>
    </dgm:pt>
    <dgm:pt modelId="{D5FC158B-D58C-4E75-9445-9311B656F7EE}" type="sibTrans" cxnId="{CD334D31-73B6-4B03-9616-862FE5F90470}">
      <dgm:prSet/>
      <dgm:spPr/>
      <dgm:t>
        <a:bodyPr/>
        <a:lstStyle/>
        <a:p>
          <a:endParaRPr lang="en-US"/>
        </a:p>
      </dgm:t>
    </dgm:pt>
    <dgm:pt modelId="{50D56623-ADBF-4D06-B5AD-34D27ADC8839}">
      <dgm:prSet phldrT="[Text]"/>
      <dgm:spPr/>
      <dgm:t>
        <a:bodyPr/>
        <a:lstStyle/>
        <a:p>
          <a:r>
            <a:rPr lang="en-US" dirty="0" smtClean="0"/>
            <a:t>Absent Features</a:t>
          </a:r>
          <a:endParaRPr lang="en-US" dirty="0"/>
        </a:p>
      </dgm:t>
    </dgm:pt>
    <dgm:pt modelId="{999DD82D-5A7E-400A-9A2F-63E0A6F12C1D}" type="parTrans" cxnId="{52063F01-0C84-4B94-94D6-6E1ADC2730F8}">
      <dgm:prSet/>
      <dgm:spPr/>
      <dgm:t>
        <a:bodyPr/>
        <a:lstStyle/>
        <a:p>
          <a:endParaRPr lang="en-US"/>
        </a:p>
      </dgm:t>
    </dgm:pt>
    <dgm:pt modelId="{25123E5E-7CCF-4CE3-85B0-94C23E284CC8}" type="sibTrans" cxnId="{52063F01-0C84-4B94-94D6-6E1ADC2730F8}">
      <dgm:prSet/>
      <dgm:spPr/>
      <dgm:t>
        <a:bodyPr/>
        <a:lstStyle/>
        <a:p>
          <a:endParaRPr lang="en-US"/>
        </a:p>
      </dgm:t>
    </dgm:pt>
    <dgm:pt modelId="{7855302A-0149-4E53-8CF4-78E36A87005F}" type="pres">
      <dgm:prSet presAssocID="{660BD4AD-4813-4D7D-A0C3-68C6D4546EAF}" presName="hierChild1" presStyleCnt="0">
        <dgm:presLayoutVars>
          <dgm:chPref val="1"/>
          <dgm:dir/>
          <dgm:animOne val="branch"/>
          <dgm:animLvl val="lvl"/>
          <dgm:resizeHandles/>
        </dgm:presLayoutVars>
      </dgm:prSet>
      <dgm:spPr/>
      <dgm:t>
        <a:bodyPr/>
        <a:lstStyle/>
        <a:p>
          <a:endParaRPr lang="en-US"/>
        </a:p>
      </dgm:t>
    </dgm:pt>
    <dgm:pt modelId="{0D52EEE5-6562-45BC-9AB5-A2B85BD8DACC}" type="pres">
      <dgm:prSet presAssocID="{52FE27B4-A39E-43CD-BBB1-9199354D3E38}" presName="hierRoot1" presStyleCnt="0"/>
      <dgm:spPr/>
    </dgm:pt>
    <dgm:pt modelId="{A8AC907C-DC7A-4A59-B880-47425FC79891}" type="pres">
      <dgm:prSet presAssocID="{52FE27B4-A39E-43CD-BBB1-9199354D3E38}" presName="composite" presStyleCnt="0"/>
      <dgm:spPr/>
    </dgm:pt>
    <dgm:pt modelId="{1FDB5674-937A-4D89-9F6A-681CFAFB2049}" type="pres">
      <dgm:prSet presAssocID="{52FE27B4-A39E-43CD-BBB1-9199354D3E38}" presName="background" presStyleLbl="node0" presStyleIdx="0" presStyleCnt="1"/>
      <dgm:spPr/>
    </dgm:pt>
    <dgm:pt modelId="{1F45C21E-DBC5-4CE4-AEE6-6381CB39A70E}" type="pres">
      <dgm:prSet presAssocID="{52FE27B4-A39E-43CD-BBB1-9199354D3E38}" presName="text" presStyleLbl="fgAcc0" presStyleIdx="0" presStyleCnt="1" custLinFactNeighborX="-13915" custLinFactNeighborY="-72513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4EFD7721-5266-4732-A50E-4E8F3E419B0E}" type="pres">
      <dgm:prSet presAssocID="{52FE27B4-A39E-43CD-BBB1-9199354D3E38}" presName="hierChild2" presStyleCnt="0"/>
      <dgm:spPr/>
    </dgm:pt>
    <dgm:pt modelId="{50387D3F-7B78-4878-B7E8-4C7323CE7DB8}" type="pres">
      <dgm:prSet presAssocID="{41CB0779-529F-421B-B8CB-75D637E999FA}" presName="Name10" presStyleLbl="parChTrans1D2" presStyleIdx="0" presStyleCnt="2"/>
      <dgm:spPr/>
      <dgm:t>
        <a:bodyPr/>
        <a:lstStyle/>
        <a:p>
          <a:endParaRPr lang="en-US"/>
        </a:p>
      </dgm:t>
    </dgm:pt>
    <dgm:pt modelId="{7CF406BC-251B-420F-B229-0DDD8F1585CA}" type="pres">
      <dgm:prSet presAssocID="{54C842C2-2A16-409C-971E-FFB1228A6F67}" presName="hierRoot2" presStyleCnt="0"/>
      <dgm:spPr/>
    </dgm:pt>
    <dgm:pt modelId="{8B2378C6-A63C-4279-8701-FB119CD207CF}" type="pres">
      <dgm:prSet presAssocID="{54C842C2-2A16-409C-971E-FFB1228A6F67}" presName="composite2" presStyleCnt="0"/>
      <dgm:spPr/>
    </dgm:pt>
    <dgm:pt modelId="{DF6FAC63-8DAA-406C-AB62-EFEB5FE54728}" type="pres">
      <dgm:prSet presAssocID="{54C842C2-2A16-409C-971E-FFB1228A6F67}" presName="background2" presStyleLbl="node2" presStyleIdx="0" presStyleCnt="2"/>
      <dgm:spPr/>
    </dgm:pt>
    <dgm:pt modelId="{97AEA6A1-73A8-40EC-9B7E-2F8D2F7DF59D}" type="pres">
      <dgm:prSet presAssocID="{54C842C2-2A16-409C-971E-FFB1228A6F67}" presName="text2" presStyleLbl="fgAcc2" presStyleIdx="0" presStyleCnt="2" custLinFactNeighborX="-11240" custLinFactNeighborY="-69480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C2B81928-F153-44B7-AFFB-1D865800EFB1}" type="pres">
      <dgm:prSet presAssocID="{54C842C2-2A16-409C-971E-FFB1228A6F67}" presName="hierChild3" presStyleCnt="0"/>
      <dgm:spPr/>
    </dgm:pt>
    <dgm:pt modelId="{1C306DCD-D752-4919-AF43-E12B260790F5}" type="pres">
      <dgm:prSet presAssocID="{E4111A53-C707-46E3-B940-A4C8D57C278D}" presName="Name17" presStyleLbl="parChTrans1D3" presStyleIdx="0" presStyleCnt="5"/>
      <dgm:spPr/>
      <dgm:t>
        <a:bodyPr/>
        <a:lstStyle/>
        <a:p>
          <a:endParaRPr lang="en-US"/>
        </a:p>
      </dgm:t>
    </dgm:pt>
    <dgm:pt modelId="{752D30FD-47E0-474D-9F03-1E3A60BCB4B7}" type="pres">
      <dgm:prSet presAssocID="{8525CE2E-9196-46FD-8B4C-CE1C4F0EB5EE}" presName="hierRoot3" presStyleCnt="0"/>
      <dgm:spPr/>
    </dgm:pt>
    <dgm:pt modelId="{596922F5-9774-4EEB-9049-AE245215CC28}" type="pres">
      <dgm:prSet presAssocID="{8525CE2E-9196-46FD-8B4C-CE1C4F0EB5EE}" presName="composite3" presStyleCnt="0"/>
      <dgm:spPr/>
    </dgm:pt>
    <dgm:pt modelId="{92C2B52D-D20C-4659-BD48-4FD50349A712}" type="pres">
      <dgm:prSet presAssocID="{8525CE2E-9196-46FD-8B4C-CE1C4F0EB5EE}" presName="background3" presStyleLbl="node3" presStyleIdx="0" presStyleCnt="5"/>
      <dgm:spPr/>
    </dgm:pt>
    <dgm:pt modelId="{5FE24E61-E1BC-40D5-8131-73B1E76177A5}" type="pres">
      <dgm:prSet presAssocID="{8525CE2E-9196-46FD-8B4C-CE1C4F0EB5EE}" presName="text3" presStyleLbl="fgAcc3" presStyleIdx="0" presStyleCnt="5" custLinFactNeighborX="16473" custLinFactNeighborY="-66448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3D646C7D-4ACF-49FE-ABDB-49BA177F1584}" type="pres">
      <dgm:prSet presAssocID="{8525CE2E-9196-46FD-8B4C-CE1C4F0EB5EE}" presName="hierChild4" presStyleCnt="0"/>
      <dgm:spPr/>
    </dgm:pt>
    <dgm:pt modelId="{9954F4D8-01A6-4767-9D06-AC31A6986A1A}" type="pres">
      <dgm:prSet presAssocID="{0D137A0C-564F-4BAE-8C2C-EE165238248F}" presName="Name17" presStyleLbl="parChTrans1D3" presStyleIdx="1" presStyleCnt="5"/>
      <dgm:spPr/>
      <dgm:t>
        <a:bodyPr/>
        <a:lstStyle/>
        <a:p>
          <a:endParaRPr lang="en-US"/>
        </a:p>
      </dgm:t>
    </dgm:pt>
    <dgm:pt modelId="{448DF2A1-6795-4222-AB0B-F37FFCFEBE81}" type="pres">
      <dgm:prSet presAssocID="{E3D4CDDD-224E-4A10-8E2D-F98E6580618A}" presName="hierRoot3" presStyleCnt="0"/>
      <dgm:spPr/>
    </dgm:pt>
    <dgm:pt modelId="{6FD03A69-439F-403D-9A47-7178C92C134D}" type="pres">
      <dgm:prSet presAssocID="{E3D4CDDD-224E-4A10-8E2D-F98E6580618A}" presName="composite3" presStyleCnt="0"/>
      <dgm:spPr/>
    </dgm:pt>
    <dgm:pt modelId="{C011A2FE-3038-413E-8093-4E78A545FF6D}" type="pres">
      <dgm:prSet presAssocID="{E3D4CDDD-224E-4A10-8E2D-F98E6580618A}" presName="background3" presStyleLbl="node3" presStyleIdx="1" presStyleCnt="5"/>
      <dgm:spPr/>
    </dgm:pt>
    <dgm:pt modelId="{F09D844E-C0D9-46A6-845D-F3361305BBE5}" type="pres">
      <dgm:prSet presAssocID="{E3D4CDDD-224E-4A10-8E2D-F98E6580618A}" presName="text3" presStyleLbl="fgAcc3" presStyleIdx="1" presStyleCnt="5" custLinFactNeighborX="-11240" custLinFactNeighborY="55890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038AEC2D-355A-4725-8770-08F3D2AA4C70}" type="pres">
      <dgm:prSet presAssocID="{E3D4CDDD-224E-4A10-8E2D-F98E6580618A}" presName="hierChild4" presStyleCnt="0"/>
      <dgm:spPr/>
    </dgm:pt>
    <dgm:pt modelId="{938FECE6-D301-4277-BFAA-723B92C45871}" type="pres">
      <dgm:prSet presAssocID="{B7C8EAB7-50C2-4367-B626-12EB8861351B}" presName="Name17" presStyleLbl="parChTrans1D3" presStyleIdx="2" presStyleCnt="5"/>
      <dgm:spPr/>
      <dgm:t>
        <a:bodyPr/>
        <a:lstStyle/>
        <a:p>
          <a:endParaRPr lang="en-US"/>
        </a:p>
      </dgm:t>
    </dgm:pt>
    <dgm:pt modelId="{A568D2DC-EF6B-4914-9B12-1C9EBE0338FC}" type="pres">
      <dgm:prSet presAssocID="{95D444AE-8106-4819-9EB1-F315E6225729}" presName="hierRoot3" presStyleCnt="0"/>
      <dgm:spPr/>
    </dgm:pt>
    <dgm:pt modelId="{6EBE0DEA-AEBA-4870-B215-ECEF6BAF4F32}" type="pres">
      <dgm:prSet presAssocID="{95D444AE-8106-4819-9EB1-F315E6225729}" presName="composite3" presStyleCnt="0"/>
      <dgm:spPr/>
    </dgm:pt>
    <dgm:pt modelId="{3500AA21-951E-4E84-8CB8-498624E3E080}" type="pres">
      <dgm:prSet presAssocID="{95D444AE-8106-4819-9EB1-F315E6225729}" presName="background3" presStyleLbl="node3" presStyleIdx="2" presStyleCnt="5"/>
      <dgm:spPr/>
    </dgm:pt>
    <dgm:pt modelId="{A60FC7D1-B910-45E5-8BE7-84ECC72F9333}" type="pres">
      <dgm:prSet presAssocID="{95D444AE-8106-4819-9EB1-F315E6225729}" presName="text3" presStyleLbl="fgAcc3" presStyleIdx="2" presStyleCnt="5" custLinFactNeighborX="-66750" custLinFactNeighborY="-66448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6BACDE4C-3865-4F35-A749-278F36285F52}" type="pres">
      <dgm:prSet presAssocID="{95D444AE-8106-4819-9EB1-F315E6225729}" presName="hierChild4" presStyleCnt="0"/>
      <dgm:spPr/>
    </dgm:pt>
    <dgm:pt modelId="{F712B540-99D4-49CA-8E0A-5FCBFD4D4DCF}" type="pres">
      <dgm:prSet presAssocID="{2D578666-A484-407B-9EA9-90211109CFCB}" presName="Name10" presStyleLbl="parChTrans1D2" presStyleIdx="1" presStyleCnt="2"/>
      <dgm:spPr/>
      <dgm:t>
        <a:bodyPr/>
        <a:lstStyle/>
        <a:p>
          <a:endParaRPr lang="en-US"/>
        </a:p>
      </dgm:t>
    </dgm:pt>
    <dgm:pt modelId="{848D3061-002A-4785-A312-D8B9BF310051}" type="pres">
      <dgm:prSet presAssocID="{E7490A7A-685A-448D-9BEF-9DFA85250299}" presName="hierRoot2" presStyleCnt="0"/>
      <dgm:spPr/>
    </dgm:pt>
    <dgm:pt modelId="{5ACD8C7D-5A28-40D2-91A9-2A425633410E}" type="pres">
      <dgm:prSet presAssocID="{E7490A7A-685A-448D-9BEF-9DFA85250299}" presName="composite2" presStyleCnt="0"/>
      <dgm:spPr/>
    </dgm:pt>
    <dgm:pt modelId="{1D72B002-2F8F-46C9-B464-5E0EFD2D43B1}" type="pres">
      <dgm:prSet presAssocID="{E7490A7A-685A-448D-9BEF-9DFA85250299}" presName="background2" presStyleLbl="node2" presStyleIdx="1" presStyleCnt="2"/>
      <dgm:spPr/>
    </dgm:pt>
    <dgm:pt modelId="{ACD960B9-A71B-4483-94CB-83010AD42012}" type="pres">
      <dgm:prSet presAssocID="{E7490A7A-685A-448D-9BEF-9DFA85250299}" presName="text2" presStyleLbl="fgAcc2" presStyleIdx="1" presStyleCnt="2" custLinFactNeighborX="-16590" custLinFactNeighborY="-69480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3B5F67F9-7E85-48A1-98A3-2A46168EFA6B}" type="pres">
      <dgm:prSet presAssocID="{E7490A7A-685A-448D-9BEF-9DFA85250299}" presName="hierChild3" presStyleCnt="0"/>
      <dgm:spPr/>
    </dgm:pt>
    <dgm:pt modelId="{098D8DD3-458E-431C-9F3A-4373B4ED2865}" type="pres">
      <dgm:prSet presAssocID="{E0019553-4E7D-4A9E-8E41-754648122DA2}" presName="Name17" presStyleLbl="parChTrans1D3" presStyleIdx="3" presStyleCnt="5"/>
      <dgm:spPr/>
      <dgm:t>
        <a:bodyPr/>
        <a:lstStyle/>
        <a:p>
          <a:endParaRPr lang="en-US"/>
        </a:p>
      </dgm:t>
    </dgm:pt>
    <dgm:pt modelId="{F8152DD1-929A-4F4A-B1BC-D4F353069277}" type="pres">
      <dgm:prSet presAssocID="{F2F6428D-8B22-4E99-AA21-3AA24B005CA4}" presName="hierRoot3" presStyleCnt="0"/>
      <dgm:spPr/>
    </dgm:pt>
    <dgm:pt modelId="{67881C74-C84C-417B-A399-C625A4F7425C}" type="pres">
      <dgm:prSet presAssocID="{F2F6428D-8B22-4E99-AA21-3AA24B005CA4}" presName="composite3" presStyleCnt="0"/>
      <dgm:spPr/>
    </dgm:pt>
    <dgm:pt modelId="{0A4401CA-196F-4D74-8E4E-EBD44AD9D345}" type="pres">
      <dgm:prSet presAssocID="{F2F6428D-8B22-4E99-AA21-3AA24B005CA4}" presName="background3" presStyleLbl="node3" presStyleIdx="3" presStyleCnt="5"/>
      <dgm:spPr/>
    </dgm:pt>
    <dgm:pt modelId="{02C549D1-24D6-4D43-96DE-F326FED9717D}" type="pres">
      <dgm:prSet presAssocID="{F2F6428D-8B22-4E99-AA21-3AA24B005CA4}" presName="text3" presStyleLbl="fgAcc3" presStyleIdx="3" presStyleCnt="5" custLinFactNeighborX="-27751" custLinFactNeighborY="-57693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98370EA0-1ED6-4D98-9623-17C0025B4B78}" type="pres">
      <dgm:prSet presAssocID="{F2F6428D-8B22-4E99-AA21-3AA24B005CA4}" presName="hierChild4" presStyleCnt="0"/>
      <dgm:spPr/>
    </dgm:pt>
    <dgm:pt modelId="{5F03913E-971F-4721-BF47-F579531916C5}" type="pres">
      <dgm:prSet presAssocID="{999DD82D-5A7E-400A-9A2F-63E0A6F12C1D}" presName="Name17" presStyleLbl="parChTrans1D3" presStyleIdx="4" presStyleCnt="5"/>
      <dgm:spPr/>
      <dgm:t>
        <a:bodyPr/>
        <a:lstStyle/>
        <a:p>
          <a:endParaRPr lang="en-US"/>
        </a:p>
      </dgm:t>
    </dgm:pt>
    <dgm:pt modelId="{6DC604DB-665B-4347-9012-8AF53E0DEC7F}" type="pres">
      <dgm:prSet presAssocID="{50D56623-ADBF-4D06-B5AD-34D27ADC8839}" presName="hierRoot3" presStyleCnt="0"/>
      <dgm:spPr/>
    </dgm:pt>
    <dgm:pt modelId="{98488923-C5BE-47A0-8DBF-572F06C603A9}" type="pres">
      <dgm:prSet presAssocID="{50D56623-ADBF-4D06-B5AD-34D27ADC8839}" presName="composite3" presStyleCnt="0"/>
      <dgm:spPr/>
    </dgm:pt>
    <dgm:pt modelId="{8EF02096-EEA5-4C6B-A72B-8981E2D9013D}" type="pres">
      <dgm:prSet presAssocID="{50D56623-ADBF-4D06-B5AD-34D27ADC8839}" presName="background3" presStyleLbl="node3" presStyleIdx="4" presStyleCnt="5"/>
      <dgm:spPr/>
    </dgm:pt>
    <dgm:pt modelId="{86180551-CC9F-493A-80BE-94708EF73466}" type="pres">
      <dgm:prSet presAssocID="{50D56623-ADBF-4D06-B5AD-34D27ADC8839}" presName="text3" presStyleLbl="fgAcc3" presStyleIdx="4" presStyleCnt="5" custLinFactNeighborX="-16548" custLinFactNeighborY="-57693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16E07116-8DB8-425B-8402-95000EA3BB2A}" type="pres">
      <dgm:prSet presAssocID="{50D56623-ADBF-4D06-B5AD-34D27ADC8839}" presName="hierChild4" presStyleCnt="0"/>
      <dgm:spPr/>
    </dgm:pt>
  </dgm:ptLst>
  <dgm:cxnLst>
    <dgm:cxn modelId="{48A869AF-AE2D-4733-9129-250F7FA4A586}" type="presOf" srcId="{B7C8EAB7-50C2-4367-B626-12EB8861351B}" destId="{938FECE6-D301-4277-BFAA-723B92C45871}" srcOrd="0" destOrd="0" presId="urn:microsoft.com/office/officeart/2005/8/layout/hierarchy1"/>
    <dgm:cxn modelId="{6D09F124-F7BB-4AEC-9277-8C7A897CA5B3}" type="presOf" srcId="{95D444AE-8106-4819-9EB1-F315E6225729}" destId="{A60FC7D1-B910-45E5-8BE7-84ECC72F9333}" srcOrd="0" destOrd="0" presId="urn:microsoft.com/office/officeart/2005/8/layout/hierarchy1"/>
    <dgm:cxn modelId="{AB27FF5C-E35B-47F3-9F71-5123BB5A1FB1}" type="presOf" srcId="{E7490A7A-685A-448D-9BEF-9DFA85250299}" destId="{ACD960B9-A71B-4483-94CB-83010AD42012}" srcOrd="0" destOrd="0" presId="urn:microsoft.com/office/officeart/2005/8/layout/hierarchy1"/>
    <dgm:cxn modelId="{6A896ECA-01CC-428F-8337-2A9AC9EBD909}" type="presOf" srcId="{F2F6428D-8B22-4E99-AA21-3AA24B005CA4}" destId="{02C549D1-24D6-4D43-96DE-F326FED9717D}" srcOrd="0" destOrd="0" presId="urn:microsoft.com/office/officeart/2005/8/layout/hierarchy1"/>
    <dgm:cxn modelId="{995D12DF-097D-4B75-A1D4-F1623D87F0A1}" srcId="{660BD4AD-4813-4D7D-A0C3-68C6D4546EAF}" destId="{52FE27B4-A39E-43CD-BBB1-9199354D3E38}" srcOrd="0" destOrd="0" parTransId="{96FDE65E-5E6B-43D7-819D-944559A89936}" sibTransId="{A39DB171-D7C2-4D3C-9928-E37045D0C631}"/>
    <dgm:cxn modelId="{5049A5E9-9C15-4187-9BB7-5ADC55F2D305}" type="presOf" srcId="{0D137A0C-564F-4BAE-8C2C-EE165238248F}" destId="{9954F4D8-01A6-4767-9D06-AC31A6986A1A}" srcOrd="0" destOrd="0" presId="urn:microsoft.com/office/officeart/2005/8/layout/hierarchy1"/>
    <dgm:cxn modelId="{359B541B-43D4-48B4-9DAD-3F739A1479CE}" type="presOf" srcId="{E0019553-4E7D-4A9E-8E41-754648122DA2}" destId="{098D8DD3-458E-431C-9F3A-4373B4ED2865}" srcOrd="0" destOrd="0" presId="urn:microsoft.com/office/officeart/2005/8/layout/hierarchy1"/>
    <dgm:cxn modelId="{52063F01-0C84-4B94-94D6-6E1ADC2730F8}" srcId="{E7490A7A-685A-448D-9BEF-9DFA85250299}" destId="{50D56623-ADBF-4D06-B5AD-34D27ADC8839}" srcOrd="1" destOrd="0" parTransId="{999DD82D-5A7E-400A-9A2F-63E0A6F12C1D}" sibTransId="{25123E5E-7CCF-4CE3-85B0-94C23E284CC8}"/>
    <dgm:cxn modelId="{93C881E1-264D-4543-8155-E7A8F65AE99B}" srcId="{52FE27B4-A39E-43CD-BBB1-9199354D3E38}" destId="{E7490A7A-685A-448D-9BEF-9DFA85250299}" srcOrd="1" destOrd="0" parTransId="{2D578666-A484-407B-9EA9-90211109CFCB}" sibTransId="{43D490FE-07D8-4959-8BE6-74F70D695CF9}"/>
    <dgm:cxn modelId="{7CFCE14B-5AFD-4983-BA89-3DD0F9464B15}" type="presOf" srcId="{660BD4AD-4813-4D7D-A0C3-68C6D4546EAF}" destId="{7855302A-0149-4E53-8CF4-78E36A87005F}" srcOrd="0" destOrd="0" presId="urn:microsoft.com/office/officeart/2005/8/layout/hierarchy1"/>
    <dgm:cxn modelId="{872B8ACF-96E2-4A62-8168-77914739B476}" srcId="{E7490A7A-685A-448D-9BEF-9DFA85250299}" destId="{F2F6428D-8B22-4E99-AA21-3AA24B005CA4}" srcOrd="0" destOrd="0" parTransId="{E0019553-4E7D-4A9E-8E41-754648122DA2}" sibTransId="{50FB2886-EEFC-48EE-BDB5-93094F1998B3}"/>
    <dgm:cxn modelId="{9956EBAA-FF4F-4D8A-BA7D-92E707780CCD}" type="presOf" srcId="{8525CE2E-9196-46FD-8B4C-CE1C4F0EB5EE}" destId="{5FE24E61-E1BC-40D5-8131-73B1E76177A5}" srcOrd="0" destOrd="0" presId="urn:microsoft.com/office/officeart/2005/8/layout/hierarchy1"/>
    <dgm:cxn modelId="{58448FEA-6355-43B3-931B-9E735A3BD0C5}" type="presOf" srcId="{52FE27B4-A39E-43CD-BBB1-9199354D3E38}" destId="{1F45C21E-DBC5-4CE4-AEE6-6381CB39A70E}" srcOrd="0" destOrd="0" presId="urn:microsoft.com/office/officeart/2005/8/layout/hierarchy1"/>
    <dgm:cxn modelId="{8D168FBF-A031-45C3-A482-9F66944E2CC0}" type="presOf" srcId="{2D578666-A484-407B-9EA9-90211109CFCB}" destId="{F712B540-99D4-49CA-8E0A-5FCBFD4D4DCF}" srcOrd="0" destOrd="0" presId="urn:microsoft.com/office/officeart/2005/8/layout/hierarchy1"/>
    <dgm:cxn modelId="{0CE3912D-E143-4C5C-92A4-1B611BD14E07}" type="presOf" srcId="{41CB0779-529F-421B-B8CB-75D637E999FA}" destId="{50387D3F-7B78-4878-B7E8-4C7323CE7DB8}" srcOrd="0" destOrd="0" presId="urn:microsoft.com/office/officeart/2005/8/layout/hierarchy1"/>
    <dgm:cxn modelId="{5C3F85D0-A3AC-4673-944D-2A03B4B4DF1D}" srcId="{54C842C2-2A16-409C-971E-FFB1228A6F67}" destId="{E3D4CDDD-224E-4A10-8E2D-F98E6580618A}" srcOrd="1" destOrd="0" parTransId="{0D137A0C-564F-4BAE-8C2C-EE165238248F}" sibTransId="{DA0A74E2-B6AB-47B7-B711-5E3F75BB8F0E}"/>
    <dgm:cxn modelId="{A75E240E-D747-4876-AE3D-39C279CB1334}" type="presOf" srcId="{999DD82D-5A7E-400A-9A2F-63E0A6F12C1D}" destId="{5F03913E-971F-4721-BF47-F579531916C5}" srcOrd="0" destOrd="0" presId="urn:microsoft.com/office/officeart/2005/8/layout/hierarchy1"/>
    <dgm:cxn modelId="{2829E2AA-5907-4491-B5DA-3A9447755C9B}" type="presOf" srcId="{54C842C2-2A16-409C-971E-FFB1228A6F67}" destId="{97AEA6A1-73A8-40EC-9B7E-2F8D2F7DF59D}" srcOrd="0" destOrd="0" presId="urn:microsoft.com/office/officeart/2005/8/layout/hierarchy1"/>
    <dgm:cxn modelId="{76681D18-D56F-431D-97CA-C2F7F6395B8D}" type="presOf" srcId="{E4111A53-C707-46E3-B940-A4C8D57C278D}" destId="{1C306DCD-D752-4919-AF43-E12B260790F5}" srcOrd="0" destOrd="0" presId="urn:microsoft.com/office/officeart/2005/8/layout/hierarchy1"/>
    <dgm:cxn modelId="{CD334D31-73B6-4B03-9616-862FE5F90470}" srcId="{54C842C2-2A16-409C-971E-FFB1228A6F67}" destId="{95D444AE-8106-4819-9EB1-F315E6225729}" srcOrd="2" destOrd="0" parTransId="{B7C8EAB7-50C2-4367-B626-12EB8861351B}" sibTransId="{D5FC158B-D58C-4E75-9445-9311B656F7EE}"/>
    <dgm:cxn modelId="{D151A4E4-77E6-44F5-A1DF-01B847248373}" srcId="{52FE27B4-A39E-43CD-BBB1-9199354D3E38}" destId="{54C842C2-2A16-409C-971E-FFB1228A6F67}" srcOrd="0" destOrd="0" parTransId="{41CB0779-529F-421B-B8CB-75D637E999FA}" sibTransId="{3DB8F1FC-9906-4D21-9092-F8469EECA1FC}"/>
    <dgm:cxn modelId="{CFF18C4F-0C5E-478F-AAA2-38264C1918E6}" type="presOf" srcId="{50D56623-ADBF-4D06-B5AD-34D27ADC8839}" destId="{86180551-CC9F-493A-80BE-94708EF73466}" srcOrd="0" destOrd="0" presId="urn:microsoft.com/office/officeart/2005/8/layout/hierarchy1"/>
    <dgm:cxn modelId="{4AC9CD92-209B-44CF-8247-5452C879D21C}" srcId="{54C842C2-2A16-409C-971E-FFB1228A6F67}" destId="{8525CE2E-9196-46FD-8B4C-CE1C4F0EB5EE}" srcOrd="0" destOrd="0" parTransId="{E4111A53-C707-46E3-B940-A4C8D57C278D}" sibTransId="{4A327C42-8DFA-4549-936A-4FB9E83ABCFC}"/>
    <dgm:cxn modelId="{434D40C9-E388-475F-8F1B-594E2FF9A851}" type="presOf" srcId="{E3D4CDDD-224E-4A10-8E2D-F98E6580618A}" destId="{F09D844E-C0D9-46A6-845D-F3361305BBE5}" srcOrd="0" destOrd="0" presId="urn:microsoft.com/office/officeart/2005/8/layout/hierarchy1"/>
    <dgm:cxn modelId="{B6E10ED8-9EEC-4ACB-BAF9-A2F6F416AE13}" type="presParOf" srcId="{7855302A-0149-4E53-8CF4-78E36A87005F}" destId="{0D52EEE5-6562-45BC-9AB5-A2B85BD8DACC}" srcOrd="0" destOrd="0" presId="urn:microsoft.com/office/officeart/2005/8/layout/hierarchy1"/>
    <dgm:cxn modelId="{938FE6C3-7F7B-47DB-B4DA-8E3D76E2B57C}" type="presParOf" srcId="{0D52EEE5-6562-45BC-9AB5-A2B85BD8DACC}" destId="{A8AC907C-DC7A-4A59-B880-47425FC79891}" srcOrd="0" destOrd="0" presId="urn:microsoft.com/office/officeart/2005/8/layout/hierarchy1"/>
    <dgm:cxn modelId="{14D7FF80-5286-467A-B169-DB5D52132161}" type="presParOf" srcId="{A8AC907C-DC7A-4A59-B880-47425FC79891}" destId="{1FDB5674-937A-4D89-9F6A-681CFAFB2049}" srcOrd="0" destOrd="0" presId="urn:microsoft.com/office/officeart/2005/8/layout/hierarchy1"/>
    <dgm:cxn modelId="{021821B3-4A82-407A-A13B-C760A9B1EDA5}" type="presParOf" srcId="{A8AC907C-DC7A-4A59-B880-47425FC79891}" destId="{1F45C21E-DBC5-4CE4-AEE6-6381CB39A70E}" srcOrd="1" destOrd="0" presId="urn:microsoft.com/office/officeart/2005/8/layout/hierarchy1"/>
    <dgm:cxn modelId="{D238C034-A16C-49F6-9019-07F55D694182}" type="presParOf" srcId="{0D52EEE5-6562-45BC-9AB5-A2B85BD8DACC}" destId="{4EFD7721-5266-4732-A50E-4E8F3E419B0E}" srcOrd="1" destOrd="0" presId="urn:microsoft.com/office/officeart/2005/8/layout/hierarchy1"/>
    <dgm:cxn modelId="{21BC95B8-DEAF-4D3D-8DFA-DEEE274A2695}" type="presParOf" srcId="{4EFD7721-5266-4732-A50E-4E8F3E419B0E}" destId="{50387D3F-7B78-4878-B7E8-4C7323CE7DB8}" srcOrd="0" destOrd="0" presId="urn:microsoft.com/office/officeart/2005/8/layout/hierarchy1"/>
    <dgm:cxn modelId="{7DD6CFAD-5B90-4915-91F5-5870D6BF056C}" type="presParOf" srcId="{4EFD7721-5266-4732-A50E-4E8F3E419B0E}" destId="{7CF406BC-251B-420F-B229-0DDD8F1585CA}" srcOrd="1" destOrd="0" presId="urn:microsoft.com/office/officeart/2005/8/layout/hierarchy1"/>
    <dgm:cxn modelId="{B9C44A4C-F34D-4D04-9CBA-5DDEC3F081A7}" type="presParOf" srcId="{7CF406BC-251B-420F-B229-0DDD8F1585CA}" destId="{8B2378C6-A63C-4279-8701-FB119CD207CF}" srcOrd="0" destOrd="0" presId="urn:microsoft.com/office/officeart/2005/8/layout/hierarchy1"/>
    <dgm:cxn modelId="{DD8CC75E-13E8-4473-9D79-9C28FDFB58CB}" type="presParOf" srcId="{8B2378C6-A63C-4279-8701-FB119CD207CF}" destId="{DF6FAC63-8DAA-406C-AB62-EFEB5FE54728}" srcOrd="0" destOrd="0" presId="urn:microsoft.com/office/officeart/2005/8/layout/hierarchy1"/>
    <dgm:cxn modelId="{4B0353CD-73CC-4CD9-BF10-0502C45E274C}" type="presParOf" srcId="{8B2378C6-A63C-4279-8701-FB119CD207CF}" destId="{97AEA6A1-73A8-40EC-9B7E-2F8D2F7DF59D}" srcOrd="1" destOrd="0" presId="urn:microsoft.com/office/officeart/2005/8/layout/hierarchy1"/>
    <dgm:cxn modelId="{4CA54468-A6A7-4D5F-9EAA-57604F63045D}" type="presParOf" srcId="{7CF406BC-251B-420F-B229-0DDD8F1585CA}" destId="{C2B81928-F153-44B7-AFFB-1D865800EFB1}" srcOrd="1" destOrd="0" presId="urn:microsoft.com/office/officeart/2005/8/layout/hierarchy1"/>
    <dgm:cxn modelId="{30F92288-14C2-49E1-8651-EA8687DA61E5}" type="presParOf" srcId="{C2B81928-F153-44B7-AFFB-1D865800EFB1}" destId="{1C306DCD-D752-4919-AF43-E12B260790F5}" srcOrd="0" destOrd="0" presId="urn:microsoft.com/office/officeart/2005/8/layout/hierarchy1"/>
    <dgm:cxn modelId="{FF0F79EC-4B65-4981-A38F-9E24BAF504B4}" type="presParOf" srcId="{C2B81928-F153-44B7-AFFB-1D865800EFB1}" destId="{752D30FD-47E0-474D-9F03-1E3A60BCB4B7}" srcOrd="1" destOrd="0" presId="urn:microsoft.com/office/officeart/2005/8/layout/hierarchy1"/>
    <dgm:cxn modelId="{B2224339-A320-4857-AD64-FC352850AD62}" type="presParOf" srcId="{752D30FD-47E0-474D-9F03-1E3A60BCB4B7}" destId="{596922F5-9774-4EEB-9049-AE245215CC28}" srcOrd="0" destOrd="0" presId="urn:microsoft.com/office/officeart/2005/8/layout/hierarchy1"/>
    <dgm:cxn modelId="{FCCA4B95-E079-4CA9-8AEE-8535F0A75C92}" type="presParOf" srcId="{596922F5-9774-4EEB-9049-AE245215CC28}" destId="{92C2B52D-D20C-4659-BD48-4FD50349A712}" srcOrd="0" destOrd="0" presId="urn:microsoft.com/office/officeart/2005/8/layout/hierarchy1"/>
    <dgm:cxn modelId="{6DDEBC01-51A6-4FC1-90BF-DE4A3A362AC4}" type="presParOf" srcId="{596922F5-9774-4EEB-9049-AE245215CC28}" destId="{5FE24E61-E1BC-40D5-8131-73B1E76177A5}" srcOrd="1" destOrd="0" presId="urn:microsoft.com/office/officeart/2005/8/layout/hierarchy1"/>
    <dgm:cxn modelId="{902E34C9-B443-44B9-9B26-B9E3DA1A3938}" type="presParOf" srcId="{752D30FD-47E0-474D-9F03-1E3A60BCB4B7}" destId="{3D646C7D-4ACF-49FE-ABDB-49BA177F1584}" srcOrd="1" destOrd="0" presId="urn:microsoft.com/office/officeart/2005/8/layout/hierarchy1"/>
    <dgm:cxn modelId="{B02AF81E-16DF-4935-9FB7-1C8B691EA7F4}" type="presParOf" srcId="{C2B81928-F153-44B7-AFFB-1D865800EFB1}" destId="{9954F4D8-01A6-4767-9D06-AC31A6986A1A}" srcOrd="2" destOrd="0" presId="urn:microsoft.com/office/officeart/2005/8/layout/hierarchy1"/>
    <dgm:cxn modelId="{87ECCF09-C356-48E9-9F0B-7ED7741CEC44}" type="presParOf" srcId="{C2B81928-F153-44B7-AFFB-1D865800EFB1}" destId="{448DF2A1-6795-4222-AB0B-F37FFCFEBE81}" srcOrd="3" destOrd="0" presId="urn:microsoft.com/office/officeart/2005/8/layout/hierarchy1"/>
    <dgm:cxn modelId="{2CDDC2CE-CC1E-4A19-BA46-8C04EE8565CF}" type="presParOf" srcId="{448DF2A1-6795-4222-AB0B-F37FFCFEBE81}" destId="{6FD03A69-439F-403D-9A47-7178C92C134D}" srcOrd="0" destOrd="0" presId="urn:microsoft.com/office/officeart/2005/8/layout/hierarchy1"/>
    <dgm:cxn modelId="{6E1FC3D9-25B1-4F7E-ADAE-C97F14A18089}" type="presParOf" srcId="{6FD03A69-439F-403D-9A47-7178C92C134D}" destId="{C011A2FE-3038-413E-8093-4E78A545FF6D}" srcOrd="0" destOrd="0" presId="urn:microsoft.com/office/officeart/2005/8/layout/hierarchy1"/>
    <dgm:cxn modelId="{769031BA-3C1D-47DB-87B2-1DE8D6157B9C}" type="presParOf" srcId="{6FD03A69-439F-403D-9A47-7178C92C134D}" destId="{F09D844E-C0D9-46A6-845D-F3361305BBE5}" srcOrd="1" destOrd="0" presId="urn:microsoft.com/office/officeart/2005/8/layout/hierarchy1"/>
    <dgm:cxn modelId="{60B942FC-EAAD-4EFD-B1EA-BF60594DEC57}" type="presParOf" srcId="{448DF2A1-6795-4222-AB0B-F37FFCFEBE81}" destId="{038AEC2D-355A-4725-8770-08F3D2AA4C70}" srcOrd="1" destOrd="0" presId="urn:microsoft.com/office/officeart/2005/8/layout/hierarchy1"/>
    <dgm:cxn modelId="{00041900-4002-4F88-A51B-93A8B9347AF1}" type="presParOf" srcId="{C2B81928-F153-44B7-AFFB-1D865800EFB1}" destId="{938FECE6-D301-4277-BFAA-723B92C45871}" srcOrd="4" destOrd="0" presId="urn:microsoft.com/office/officeart/2005/8/layout/hierarchy1"/>
    <dgm:cxn modelId="{5E09988F-FA3C-4970-9AB9-EA4A1A6D5CF5}" type="presParOf" srcId="{C2B81928-F153-44B7-AFFB-1D865800EFB1}" destId="{A568D2DC-EF6B-4914-9B12-1C9EBE0338FC}" srcOrd="5" destOrd="0" presId="urn:microsoft.com/office/officeart/2005/8/layout/hierarchy1"/>
    <dgm:cxn modelId="{9F83F0F9-0FF6-4EF7-8074-BB6157F0737F}" type="presParOf" srcId="{A568D2DC-EF6B-4914-9B12-1C9EBE0338FC}" destId="{6EBE0DEA-AEBA-4870-B215-ECEF6BAF4F32}" srcOrd="0" destOrd="0" presId="urn:microsoft.com/office/officeart/2005/8/layout/hierarchy1"/>
    <dgm:cxn modelId="{88AFA347-FFB3-4F5A-94A2-CB3BAB463013}" type="presParOf" srcId="{6EBE0DEA-AEBA-4870-B215-ECEF6BAF4F32}" destId="{3500AA21-951E-4E84-8CB8-498624E3E080}" srcOrd="0" destOrd="0" presId="urn:microsoft.com/office/officeart/2005/8/layout/hierarchy1"/>
    <dgm:cxn modelId="{83EC8518-899A-4305-AB65-49F2906D657C}" type="presParOf" srcId="{6EBE0DEA-AEBA-4870-B215-ECEF6BAF4F32}" destId="{A60FC7D1-B910-45E5-8BE7-84ECC72F9333}" srcOrd="1" destOrd="0" presId="urn:microsoft.com/office/officeart/2005/8/layout/hierarchy1"/>
    <dgm:cxn modelId="{44BC6352-3735-4605-B1E5-8B4870920A87}" type="presParOf" srcId="{A568D2DC-EF6B-4914-9B12-1C9EBE0338FC}" destId="{6BACDE4C-3865-4F35-A749-278F36285F52}" srcOrd="1" destOrd="0" presId="urn:microsoft.com/office/officeart/2005/8/layout/hierarchy1"/>
    <dgm:cxn modelId="{F1B1ACD0-F334-4979-ABD8-74D8CEB5D1BF}" type="presParOf" srcId="{4EFD7721-5266-4732-A50E-4E8F3E419B0E}" destId="{F712B540-99D4-49CA-8E0A-5FCBFD4D4DCF}" srcOrd="2" destOrd="0" presId="urn:microsoft.com/office/officeart/2005/8/layout/hierarchy1"/>
    <dgm:cxn modelId="{901B795D-687F-4EEF-BB66-986486F72843}" type="presParOf" srcId="{4EFD7721-5266-4732-A50E-4E8F3E419B0E}" destId="{848D3061-002A-4785-A312-D8B9BF310051}" srcOrd="3" destOrd="0" presId="urn:microsoft.com/office/officeart/2005/8/layout/hierarchy1"/>
    <dgm:cxn modelId="{574E0294-9B9E-477C-B7FC-3FAEA7EDD29A}" type="presParOf" srcId="{848D3061-002A-4785-A312-D8B9BF310051}" destId="{5ACD8C7D-5A28-40D2-91A9-2A425633410E}" srcOrd="0" destOrd="0" presId="urn:microsoft.com/office/officeart/2005/8/layout/hierarchy1"/>
    <dgm:cxn modelId="{EFCDFFA8-F92A-48EF-A5DE-E33B3AA4F0EF}" type="presParOf" srcId="{5ACD8C7D-5A28-40D2-91A9-2A425633410E}" destId="{1D72B002-2F8F-46C9-B464-5E0EFD2D43B1}" srcOrd="0" destOrd="0" presId="urn:microsoft.com/office/officeart/2005/8/layout/hierarchy1"/>
    <dgm:cxn modelId="{F631141C-7F1E-479E-96B4-F075B14A0842}" type="presParOf" srcId="{5ACD8C7D-5A28-40D2-91A9-2A425633410E}" destId="{ACD960B9-A71B-4483-94CB-83010AD42012}" srcOrd="1" destOrd="0" presId="urn:microsoft.com/office/officeart/2005/8/layout/hierarchy1"/>
    <dgm:cxn modelId="{BDC016F9-8604-4D4E-B344-4FCCBCF23535}" type="presParOf" srcId="{848D3061-002A-4785-A312-D8B9BF310051}" destId="{3B5F67F9-7E85-48A1-98A3-2A46168EFA6B}" srcOrd="1" destOrd="0" presId="urn:microsoft.com/office/officeart/2005/8/layout/hierarchy1"/>
    <dgm:cxn modelId="{5150CC04-62FA-4E0A-92FE-2431DCB6D7F7}" type="presParOf" srcId="{3B5F67F9-7E85-48A1-98A3-2A46168EFA6B}" destId="{098D8DD3-458E-431C-9F3A-4373B4ED2865}" srcOrd="0" destOrd="0" presId="urn:microsoft.com/office/officeart/2005/8/layout/hierarchy1"/>
    <dgm:cxn modelId="{31374454-99AA-4914-8190-5B09CA31B0E8}" type="presParOf" srcId="{3B5F67F9-7E85-48A1-98A3-2A46168EFA6B}" destId="{F8152DD1-929A-4F4A-B1BC-D4F353069277}" srcOrd="1" destOrd="0" presId="urn:microsoft.com/office/officeart/2005/8/layout/hierarchy1"/>
    <dgm:cxn modelId="{809EE164-146A-4018-B9E1-A040F09E665E}" type="presParOf" srcId="{F8152DD1-929A-4F4A-B1BC-D4F353069277}" destId="{67881C74-C84C-417B-A399-C625A4F7425C}" srcOrd="0" destOrd="0" presId="urn:microsoft.com/office/officeart/2005/8/layout/hierarchy1"/>
    <dgm:cxn modelId="{23E0F85E-7E91-4B29-B924-845D07965046}" type="presParOf" srcId="{67881C74-C84C-417B-A399-C625A4F7425C}" destId="{0A4401CA-196F-4D74-8E4E-EBD44AD9D345}" srcOrd="0" destOrd="0" presId="urn:microsoft.com/office/officeart/2005/8/layout/hierarchy1"/>
    <dgm:cxn modelId="{B1A9EEDF-0B45-4D45-939B-DA1BAEFF579F}" type="presParOf" srcId="{67881C74-C84C-417B-A399-C625A4F7425C}" destId="{02C549D1-24D6-4D43-96DE-F326FED9717D}" srcOrd="1" destOrd="0" presId="urn:microsoft.com/office/officeart/2005/8/layout/hierarchy1"/>
    <dgm:cxn modelId="{01E6B462-BA8C-4C21-A0C2-E289B2017EE5}" type="presParOf" srcId="{F8152DD1-929A-4F4A-B1BC-D4F353069277}" destId="{98370EA0-1ED6-4D98-9623-17C0025B4B78}" srcOrd="1" destOrd="0" presId="urn:microsoft.com/office/officeart/2005/8/layout/hierarchy1"/>
    <dgm:cxn modelId="{A237110C-0A60-4FD8-AEEA-E9AEE8836F0D}" type="presParOf" srcId="{3B5F67F9-7E85-48A1-98A3-2A46168EFA6B}" destId="{5F03913E-971F-4721-BF47-F579531916C5}" srcOrd="2" destOrd="0" presId="urn:microsoft.com/office/officeart/2005/8/layout/hierarchy1"/>
    <dgm:cxn modelId="{051B8D61-AC5C-4205-B310-5CDE08FE4144}" type="presParOf" srcId="{3B5F67F9-7E85-48A1-98A3-2A46168EFA6B}" destId="{6DC604DB-665B-4347-9012-8AF53E0DEC7F}" srcOrd="3" destOrd="0" presId="urn:microsoft.com/office/officeart/2005/8/layout/hierarchy1"/>
    <dgm:cxn modelId="{956E4B72-2512-4863-860A-50328D9BB840}" type="presParOf" srcId="{6DC604DB-665B-4347-9012-8AF53E0DEC7F}" destId="{98488923-C5BE-47A0-8DBF-572F06C603A9}" srcOrd="0" destOrd="0" presId="urn:microsoft.com/office/officeart/2005/8/layout/hierarchy1"/>
    <dgm:cxn modelId="{E8073E09-FB91-4849-92B0-88F23F81F08F}" type="presParOf" srcId="{98488923-C5BE-47A0-8DBF-572F06C603A9}" destId="{8EF02096-EEA5-4C6B-A72B-8981E2D9013D}" srcOrd="0" destOrd="0" presId="urn:microsoft.com/office/officeart/2005/8/layout/hierarchy1"/>
    <dgm:cxn modelId="{28DF3A65-993C-4C67-8A68-F3063B77B095}" type="presParOf" srcId="{98488923-C5BE-47A0-8DBF-572F06C603A9}" destId="{86180551-CC9F-493A-80BE-94708EF73466}" srcOrd="1" destOrd="0" presId="urn:microsoft.com/office/officeart/2005/8/layout/hierarchy1"/>
    <dgm:cxn modelId="{2AA0CA44-51EA-4F03-B1EC-53FA7B305403}" type="presParOf" srcId="{6DC604DB-665B-4347-9012-8AF53E0DEC7F}" destId="{16E07116-8DB8-425B-8402-95000EA3BB2A}" srcOrd="1" destOrd="0" presId="urn:microsoft.com/office/officeart/2005/8/layout/hierarchy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F03913E-971F-4721-BF47-F579531916C5}">
      <dsp:nvSpPr>
        <dsp:cNvPr id="0" name=""/>
        <dsp:cNvSpPr/>
      </dsp:nvSpPr>
      <dsp:spPr>
        <a:xfrm>
          <a:off x="5621457" y="2039919"/>
          <a:ext cx="745069" cy="445533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332665"/>
              </a:lnTo>
              <a:lnTo>
                <a:pt x="745069" y="332665"/>
              </a:lnTo>
              <a:lnTo>
                <a:pt x="745069" y="445533"/>
              </a:lnTo>
            </a:path>
          </a:pathLst>
        </a:custGeom>
        <a:noFill/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098D8DD3-458E-431C-9F3A-4373B4ED2865}">
      <dsp:nvSpPr>
        <dsp:cNvPr id="0" name=""/>
        <dsp:cNvSpPr/>
      </dsp:nvSpPr>
      <dsp:spPr>
        <a:xfrm>
          <a:off x="4740918" y="2039919"/>
          <a:ext cx="880539" cy="445533"/>
        </a:xfrm>
        <a:custGeom>
          <a:avLst/>
          <a:gdLst/>
          <a:ahLst/>
          <a:cxnLst/>
          <a:rect l="0" t="0" r="0" b="0"/>
          <a:pathLst>
            <a:path>
              <a:moveTo>
                <a:pt x="880539" y="0"/>
              </a:moveTo>
              <a:lnTo>
                <a:pt x="880539" y="332665"/>
              </a:lnTo>
              <a:lnTo>
                <a:pt x="0" y="332665"/>
              </a:lnTo>
              <a:lnTo>
                <a:pt x="0" y="445533"/>
              </a:lnTo>
            </a:path>
          </a:pathLst>
        </a:custGeom>
        <a:noFill/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F712B540-99D4-49CA-8E0A-5FCBFD4D4DCF}">
      <dsp:nvSpPr>
        <dsp:cNvPr id="0" name=""/>
        <dsp:cNvSpPr/>
      </dsp:nvSpPr>
      <dsp:spPr>
        <a:xfrm>
          <a:off x="3792655" y="888450"/>
          <a:ext cx="1828802" cy="37780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64938"/>
              </a:lnTo>
              <a:lnTo>
                <a:pt x="1828802" y="264938"/>
              </a:lnTo>
              <a:lnTo>
                <a:pt x="1828802" y="377806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938FECE6-D301-4277-BFAA-723B92C45871}">
      <dsp:nvSpPr>
        <dsp:cNvPr id="0" name=""/>
        <dsp:cNvSpPr/>
      </dsp:nvSpPr>
      <dsp:spPr>
        <a:xfrm>
          <a:off x="1963853" y="2039919"/>
          <a:ext cx="812799" cy="37779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64930"/>
              </a:lnTo>
              <a:lnTo>
                <a:pt x="812799" y="264930"/>
              </a:lnTo>
              <a:lnTo>
                <a:pt x="812799" y="377799"/>
              </a:lnTo>
            </a:path>
          </a:pathLst>
        </a:custGeom>
        <a:noFill/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9954F4D8-01A6-4767-9D06-AC31A6986A1A}">
      <dsp:nvSpPr>
        <dsp:cNvPr id="0" name=""/>
        <dsp:cNvSpPr/>
      </dsp:nvSpPr>
      <dsp:spPr>
        <a:xfrm>
          <a:off x="1918133" y="2039919"/>
          <a:ext cx="91440" cy="1324282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1324282"/>
              </a:lnTo>
            </a:path>
          </a:pathLst>
        </a:custGeom>
        <a:noFill/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1C306DCD-D752-4919-AF43-E12B260790F5}">
      <dsp:nvSpPr>
        <dsp:cNvPr id="0" name=""/>
        <dsp:cNvSpPr/>
      </dsp:nvSpPr>
      <dsp:spPr>
        <a:xfrm>
          <a:off x="812385" y="2039919"/>
          <a:ext cx="1151468" cy="377799"/>
        </a:xfrm>
        <a:custGeom>
          <a:avLst/>
          <a:gdLst/>
          <a:ahLst/>
          <a:cxnLst/>
          <a:rect l="0" t="0" r="0" b="0"/>
          <a:pathLst>
            <a:path>
              <a:moveTo>
                <a:pt x="1151468" y="0"/>
              </a:moveTo>
              <a:lnTo>
                <a:pt x="1151468" y="264930"/>
              </a:lnTo>
              <a:lnTo>
                <a:pt x="0" y="264930"/>
              </a:lnTo>
              <a:lnTo>
                <a:pt x="0" y="377799"/>
              </a:lnTo>
            </a:path>
          </a:pathLst>
        </a:custGeom>
        <a:noFill/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50387D3F-7B78-4878-B7E8-4C7323CE7DB8}">
      <dsp:nvSpPr>
        <dsp:cNvPr id="0" name=""/>
        <dsp:cNvSpPr/>
      </dsp:nvSpPr>
      <dsp:spPr>
        <a:xfrm>
          <a:off x="1963853" y="888450"/>
          <a:ext cx="1828802" cy="377806"/>
        </a:xfrm>
        <a:custGeom>
          <a:avLst/>
          <a:gdLst/>
          <a:ahLst/>
          <a:cxnLst/>
          <a:rect l="0" t="0" r="0" b="0"/>
          <a:pathLst>
            <a:path>
              <a:moveTo>
                <a:pt x="1828802" y="0"/>
              </a:moveTo>
              <a:lnTo>
                <a:pt x="1828802" y="264938"/>
              </a:lnTo>
              <a:lnTo>
                <a:pt x="0" y="264938"/>
              </a:lnTo>
              <a:lnTo>
                <a:pt x="0" y="377806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1FDB5674-937A-4D89-9F6A-681CFAFB2049}">
      <dsp:nvSpPr>
        <dsp:cNvPr id="0" name=""/>
        <dsp:cNvSpPr/>
      </dsp:nvSpPr>
      <dsp:spPr>
        <a:xfrm>
          <a:off x="3183472" y="114787"/>
          <a:ext cx="1218366" cy="773662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1F45C21E-DBC5-4CE4-AEE6-6381CB39A70E}">
      <dsp:nvSpPr>
        <dsp:cNvPr id="0" name=""/>
        <dsp:cNvSpPr/>
      </dsp:nvSpPr>
      <dsp:spPr>
        <a:xfrm>
          <a:off x="3318846" y="243392"/>
          <a:ext cx="1218366" cy="773662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kern="1200" dirty="0" smtClean="0"/>
            <a:t>Data Irregularities</a:t>
          </a:r>
          <a:endParaRPr lang="en-US" sz="1600" kern="1200" dirty="0"/>
        </a:p>
      </dsp:txBody>
      <dsp:txXfrm>
        <a:off x="3341506" y="266052"/>
        <a:ext cx="1173046" cy="728342"/>
      </dsp:txXfrm>
    </dsp:sp>
    <dsp:sp modelId="{DF6FAC63-8DAA-406C-AB62-EFEB5FE54728}">
      <dsp:nvSpPr>
        <dsp:cNvPr id="0" name=""/>
        <dsp:cNvSpPr/>
      </dsp:nvSpPr>
      <dsp:spPr>
        <a:xfrm>
          <a:off x="1354670" y="1266257"/>
          <a:ext cx="1218366" cy="773662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97AEA6A1-73A8-40EC-9B7E-2F8D2F7DF59D}">
      <dsp:nvSpPr>
        <dsp:cNvPr id="0" name=""/>
        <dsp:cNvSpPr/>
      </dsp:nvSpPr>
      <dsp:spPr>
        <a:xfrm>
          <a:off x="1490044" y="1394862"/>
          <a:ext cx="1218366" cy="773662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kern="1200" dirty="0" smtClean="0"/>
            <a:t>Distribution based</a:t>
          </a:r>
          <a:endParaRPr lang="en-US" sz="1600" kern="1200" dirty="0"/>
        </a:p>
      </dsp:txBody>
      <dsp:txXfrm>
        <a:off x="1512704" y="1417522"/>
        <a:ext cx="1173046" cy="728342"/>
      </dsp:txXfrm>
    </dsp:sp>
    <dsp:sp modelId="{92C2B52D-D20C-4659-BD48-4FD50349A712}">
      <dsp:nvSpPr>
        <dsp:cNvPr id="0" name=""/>
        <dsp:cNvSpPr/>
      </dsp:nvSpPr>
      <dsp:spPr>
        <a:xfrm>
          <a:off x="203201" y="2417718"/>
          <a:ext cx="1218366" cy="773662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5FE24E61-E1BC-40D5-8131-73B1E76177A5}">
      <dsp:nvSpPr>
        <dsp:cNvPr id="0" name=""/>
        <dsp:cNvSpPr/>
      </dsp:nvSpPr>
      <dsp:spPr>
        <a:xfrm>
          <a:off x="338575" y="2546324"/>
          <a:ext cx="1218366" cy="773662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kern="1200" dirty="0" smtClean="0"/>
            <a:t>Class Imbalance</a:t>
          </a:r>
          <a:endParaRPr lang="en-US" sz="1600" kern="1200" dirty="0"/>
        </a:p>
      </dsp:txBody>
      <dsp:txXfrm>
        <a:off x="361235" y="2568984"/>
        <a:ext cx="1173046" cy="728342"/>
      </dsp:txXfrm>
    </dsp:sp>
    <dsp:sp modelId="{C011A2FE-3038-413E-8093-4E78A545FF6D}">
      <dsp:nvSpPr>
        <dsp:cNvPr id="0" name=""/>
        <dsp:cNvSpPr/>
      </dsp:nvSpPr>
      <dsp:spPr>
        <a:xfrm>
          <a:off x="1354670" y="3364202"/>
          <a:ext cx="1218366" cy="773662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F09D844E-C0D9-46A6-845D-F3361305BBE5}">
      <dsp:nvSpPr>
        <dsp:cNvPr id="0" name=""/>
        <dsp:cNvSpPr/>
      </dsp:nvSpPr>
      <dsp:spPr>
        <a:xfrm>
          <a:off x="1490044" y="3492807"/>
          <a:ext cx="1218366" cy="773662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kern="1200" dirty="0" smtClean="0"/>
            <a:t>Class Skew</a:t>
          </a:r>
          <a:endParaRPr lang="en-US" sz="1600" kern="1200" dirty="0"/>
        </a:p>
      </dsp:txBody>
      <dsp:txXfrm>
        <a:off x="1512704" y="3515467"/>
        <a:ext cx="1173046" cy="728342"/>
      </dsp:txXfrm>
    </dsp:sp>
    <dsp:sp modelId="{3500AA21-951E-4E84-8CB8-498624E3E080}">
      <dsp:nvSpPr>
        <dsp:cNvPr id="0" name=""/>
        <dsp:cNvSpPr/>
      </dsp:nvSpPr>
      <dsp:spPr>
        <a:xfrm>
          <a:off x="2167470" y="2417718"/>
          <a:ext cx="1218366" cy="773662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A60FC7D1-B910-45E5-8BE7-84ECC72F9333}">
      <dsp:nvSpPr>
        <dsp:cNvPr id="0" name=""/>
        <dsp:cNvSpPr/>
      </dsp:nvSpPr>
      <dsp:spPr>
        <a:xfrm>
          <a:off x="2302844" y="2546324"/>
          <a:ext cx="1218366" cy="773662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kern="1200" dirty="0" smtClean="0"/>
            <a:t>Small </a:t>
          </a:r>
          <a:r>
            <a:rPr lang="en-US" sz="1600" kern="1200" dirty="0" err="1" smtClean="0"/>
            <a:t>Disjuncts</a:t>
          </a:r>
          <a:endParaRPr lang="en-US" sz="1600" kern="1200" dirty="0"/>
        </a:p>
      </dsp:txBody>
      <dsp:txXfrm>
        <a:off x="2325504" y="2568984"/>
        <a:ext cx="1173046" cy="728342"/>
      </dsp:txXfrm>
    </dsp:sp>
    <dsp:sp modelId="{1D72B002-2F8F-46C9-B464-5E0EFD2D43B1}">
      <dsp:nvSpPr>
        <dsp:cNvPr id="0" name=""/>
        <dsp:cNvSpPr/>
      </dsp:nvSpPr>
      <dsp:spPr>
        <a:xfrm>
          <a:off x="5012274" y="1266257"/>
          <a:ext cx="1218366" cy="773662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ACD960B9-A71B-4483-94CB-83010AD42012}">
      <dsp:nvSpPr>
        <dsp:cNvPr id="0" name=""/>
        <dsp:cNvSpPr/>
      </dsp:nvSpPr>
      <dsp:spPr>
        <a:xfrm>
          <a:off x="5147648" y="1394862"/>
          <a:ext cx="1218366" cy="773662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kern="1200" dirty="0" smtClean="0"/>
            <a:t>Feature based</a:t>
          </a:r>
          <a:endParaRPr lang="en-US" sz="1600" kern="1200" dirty="0"/>
        </a:p>
      </dsp:txBody>
      <dsp:txXfrm>
        <a:off x="5170308" y="1417522"/>
        <a:ext cx="1173046" cy="728342"/>
      </dsp:txXfrm>
    </dsp:sp>
    <dsp:sp modelId="{0A4401CA-196F-4D74-8E4E-EBD44AD9D345}">
      <dsp:nvSpPr>
        <dsp:cNvPr id="0" name=""/>
        <dsp:cNvSpPr/>
      </dsp:nvSpPr>
      <dsp:spPr>
        <a:xfrm>
          <a:off x="4131735" y="2485453"/>
          <a:ext cx="1218366" cy="773662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02C549D1-24D6-4D43-96DE-F326FED9717D}">
      <dsp:nvSpPr>
        <dsp:cNvPr id="0" name=""/>
        <dsp:cNvSpPr/>
      </dsp:nvSpPr>
      <dsp:spPr>
        <a:xfrm>
          <a:off x="4267109" y="2614058"/>
          <a:ext cx="1218366" cy="773662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kern="1200" dirty="0" smtClean="0"/>
            <a:t>Missing Features</a:t>
          </a:r>
          <a:endParaRPr lang="en-US" sz="1600" kern="1200" dirty="0"/>
        </a:p>
      </dsp:txBody>
      <dsp:txXfrm>
        <a:off x="4289769" y="2636718"/>
        <a:ext cx="1173046" cy="728342"/>
      </dsp:txXfrm>
    </dsp:sp>
    <dsp:sp modelId="{8EF02096-EEA5-4C6B-A72B-8981E2D9013D}">
      <dsp:nvSpPr>
        <dsp:cNvPr id="0" name=""/>
        <dsp:cNvSpPr/>
      </dsp:nvSpPr>
      <dsp:spPr>
        <a:xfrm>
          <a:off x="5757343" y="2485453"/>
          <a:ext cx="1218366" cy="773662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86180551-CC9F-493A-80BE-94708EF73466}">
      <dsp:nvSpPr>
        <dsp:cNvPr id="0" name=""/>
        <dsp:cNvSpPr/>
      </dsp:nvSpPr>
      <dsp:spPr>
        <a:xfrm>
          <a:off x="5892717" y="2614058"/>
          <a:ext cx="1218366" cy="773662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kern="1200" dirty="0" smtClean="0"/>
            <a:t>Absent Features</a:t>
          </a:r>
          <a:endParaRPr lang="en-US" sz="1600" kern="1200" dirty="0"/>
        </a:p>
      </dsp:txBody>
      <dsp:txXfrm>
        <a:off x="5915377" y="2636718"/>
        <a:ext cx="1173046" cy="728342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ierarchy1">
  <dgm:title val=""/>
  <dgm:desc val=""/>
  <dgm:catLst>
    <dgm:cat type="hierarchy" pri="2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" destId="22" srcOrd="1" destOrd="0"/>
        <dgm:cxn modelId="33" srcId="3" destId="3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3" srcId="1" destId="11" srcOrd="0" destOrd="0"/>
        <dgm:cxn modelId="14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21"/>
        <dgm:pt modelId="211"/>
        <dgm:pt modelId="3"/>
        <dgm:pt modelId="31"/>
        <dgm:pt modelId="311"/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1" destId="211" srcOrd="0" destOrd="0"/>
        <dgm:cxn modelId="33" srcId="3" destId="31" srcOrd="0" destOrd="0"/>
        <dgm:cxn modelId="34" srcId="31" destId="311" srcOrd="0" destOrd="0"/>
      </dgm:cxnLst>
      <dgm:bg/>
      <dgm:whole/>
    </dgm:dataModel>
  </dgm:clrData>
  <dgm:layoutNode name="hierChild1">
    <dgm:varLst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primFontSz" for="des" ptType="node" op="equ" val="65"/>
      <dgm:constr type="w" for="des" forName="composite" refType="w"/>
      <dgm:constr type="h" for="des" forName="composite" refType="w" refFor="des" refForName="composite" fact="0.667"/>
      <dgm:constr type="w" for="des" forName="composite2" refType="w" refFor="des" refForName="composite"/>
      <dgm:constr type="h" for="des" forName="composite2" refType="h" refFor="des" refForName="composite"/>
      <dgm:constr type="w" for="des" forName="composite3" refType="w" refFor="des" refForName="composite"/>
      <dgm:constr type="h" for="des" forName="composite3" refType="h" refFor="des" refForName="composite"/>
      <dgm:constr type="w" for="des" forName="composite4" refType="w" refFor="des" refForName="composite"/>
      <dgm:constr type="h" for="des" forName="composite4" refType="h" refFor="des" refForName="composite"/>
      <dgm:constr type="w" for="des" forName="composite5" refType="w" refFor="des" refForName="composite"/>
      <dgm:constr type="h" for="des" forName="composite5" refType="h" refFor="des" refForName="composite"/>
      <dgm:constr type="sibSp" refType="w" refFor="des" refForName="composite" fact="0.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p" for="des" forName="hierRoot1" refType="h" refFor="des" refForName="composite" fact="0.25"/>
      <dgm:constr type="sp" for="des" forName="hierRoot2" refType="sp" refFor="des" refForName="hierRoot1"/>
      <dgm:constr type="sp" for="des" forName="hierRoot3" refType="sp" refFor="des" refForName="hierRoot1"/>
      <dgm:constr type="sp" for="des" forName="hierRoot4" refType="sp" refFor="des" refForName="hierRoot1"/>
      <dgm:constr type="sp" for="des" forName="hierRoot5" refType="sp" refFor="des" refForName="hierRoot1"/>
    </dgm:constrLst>
    <dgm:ruleLst/>
    <dgm:forEach name="Name3" axis="ch">
      <dgm:forEach name="Name4" axis="self" ptType="node">
        <dgm:layoutNode name="hierRoot1">
          <dgm:alg type="hierRoot"/>
          <dgm:shape xmlns:r="http://schemas.openxmlformats.org/officeDocument/2006/relationships" r:blip="">
            <dgm:adjLst/>
          </dgm:shape>
          <dgm:presOf/>
          <dgm:constrLst>
            <dgm:constr type="bendDist" for="des" ptType="parTrans" refType="sp" fact="0.5"/>
          </dgm:constrLst>
          <dgm:ruleLst/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onstrLst>
              <dgm:constr type="w" for="ch" forName="background" refType="w" fact="0.9"/>
              <dgm:constr type="h" for="ch" forName="background" refType="w" refFor="ch" refForName="background" fact="0.635"/>
              <dgm:constr type="t" for="ch" forName="background"/>
              <dgm:constr type="l" for="ch" forName="background"/>
              <dgm:constr type="w" for="ch" forName="text" refType="w" fact="0.9"/>
              <dgm:constr type="h" for="ch" forName="text" refType="w" refFor="ch" refForName="text" fact="0.635"/>
              <dgm:constr type="t" for="ch" forName="text" refType="w" fact="0.095"/>
              <dgm:constr type="l" for="ch" forName="text" refType="w" fact="0.1"/>
            </dgm:constrLst>
            <dgm:ruleLst/>
            <dgm:layoutNode name="background" styleLbl="node0" moveWith="text"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/>
              <dgm:constrLst/>
              <dgm:ruleLst/>
            </dgm:layoutNode>
            <dgm:layoutNode name="text" styleLbl="fgAcc0">
              <dgm:varLst>
                <dgm:chPref val="3"/>
              </dgm:varLst>
              <dgm:alg type="tx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self"/>
              <dgm:constrLst>
                <dgm:constr type="tMarg" refType="primFontSz" fact="0.3"/>
                <dgm:constr type="bMarg" refType="primFontSz" fact="0.3"/>
                <dgm:constr type="lMarg" refType="primFontSz" fact="0.3"/>
                <dgm:constr type="rMarg" refType="primFontSz" fact="0.3"/>
              </dgm:constrLst>
              <dgm:ruleLst>
                <dgm:rule type="primFontSz" val="5" fact="NaN" max="NaN"/>
              </dgm:ruleLst>
            </dgm:layoutNode>
          </dgm:layoutNode>
          <dgm:layoutNode name="hierChild2">
            <dgm:choose name="Name5">
              <dgm:if name="Name6" func="var" arg="dir" op="equ" val="norm">
                <dgm:alg type="hierChild">
                  <dgm:param type="linDir" val="fromL"/>
                </dgm:alg>
              </dgm:if>
              <dgm:else name="Name7">
                <dgm:alg type="hierChild">
                  <dgm:param type="linDir" val="from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Name8" axis="ch">
              <dgm:forEach name="Name9" axis="self" ptType="parTrans" cnt="1">
                <dgm:layoutNode name="Name10">
                  <dgm:alg type="conn">
                    <dgm:param type="dim" val="1D"/>
                    <dgm:param type="endSty" val="noArr"/>
                    <dgm:param type="connRout" val="bend"/>
                    <dgm:param type="bendPt" val="end"/>
                    <dgm:param type="begPts" val="bCtr"/>
                    <dgm:param type="endPts" val="tCtr"/>
                    <dgm:param type="srcNode" val="background"/>
                    <dgm:param type="dstNode" val="background2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forEach name="Name11" axis="self" ptType="node">
                <dgm:layoutNode name="hierRoot2">
                  <dgm:alg type="hierRoot"/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bendDist" for="des" ptType="parTrans" refType="sp" fact="0.5"/>
                  </dgm:constrLst>
                  <dgm:ruleLst/>
                  <dgm:layoutNode name="composite2">
                    <dgm:alg type="composite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w" for="ch" forName="background2" refType="w" fact="0.9"/>
                      <dgm:constr type="h" for="ch" forName="background2" refType="w" refFor="ch" refForName="background2" fact="0.635"/>
                      <dgm:constr type="t" for="ch" forName="background2"/>
                      <dgm:constr type="l" for="ch" forName="background2"/>
                      <dgm:constr type="w" for="ch" forName="text2" refType="w" fact="0.9"/>
                      <dgm:constr type="h" for="ch" forName="text2" refType="w" refFor="ch" refForName="text2" fact="0.635"/>
                      <dgm:constr type="t" for="ch" forName="text2" refType="w" fact="0.095"/>
                      <dgm:constr type="l" for="ch" forName="text2" refType="w" fact="0.1"/>
                    </dgm:constrLst>
                    <dgm:ruleLst/>
                    <dgm:layoutNode name="background2" moveWith="text2"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/>
                      <dgm:constrLst/>
                      <dgm:ruleLst/>
                    </dgm:layoutNode>
                    <dgm:layoutNode name="text2" styleLbl="fgAcc2">
                      <dgm:varLst>
                        <dgm:chPref val="3"/>
                      </dgm:varLst>
                      <dgm:alg type="tx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self"/>
                      <dgm:constrLst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</dgm:layoutNode>
                  <dgm:layoutNode name="hierChild3">
                    <dgm:choose name="Name12">
                      <dgm:if name="Name13" func="var" arg="dir" op="equ" val="norm">
                        <dgm:alg type="hierChild">
                          <dgm:param type="linDir" val="fromL"/>
                        </dgm:alg>
                      </dgm:if>
                      <dgm:else name="Name14">
                        <dgm:alg type="hierChild">
                          <dgm:param type="linDir" val="from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  <dgm:forEach name="Name15" axis="ch">
                      <dgm:forEach name="Name16" axis="self" ptType="parTrans" cnt="1">
                        <dgm:layoutNode name="Name17">
                          <dgm:alg type="conn">
                            <dgm:param type="dim" val="1D"/>
                            <dgm:param type="endSty" val="noArr"/>
                            <dgm:param type="connRout" val="bend"/>
                            <dgm:param type="bendPt" val="end"/>
                            <dgm:param type="begPts" val="bCtr"/>
                            <dgm:param type="endPts" val="tCtr"/>
                            <dgm:param type="srcNode" val="background2"/>
                            <dgm:param type="dstNode" val="background3"/>
                          </dgm:alg>
                          <dgm:shape xmlns:r="http://schemas.openxmlformats.org/officeDocument/2006/relationships" type="conn" r:blip="" zOrderOff="-999">
                            <dgm:adjLst/>
                          </dgm:shape>
                          <dgm:presOf axis="self"/>
                          <dgm:constrLst>
                            <dgm:constr type="begPad"/>
                            <dgm:constr type="endPad"/>
                          </dgm:constrLst>
                          <dgm:ruleLst/>
                        </dgm:layoutNode>
                      </dgm:forEach>
                      <dgm:forEach name="Name18" axis="self" ptType="node">
                        <dgm:layoutNode name="hierRoot3">
                          <dgm:alg type="hierRoot"/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>
                            <dgm:constr type="bendDist" for="des" ptType="parTrans" refType="sp" fact="0.5"/>
                          </dgm:constrLst>
                          <dgm:ruleLst/>
                          <dgm:layoutNode name="composite3">
                            <dgm:alg type="composite"/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w" for="ch" forName="background3" refType="w" fact="0.9"/>
                              <dgm:constr type="h" for="ch" forName="background3" refType="w" refFor="ch" refForName="background3" fact="0.635"/>
                              <dgm:constr type="t" for="ch" forName="background3"/>
                              <dgm:constr type="l" for="ch" forName="background3"/>
                              <dgm:constr type="w" for="ch" forName="text3" refType="w" fact="0.9"/>
                              <dgm:constr type="h" for="ch" forName="text3" refType="w" refFor="ch" refForName="text3" fact="0.635"/>
                              <dgm:constr type="t" for="ch" forName="text3" refType="w" fact="0.095"/>
                              <dgm:constr type="l" for="ch" forName="text3" refType="w" fact="0.1"/>
                            </dgm:constrLst>
                            <dgm:ruleLst/>
                            <dgm:layoutNode name="background3" moveWith="text3">
                              <dgm:alg type="sp"/>
                              <dgm:shape xmlns:r="http://schemas.openxmlformats.org/officeDocument/2006/relationships" type="roundRect" r:blip="">
                                <dgm:adjLst>
                                  <dgm:adj idx="1" val="0.1"/>
                                </dgm:adjLst>
                              </dgm:shape>
                              <dgm:presOf/>
                              <dgm:constrLst/>
                              <dgm:ruleLst/>
                            </dgm:layoutNode>
                            <dgm:layoutNode name="text3" styleLbl="fgAcc3">
                              <dgm:varLst>
                                <dgm:chPref val="3"/>
                              </dgm:varLst>
                              <dgm:alg type="tx"/>
                              <dgm:shape xmlns:r="http://schemas.openxmlformats.org/officeDocument/2006/relationships" type="roundRect" r:blip="">
                                <dgm:adjLst>
                                  <dgm:adj idx="1" val="0.1"/>
                                </dgm:adjLst>
                              </dgm:shape>
                              <dgm:presOf axis="self"/>
                              <dgm:constrLst>
                                <dgm:constr type="tMarg" refType="primFontSz" fact="0.3"/>
                                <dgm:constr type="bMarg" refType="primFontSz" fact="0.3"/>
                                <dgm:constr type="lMarg" refType="primFontSz" fact="0.3"/>
                                <dgm:constr type="rMarg" refType="primFontSz" fact="0.3"/>
                              </dgm:constrLst>
                              <dgm:ruleLst>
                                <dgm:rule type="primFontSz" val="5" fact="NaN" max="NaN"/>
                              </dgm:ruleLst>
                            </dgm:layoutNode>
                          </dgm:layoutNode>
                          <dgm:layoutNode name="hierChild4">
                            <dgm:choose name="Name19">
                              <dgm:if name="Name20" func="var" arg="dir" op="equ" val="norm">
                                <dgm:alg type="hierChild">
                                  <dgm:param type="linDir" val="fromL"/>
                                </dgm:alg>
                              </dgm:if>
                              <dgm:else name="Name21">
                                <dgm:alg type="hierChild">
                                  <dgm:param type="linDir" val="fromR"/>
                                </dgm:alg>
                              </dgm:else>
                            </dgm:choose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/>
                            <dgm:ruleLst/>
                            <dgm:forEach name="repeat" axis="ch">
                              <dgm:forEach name="Name22" axis="self" ptType="parTrans" cnt="1">
                                <dgm:layoutNode name="Name23">
                                  <dgm:choose name="Name24">
                                    <dgm:if name="Name25" axis="self" func="depth" op="lte" val="4">
                                      <dgm:alg type="conn">
                                        <dgm:param type="dim" val="1D"/>
                                        <dgm:param type="endSty" val="noArr"/>
                                        <dgm:param type="connRout" val="bend"/>
                                        <dgm:param type="bendPt" val="end"/>
                                        <dgm:param type="begPts" val="bCtr"/>
                                        <dgm:param type="endPts" val="tCtr"/>
                                        <dgm:param type="srcNode" val="background3"/>
                                        <dgm:param type="dstNode" val="background4"/>
                                      </dgm:alg>
                                    </dgm:if>
                                    <dgm:else name="Name26">
                                      <dgm:alg type="conn">
                                        <dgm:param type="dim" val="1D"/>
                                        <dgm:param type="endSty" val="noArr"/>
                                        <dgm:param type="connRout" val="bend"/>
                                        <dgm:param type="bendPt" val="end"/>
                                        <dgm:param type="begPts" val="bCtr"/>
                                        <dgm:param type="endPts" val="tCtr"/>
                                        <dgm:param type="srcNode" val="background4"/>
                                        <dgm:param type="dstNode" val="background4"/>
                                      </dgm:alg>
                                    </dgm:else>
                                  </dgm:choose>
                                  <dgm:shape xmlns:r="http://schemas.openxmlformats.org/officeDocument/2006/relationships" type="conn" r:blip="" zOrderOff="-999">
                                    <dgm:adjLst/>
                                  </dgm:shape>
                                  <dgm:presOf axis="self"/>
                                  <dgm:constrLst>
                                    <dgm:constr type="begPad"/>
                                    <dgm:constr type="endPad"/>
                                  </dgm:constrLst>
                                  <dgm:ruleLst/>
                                </dgm:layoutNode>
                              </dgm:forEach>
                              <dgm:forEach name="Name27" axis="self" ptType="node">
                                <dgm:layoutNode name="hierRoot4">
                                  <dgm:alg type="hierRoot"/>
                                  <dgm:shape xmlns:r="http://schemas.openxmlformats.org/officeDocument/2006/relationships" r:blip="">
                                    <dgm:adjLst/>
                                  </dgm:shape>
                                  <dgm:presOf/>
                                  <dgm:constrLst>
                                    <dgm:constr type="bendDist" for="des" ptType="parTrans" refType="sp" fact="0.5"/>
                                  </dgm:constrLst>
                                  <dgm:ruleLst/>
                                  <dgm:layoutNode name="composite4">
                                    <dgm:alg type="composite"/>
                                    <dgm:shape xmlns:r="http://schemas.openxmlformats.org/officeDocument/2006/relationships" r:blip="">
                                      <dgm:adjLst/>
                                    </dgm:shape>
                                    <dgm:presOf/>
                                    <dgm:constrLst>
                                      <dgm:constr type="w" for="ch" forName="background4" refType="w" fact="0.9"/>
                                      <dgm:constr type="h" for="ch" forName="background4" refType="w" refFor="ch" refForName="background4" fact="0.635"/>
                                      <dgm:constr type="t" for="ch" forName="background4"/>
                                      <dgm:constr type="l" for="ch" forName="background4"/>
                                      <dgm:constr type="w" for="ch" forName="text4" refType="w" fact="0.9"/>
                                      <dgm:constr type="h" for="ch" forName="text4" refType="w" refFor="ch" refForName="text4" fact="0.635"/>
                                      <dgm:constr type="t" for="ch" forName="text4" refType="w" fact="0.095"/>
                                      <dgm:constr type="l" for="ch" forName="text4" refType="w" fact="0.1"/>
                                    </dgm:constrLst>
                                    <dgm:ruleLst/>
                                    <dgm:layoutNode name="background4" moveWith="text4">
                                      <dgm:alg type="sp"/>
                                      <dgm:shape xmlns:r="http://schemas.openxmlformats.org/officeDocument/2006/relationships" type="roundRect" r:blip="">
                                        <dgm:adjLst>
                                          <dgm:adj idx="1" val="0.1"/>
                                        </dgm:adjLst>
                                      </dgm:shape>
                                      <dgm:presOf/>
                                      <dgm:constrLst/>
                                      <dgm:ruleLst/>
                                    </dgm:layoutNode>
                                    <dgm:layoutNode name="text4" styleLbl="fgAcc4">
                                      <dgm:varLst>
                                        <dgm:chPref val="3"/>
                                      </dgm:varLst>
                                      <dgm:alg type="tx"/>
                                      <dgm:shape xmlns:r="http://schemas.openxmlformats.org/officeDocument/2006/relationships" type="roundRect" r:blip="">
                                        <dgm:adjLst>
                                          <dgm:adj idx="1" val="0.1"/>
                                        </dgm:adjLst>
                                      </dgm:shape>
                                      <dgm:presOf axis="self"/>
                                      <dgm:constrLst>
                                        <dgm:constr type="tMarg" refType="primFontSz" fact="0.3"/>
                                        <dgm:constr type="bMarg" refType="primFontSz" fact="0.3"/>
                                        <dgm:constr type="lMarg" refType="primFontSz" fact="0.3"/>
                                        <dgm:constr type="rMarg" refType="primFontSz" fact="0.3"/>
                                      </dgm:constrLst>
                                      <dgm:ruleLst>
                                        <dgm:rule type="primFontSz" val="5" fact="NaN" max="NaN"/>
                                      </dgm:ruleLst>
                                    </dgm:layoutNode>
                                  </dgm:layoutNode>
                                  <dgm:layoutNode name="hierChild5">
                                    <dgm:choose name="Name28">
                                      <dgm:if name="Name29" func="var" arg="dir" op="equ" val="norm">
                                        <dgm:alg type="hierChild">
                                          <dgm:param type="linDir" val="fromL"/>
                                        </dgm:alg>
                                      </dgm:if>
                                      <dgm:else name="Name30">
                                        <dgm:alg type="hierChild">
                                          <dgm:param type="linDir" val="fromR"/>
                                        </dgm:alg>
                                      </dgm:else>
                                    </dgm:choose>
                                    <dgm:shape xmlns:r="http://schemas.openxmlformats.org/officeDocument/2006/relationships" r:blip="">
                                      <dgm:adjLst/>
                                    </dgm:shape>
                                    <dgm:presOf/>
                                    <dgm:constrLst/>
                                    <dgm:ruleLst/>
                                    <dgm:forEach name="Name31" ref="repeat"/>
                                  </dgm:layoutNode>
                                </dgm:layoutNode>
                              </dgm:forEach>
                            </dgm:forEach>
                          </dgm:layoutNode>
                        </dgm:layoutNode>
                      </dgm:forEach>
                    </dgm:forEach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0.vml.rels><?xml version="1.0" encoding="UTF-8" standalone="yes"?>
<Relationships xmlns="http://schemas.openxmlformats.org/package/2006/relationships"><Relationship Id="rId3" Type="http://schemas.openxmlformats.org/officeDocument/2006/relationships/image" Target="../media/image93.wmf"/><Relationship Id="rId2" Type="http://schemas.openxmlformats.org/officeDocument/2006/relationships/image" Target="../media/image92.wmf"/><Relationship Id="rId1" Type="http://schemas.openxmlformats.org/officeDocument/2006/relationships/image" Target="../media/image91.wmf"/></Relationships>
</file>

<file path=ppt/drawings/_rels/vmlDrawing11.vml.rels><?xml version="1.0" encoding="UTF-8" standalone="yes"?>
<Relationships xmlns="http://schemas.openxmlformats.org/package/2006/relationships"><Relationship Id="rId3" Type="http://schemas.openxmlformats.org/officeDocument/2006/relationships/image" Target="../media/image93.wmf"/><Relationship Id="rId2" Type="http://schemas.openxmlformats.org/officeDocument/2006/relationships/image" Target="../media/image92.wmf"/><Relationship Id="rId1" Type="http://schemas.openxmlformats.org/officeDocument/2006/relationships/image" Target="../media/image91.w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1.wmf"/></Relationships>
</file>

<file path=ppt/drawings/_rels/vmlDrawing13.vml.rels><?xml version="1.0" encoding="UTF-8" standalone="yes"?>
<Relationships xmlns="http://schemas.openxmlformats.org/package/2006/relationships"><Relationship Id="rId3" Type="http://schemas.openxmlformats.org/officeDocument/2006/relationships/image" Target="../media/image133.wmf"/><Relationship Id="rId2" Type="http://schemas.openxmlformats.org/officeDocument/2006/relationships/image" Target="../media/image92.wmf"/><Relationship Id="rId1" Type="http://schemas.openxmlformats.org/officeDocument/2006/relationships/image" Target="../media/image91.wmf"/></Relationships>
</file>

<file path=ppt/drawings/_rels/vmlDrawing14.vml.rels><?xml version="1.0" encoding="UTF-8" standalone="yes"?>
<Relationships xmlns="http://schemas.openxmlformats.org/package/2006/relationships"><Relationship Id="rId3" Type="http://schemas.openxmlformats.org/officeDocument/2006/relationships/image" Target="../media/image106.wmf"/><Relationship Id="rId2" Type="http://schemas.openxmlformats.org/officeDocument/2006/relationships/image" Target="../media/image92.wmf"/><Relationship Id="rId1" Type="http://schemas.openxmlformats.org/officeDocument/2006/relationships/image" Target="../media/image91.wmf"/></Relationships>
</file>

<file path=ppt/drawings/_rels/vmlDrawing2.vml.rels><?xml version="1.0" encoding="UTF-8" standalone="yes"?>
<Relationships xmlns="http://schemas.openxmlformats.org/package/2006/relationships"><Relationship Id="rId3" Type="http://schemas.openxmlformats.org/officeDocument/2006/relationships/image" Target="../media/image66.wmf"/><Relationship Id="rId7" Type="http://schemas.openxmlformats.org/officeDocument/2006/relationships/image" Target="../media/image70.wmf"/><Relationship Id="rId2" Type="http://schemas.openxmlformats.org/officeDocument/2006/relationships/image" Target="../media/image65.wmf"/><Relationship Id="rId1" Type="http://schemas.openxmlformats.org/officeDocument/2006/relationships/image" Target="../media/image64.wmf"/><Relationship Id="rId6" Type="http://schemas.openxmlformats.org/officeDocument/2006/relationships/image" Target="../media/image69.wmf"/><Relationship Id="rId5" Type="http://schemas.openxmlformats.org/officeDocument/2006/relationships/image" Target="../media/image68.wmf"/><Relationship Id="rId4" Type="http://schemas.openxmlformats.org/officeDocument/2006/relationships/image" Target="../media/image67.wmf"/></Relationships>
</file>

<file path=ppt/drawings/_rels/vmlDrawing3.vml.rels><?xml version="1.0" encoding="UTF-8" standalone="yes"?>
<Relationships xmlns="http://schemas.openxmlformats.org/package/2006/relationships"><Relationship Id="rId3" Type="http://schemas.openxmlformats.org/officeDocument/2006/relationships/image" Target="../media/image67.wmf"/><Relationship Id="rId2" Type="http://schemas.openxmlformats.org/officeDocument/2006/relationships/image" Target="../media/image64.wmf"/><Relationship Id="rId1" Type="http://schemas.openxmlformats.org/officeDocument/2006/relationships/image" Target="../media/image66.wmf"/><Relationship Id="rId5" Type="http://schemas.openxmlformats.org/officeDocument/2006/relationships/image" Target="../media/image70.wmf"/><Relationship Id="rId4" Type="http://schemas.openxmlformats.org/officeDocument/2006/relationships/image" Target="../media/image69.wmf"/></Relationships>
</file>

<file path=ppt/drawings/_rels/vmlDrawing4.vml.rels><?xml version="1.0" encoding="UTF-8" standalone="yes"?>
<Relationships xmlns="http://schemas.openxmlformats.org/package/2006/relationships"><Relationship Id="rId3" Type="http://schemas.openxmlformats.org/officeDocument/2006/relationships/image" Target="../media/image93.wmf"/><Relationship Id="rId2" Type="http://schemas.openxmlformats.org/officeDocument/2006/relationships/image" Target="../media/image92.wmf"/><Relationship Id="rId1" Type="http://schemas.openxmlformats.org/officeDocument/2006/relationships/image" Target="../media/image91.wmf"/></Relationships>
</file>

<file path=ppt/drawings/_rels/vmlDrawing5.vml.rels><?xml version="1.0" encoding="UTF-8" standalone="yes"?>
<Relationships xmlns="http://schemas.openxmlformats.org/package/2006/relationships"><Relationship Id="rId3" Type="http://schemas.openxmlformats.org/officeDocument/2006/relationships/image" Target="../media/image93.wmf"/><Relationship Id="rId2" Type="http://schemas.openxmlformats.org/officeDocument/2006/relationships/image" Target="../media/image92.wmf"/><Relationship Id="rId1" Type="http://schemas.openxmlformats.org/officeDocument/2006/relationships/image" Target="../media/image91.wmf"/></Relationships>
</file>

<file path=ppt/drawings/_rels/vmlDrawing6.vml.rels><?xml version="1.0" encoding="UTF-8" standalone="yes"?>
<Relationships xmlns="http://schemas.openxmlformats.org/package/2006/relationships"><Relationship Id="rId8" Type="http://schemas.openxmlformats.org/officeDocument/2006/relationships/image" Target="../media/image101.wmf"/><Relationship Id="rId3" Type="http://schemas.openxmlformats.org/officeDocument/2006/relationships/image" Target="../media/image96.wmf"/><Relationship Id="rId7" Type="http://schemas.openxmlformats.org/officeDocument/2006/relationships/image" Target="../media/image100.wmf"/><Relationship Id="rId12" Type="http://schemas.openxmlformats.org/officeDocument/2006/relationships/image" Target="../media/image105.wmf"/><Relationship Id="rId2" Type="http://schemas.openxmlformats.org/officeDocument/2006/relationships/image" Target="../media/image95.wmf"/><Relationship Id="rId1" Type="http://schemas.openxmlformats.org/officeDocument/2006/relationships/image" Target="../media/image94.wmf"/><Relationship Id="rId6" Type="http://schemas.openxmlformats.org/officeDocument/2006/relationships/image" Target="../media/image99.wmf"/><Relationship Id="rId11" Type="http://schemas.openxmlformats.org/officeDocument/2006/relationships/image" Target="../media/image104.wmf"/><Relationship Id="rId5" Type="http://schemas.openxmlformats.org/officeDocument/2006/relationships/image" Target="../media/image98.wmf"/><Relationship Id="rId10" Type="http://schemas.openxmlformats.org/officeDocument/2006/relationships/image" Target="../media/image103.wmf"/><Relationship Id="rId4" Type="http://schemas.openxmlformats.org/officeDocument/2006/relationships/image" Target="../media/image97.wmf"/><Relationship Id="rId9" Type="http://schemas.openxmlformats.org/officeDocument/2006/relationships/image" Target="../media/image102.wmf"/></Relationships>
</file>

<file path=ppt/drawings/_rels/vmlDrawing7.vml.rels><?xml version="1.0" encoding="UTF-8" standalone="yes"?>
<Relationships xmlns="http://schemas.openxmlformats.org/package/2006/relationships"><Relationship Id="rId3" Type="http://schemas.openxmlformats.org/officeDocument/2006/relationships/image" Target="../media/image106.wmf"/><Relationship Id="rId2" Type="http://schemas.openxmlformats.org/officeDocument/2006/relationships/image" Target="../media/image92.wmf"/><Relationship Id="rId1" Type="http://schemas.openxmlformats.org/officeDocument/2006/relationships/image" Target="../media/image91.wmf"/></Relationships>
</file>

<file path=ppt/drawings/_rels/vmlDrawing8.vml.rels><?xml version="1.0" encoding="UTF-8" standalone="yes"?>
<Relationships xmlns="http://schemas.openxmlformats.org/package/2006/relationships"><Relationship Id="rId3" Type="http://schemas.openxmlformats.org/officeDocument/2006/relationships/image" Target="../media/image106.wmf"/><Relationship Id="rId2" Type="http://schemas.openxmlformats.org/officeDocument/2006/relationships/image" Target="../media/image92.wmf"/><Relationship Id="rId1" Type="http://schemas.openxmlformats.org/officeDocument/2006/relationships/image" Target="../media/image91.wmf"/></Relationships>
</file>

<file path=ppt/drawings/_rels/vmlDrawing9.vml.rels><?xml version="1.0" encoding="UTF-8" standalone="yes"?>
<Relationships xmlns="http://schemas.openxmlformats.org/package/2006/relationships"><Relationship Id="rId3" Type="http://schemas.openxmlformats.org/officeDocument/2006/relationships/image" Target="../media/image106.wmf"/><Relationship Id="rId2" Type="http://schemas.openxmlformats.org/officeDocument/2006/relationships/image" Target="../media/image92.wmf"/><Relationship Id="rId1" Type="http://schemas.openxmlformats.org/officeDocument/2006/relationships/image" Target="../media/image91.w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474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3032125" cy="463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3021" tIns="46511" rIns="93021" bIns="46511" numCol="1" anchor="t" anchorCtr="0" compatLnSpc="1">
            <a:prstTxWarp prst="textNoShape">
              <a:avLst/>
            </a:prstTxWarp>
          </a:bodyPr>
          <a:lstStyle>
            <a:lvl1pPr defTabSz="930275" eaLnBrk="1" hangingPunct="1">
              <a:spcBef>
                <a:spcPct val="20000"/>
              </a:spcBef>
              <a:buClr>
                <a:schemeClr val="accent1"/>
              </a:buClr>
              <a:buSzPct val="65000"/>
              <a:buFont typeface="Wingdings" panose="05000000000000000000" pitchFamily="2" charset="2"/>
              <a:buChar char="n"/>
              <a:defRPr sz="1300">
                <a:latin typeface="Arial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05475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965575" y="0"/>
            <a:ext cx="3032125" cy="463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3021" tIns="46511" rIns="93021" bIns="46511" numCol="1" anchor="t" anchorCtr="0" compatLnSpc="1">
            <a:prstTxWarp prst="textNoShape">
              <a:avLst/>
            </a:prstTxWarp>
          </a:bodyPr>
          <a:lstStyle>
            <a:lvl1pPr algn="r" defTabSz="930275" eaLnBrk="1" hangingPunct="1">
              <a:spcBef>
                <a:spcPct val="20000"/>
              </a:spcBef>
              <a:buClr>
                <a:schemeClr val="accent1"/>
              </a:buClr>
              <a:buSzPct val="65000"/>
              <a:buFont typeface="Wingdings" panose="05000000000000000000" pitchFamily="2" charset="2"/>
              <a:buChar char="n"/>
              <a:defRPr sz="1300">
                <a:latin typeface="Arial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05476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8820150"/>
            <a:ext cx="3032125" cy="463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3021" tIns="46511" rIns="93021" bIns="46511" numCol="1" anchor="b" anchorCtr="0" compatLnSpc="1">
            <a:prstTxWarp prst="textNoShape">
              <a:avLst/>
            </a:prstTxWarp>
          </a:bodyPr>
          <a:lstStyle>
            <a:lvl1pPr defTabSz="930275" eaLnBrk="1" hangingPunct="1">
              <a:spcBef>
                <a:spcPct val="20000"/>
              </a:spcBef>
              <a:buClr>
                <a:schemeClr val="accent1"/>
              </a:buClr>
              <a:buSzPct val="65000"/>
              <a:buFont typeface="Wingdings" panose="05000000000000000000" pitchFamily="2" charset="2"/>
              <a:buChar char="n"/>
              <a:defRPr sz="1300">
                <a:latin typeface="Arial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05477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965575" y="8820150"/>
            <a:ext cx="3032125" cy="463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3021" tIns="46511" rIns="93021" bIns="46511" numCol="1" anchor="b" anchorCtr="0" compatLnSpc="1">
            <a:prstTxWarp prst="textNoShape">
              <a:avLst/>
            </a:prstTxWarp>
          </a:bodyPr>
          <a:lstStyle>
            <a:lvl1pPr algn="r" defTabSz="930275" eaLnBrk="1" hangingPunct="1">
              <a:spcBef>
                <a:spcPct val="20000"/>
              </a:spcBef>
              <a:buClr>
                <a:schemeClr val="accent1"/>
              </a:buClr>
              <a:buSzPct val="65000"/>
              <a:buFont typeface="Wingdings" panose="05000000000000000000" pitchFamily="2" charset="2"/>
              <a:buChar char="n"/>
              <a:defRPr sz="1300" smtClean="0"/>
            </a:lvl1pPr>
          </a:lstStyle>
          <a:p>
            <a:pPr>
              <a:defRPr/>
            </a:pPr>
            <a:fld id="{000E6A6B-31F1-4D56-B9DD-849E7A381F79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76550684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0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3032125" cy="463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3021" tIns="46511" rIns="93021" bIns="46511" numCol="1" anchor="t" anchorCtr="0" compatLnSpc="1">
            <a:prstTxWarp prst="textNoShape">
              <a:avLst/>
            </a:prstTxWarp>
          </a:bodyPr>
          <a:lstStyle>
            <a:lvl1pPr defTabSz="930275" eaLnBrk="1" hangingPunct="1">
              <a:spcBef>
                <a:spcPct val="0"/>
              </a:spcBef>
              <a:buClrTx/>
              <a:buSzTx/>
              <a:buFontTx/>
              <a:buNone/>
              <a:defRPr sz="1300">
                <a:latin typeface="Arial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22531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963988" y="0"/>
            <a:ext cx="3032125" cy="463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3021" tIns="46511" rIns="93021" bIns="46511" numCol="1" anchor="t" anchorCtr="0" compatLnSpc="1">
            <a:prstTxWarp prst="textNoShape">
              <a:avLst/>
            </a:prstTxWarp>
          </a:bodyPr>
          <a:lstStyle>
            <a:lvl1pPr algn="r" defTabSz="930275" eaLnBrk="1" hangingPunct="1">
              <a:spcBef>
                <a:spcPct val="0"/>
              </a:spcBef>
              <a:buClrTx/>
              <a:buSzTx/>
              <a:buFontTx/>
              <a:buNone/>
              <a:defRPr sz="1300">
                <a:latin typeface="Arial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7412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1177925" y="696913"/>
            <a:ext cx="4641850" cy="3481387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2533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700088" y="4410075"/>
            <a:ext cx="5597525" cy="4176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3021" tIns="46511" rIns="93021" bIns="46511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</a:p>
        </p:txBody>
      </p:sp>
      <p:sp>
        <p:nvSpPr>
          <p:cNvPr id="22534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8818563"/>
            <a:ext cx="3032125" cy="463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3021" tIns="46511" rIns="93021" bIns="46511" numCol="1" anchor="b" anchorCtr="0" compatLnSpc="1">
            <a:prstTxWarp prst="textNoShape">
              <a:avLst/>
            </a:prstTxWarp>
          </a:bodyPr>
          <a:lstStyle>
            <a:lvl1pPr defTabSz="930275" eaLnBrk="1" hangingPunct="1">
              <a:spcBef>
                <a:spcPct val="0"/>
              </a:spcBef>
              <a:buClrTx/>
              <a:buSzTx/>
              <a:buFontTx/>
              <a:buNone/>
              <a:defRPr sz="1300">
                <a:latin typeface="Arial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22535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963988" y="8818563"/>
            <a:ext cx="3032125" cy="463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3021" tIns="46511" rIns="93021" bIns="46511" numCol="1" anchor="b" anchorCtr="0" compatLnSpc="1">
            <a:prstTxWarp prst="textNoShape">
              <a:avLst/>
            </a:prstTxWarp>
          </a:bodyPr>
          <a:lstStyle>
            <a:lvl1pPr algn="r" defTabSz="930275" eaLnBrk="1" hangingPunct="1">
              <a:spcBef>
                <a:spcPct val="0"/>
              </a:spcBef>
              <a:buClrTx/>
              <a:buSzTx/>
              <a:buFontTx/>
              <a:buNone/>
              <a:defRPr sz="1300" smtClean="0"/>
            </a:lvl1pPr>
          </a:lstStyle>
          <a:p>
            <a:pPr>
              <a:defRPr/>
            </a:pPr>
            <a:fld id="{BE6E873A-957E-4F21-B4C1-DB7063CCF6E4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053474404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8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9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0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6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8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9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0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1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2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3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6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7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9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0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1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2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3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0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30275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30275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30275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30275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30275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30275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30275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30275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30275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</a:pPr>
            <a:fld id="{7390A8F5-139A-432D-87B7-5442C671E3F1}" type="slidenum">
              <a:rPr lang="tr-TR" altLang="en-US" sz="1300"/>
              <a:pPr>
                <a:spcBef>
                  <a:spcPct val="0"/>
                </a:spcBef>
              </a:pPr>
              <a:t>5</a:t>
            </a:fld>
            <a:endParaRPr lang="tr-TR" altLang="en-US" sz="1300"/>
          </a:p>
        </p:txBody>
      </p:sp>
      <p:sp>
        <p:nvSpPr>
          <p:cNvPr id="2253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22532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en-GB" altLang="en-US" smtClean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23598834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9810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19811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r>
              <a:rPr lang="en-US" altLang="en-US" smtClean="0"/>
              <a:t>http://www.aiaccess.net/English/Glossaries/GlosMod/e_gm_bias_variance.htm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fld id="{A23BA8E4-9C4E-4B0F-91C5-636D280CF8E3}" type="slidenum">
              <a:rPr lang="en-US" altLang="en-US">
                <a:solidFill>
                  <a:srgbClr val="000000"/>
                </a:solidFill>
                <a:latin typeface="Calibri" panose="020F0502020204030204" pitchFamily="34" charset="0"/>
              </a:rPr>
              <a:pPr eaLnBrk="1" hangingPunct="1"/>
              <a:t>41</a:t>
            </a:fld>
            <a:endParaRPr lang="en-US" altLang="en-US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81651435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0B36D748-048A-4621-A713-9E2F13C7860F}" type="slidenum">
              <a:rPr lang="en-US" altLang="zh-CN">
                <a:solidFill>
                  <a:srgbClr val="000000"/>
                </a:solidFill>
              </a:rPr>
              <a:pPr/>
              <a:t>42</a:t>
            </a:fld>
            <a:endParaRPr lang="en-US" altLang="zh-CN">
              <a:solidFill>
                <a:srgbClr val="000000"/>
              </a:solidFill>
            </a:endParaRPr>
          </a:p>
        </p:txBody>
      </p:sp>
      <p:sp>
        <p:nvSpPr>
          <p:cNvPr id="38912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89123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4036304578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892BBBE0-B604-405C-A779-85C608247C45}" type="slidenum">
              <a:rPr lang="en-US" altLang="zh-CN">
                <a:solidFill>
                  <a:srgbClr val="000000"/>
                </a:solidFill>
              </a:rPr>
              <a:pPr/>
              <a:t>43</a:t>
            </a:fld>
            <a:endParaRPr lang="en-US" altLang="zh-CN">
              <a:solidFill>
                <a:srgbClr val="000000"/>
              </a:solidFill>
            </a:endParaRPr>
          </a:p>
        </p:txBody>
      </p:sp>
      <p:sp>
        <p:nvSpPr>
          <p:cNvPr id="45056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50563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4260675334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4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D342FE2F-D613-5B47-A186-2FB9D7141A61}" type="slidenum">
              <a:rPr lang="en-US">
                <a:latin typeface="Times New Roman" pitchFamily="1" charset="0"/>
              </a:rPr>
              <a:pPr/>
              <a:t>46</a:t>
            </a:fld>
            <a:endParaRPr lang="en-US">
              <a:latin typeface="Times New Roman" pitchFamily="1" charset="0"/>
            </a:endParaRPr>
          </a:p>
        </p:txBody>
      </p:sp>
      <p:sp>
        <p:nvSpPr>
          <p:cNvPr id="18435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8436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r>
              <a:rPr lang="en-US" dirty="0" smtClean="0">
                <a:latin typeface="Times New Roman" pitchFamily="1" charset="0"/>
                <a:ea typeface="ＭＳ Ｐゴシック" pitchFamily="1" charset="-128"/>
                <a:cs typeface="ＭＳ Ｐゴシック" pitchFamily="1" charset="-128"/>
              </a:rPr>
              <a:t>Show generalization</a:t>
            </a:r>
            <a:endParaRPr lang="en-US" dirty="0">
              <a:latin typeface="Times New Roman" pitchFamily="1" charset="0"/>
              <a:ea typeface="ＭＳ Ｐゴシック" pitchFamily="1" charset="-128"/>
              <a:cs typeface="ＭＳ Ｐゴシック" pitchFamily="1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961424156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BC5B73D0-128D-4BCC-8BC5-BBCBCFD9D568}" type="slidenum">
              <a:rPr lang="en-US" altLang="en-US">
                <a:solidFill>
                  <a:srgbClr val="000000"/>
                </a:solidFill>
              </a:rPr>
              <a:pPr/>
              <a:t>48</a:t>
            </a:fld>
            <a:endParaRPr lang="en-US" altLang="en-US">
              <a:solidFill>
                <a:srgbClr val="000000"/>
              </a:solidFill>
            </a:endParaRPr>
          </a:p>
        </p:txBody>
      </p:sp>
      <p:sp>
        <p:nvSpPr>
          <p:cNvPr id="3584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5843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399027828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AD2DDA54-06FB-4765-9D3E-AE195D6D40B2}" type="slidenum">
              <a:rPr lang="en-US" altLang="en-US">
                <a:solidFill>
                  <a:srgbClr val="000000"/>
                </a:solidFill>
              </a:rPr>
              <a:pPr/>
              <a:t>49</a:t>
            </a:fld>
            <a:endParaRPr lang="en-US" altLang="en-US">
              <a:solidFill>
                <a:srgbClr val="000000"/>
              </a:solidFill>
            </a:endParaRPr>
          </a:p>
        </p:txBody>
      </p:sp>
      <p:sp>
        <p:nvSpPr>
          <p:cNvPr id="4301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3011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587694476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90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7891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endParaRPr lang="en-US" altLang="en-US" smtClean="0"/>
          </a:p>
        </p:txBody>
      </p:sp>
      <p:sp>
        <p:nvSpPr>
          <p:cNvPr id="37892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9pPr>
          </a:lstStyle>
          <a:p>
            <a:fld id="{C09E54E2-B21C-42C0-809A-B8B6970172CA}" type="slidenum">
              <a:rPr lang="en-US" altLang="en-US">
                <a:solidFill>
                  <a:prstClr val="black"/>
                </a:solidFill>
                <a:latin typeface="Calibri" panose="020F0502020204030204" pitchFamily="34" charset="0"/>
              </a:rPr>
              <a:pPr/>
              <a:t>56</a:t>
            </a:fld>
            <a:endParaRPr lang="en-US" altLang="en-US">
              <a:solidFill>
                <a:prstClr val="black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72769933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57039F7-9394-A245-B939-DF533F2CB660}" type="slidenum">
              <a:rPr lang="en-US" smtClean="0">
                <a:solidFill>
                  <a:prstClr val="black"/>
                </a:solidFill>
              </a:rPr>
              <a:pPr/>
              <a:t>60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24984924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圖像版面配置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備忘稿版面配置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zh-TW" dirty="0" smtClean="0"/>
              <a:t>Three questions:</a:t>
            </a:r>
          </a:p>
          <a:p>
            <a:endParaRPr lang="en-US" altLang="zh-TW" dirty="0" smtClean="0"/>
          </a:p>
          <a:p>
            <a:r>
              <a:rPr lang="en-US" altLang="zh-TW" dirty="0" smtClean="0"/>
              <a:t>Model</a:t>
            </a:r>
          </a:p>
          <a:p>
            <a:r>
              <a:rPr lang="en-US" altLang="zh-TW" dirty="0" smtClean="0"/>
              <a:t>Cost</a:t>
            </a:r>
          </a:p>
          <a:p>
            <a:r>
              <a:rPr lang="en-US" altLang="zh-TW" dirty="0" smtClean="0"/>
              <a:t>Train</a:t>
            </a:r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20914F-BE26-43C4-8063-9E6C159BF45D}" type="slidenum">
              <a:rPr lang="zh-TW" altLang="en-US" smtClean="0">
                <a:solidFill>
                  <a:prstClr val="black"/>
                </a:solidFill>
              </a:rPr>
              <a:pPr/>
              <a:t>66</a:t>
            </a:fld>
            <a:endParaRPr lang="zh-TW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36091694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圖像版面配置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備忘稿版面配置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zh-TW" dirty="0" smtClean="0"/>
              <a:t>“Hello world” for deep learning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TW" sz="1200" dirty="0" smtClean="0"/>
              <a:t>Data: </a:t>
            </a:r>
            <a:r>
              <a:rPr lang="zh-TW" altLang="en-US" sz="1200" dirty="0" smtClean="0"/>
              <a:t>http://yann.lecun.com/exdb/mnist/</a:t>
            </a:r>
          </a:p>
          <a:p>
            <a:endParaRPr lang="zh-TW" altLang="en-US" dirty="0"/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20914F-BE26-43C4-8063-9E6C159BF45D}" type="slidenum">
              <a:rPr lang="zh-TW" altLang="en-US" smtClean="0">
                <a:solidFill>
                  <a:prstClr val="black"/>
                </a:solidFill>
              </a:rPr>
              <a:pPr/>
              <a:t>67</a:t>
            </a:fld>
            <a:endParaRPr lang="zh-TW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0627778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9266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0FEA287D-7C12-4089-9C56-F7BBD8C8C355}" type="slidenum">
              <a:rPr lang="en-US">
                <a:solidFill>
                  <a:prstClr val="black"/>
                </a:solidFill>
              </a:rPr>
              <a:pPr/>
              <a:t>9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139267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39268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13260" y="4343713"/>
            <a:ext cx="5031482" cy="4113862"/>
          </a:xfrm>
          <a:noFill/>
          <a:ln/>
        </p:spPr>
        <p:txBody>
          <a:bodyPr/>
          <a:lstStyle/>
          <a:p>
            <a:pPr eaLnBrk="1" hangingPunct="1"/>
            <a:r>
              <a:rPr lang="en-GB" sz="1800" dirty="0" smtClean="0"/>
              <a:t>Induction is different from deduction and DBMS does not </a:t>
            </a:r>
            <a:r>
              <a:rPr lang="en-GB" sz="1800" dirty="0" err="1" smtClean="0"/>
              <a:t>not</a:t>
            </a:r>
            <a:r>
              <a:rPr lang="en-GB" sz="1800" dirty="0" smtClean="0"/>
              <a:t> support induction;</a:t>
            </a:r>
          </a:p>
          <a:p>
            <a:pPr eaLnBrk="1" hangingPunct="1"/>
            <a:r>
              <a:rPr lang="en-GB" sz="1800" dirty="0" smtClean="0"/>
              <a:t>The result of induction is higher-level information or knowledge: general statements about data</a:t>
            </a:r>
          </a:p>
          <a:p>
            <a:pPr eaLnBrk="1" hangingPunct="1"/>
            <a:r>
              <a:rPr lang="en-GB" sz="1800" dirty="0" smtClean="0"/>
              <a:t>There are many approaches. Refer to the lecture notes for CS3244 available at the Co-Op.</a:t>
            </a:r>
          </a:p>
          <a:p>
            <a:pPr eaLnBrk="1" hangingPunct="1"/>
            <a:r>
              <a:rPr lang="en-GB" sz="1800" dirty="0" smtClean="0"/>
              <a:t>We focus on  three approaches here, other examples:</a:t>
            </a:r>
          </a:p>
          <a:p>
            <a:pPr eaLnBrk="1" hangingPunct="1"/>
            <a:r>
              <a:rPr lang="en-GB" sz="1800" dirty="0" smtClean="0"/>
              <a:t>Other approaches</a:t>
            </a:r>
          </a:p>
          <a:p>
            <a:pPr eaLnBrk="1" hangingPunct="1">
              <a:buFontTx/>
              <a:buChar char="•"/>
            </a:pPr>
            <a:r>
              <a:rPr lang="en-GB" sz="1800" dirty="0" smtClean="0"/>
              <a:t>Instance-based learning</a:t>
            </a:r>
          </a:p>
          <a:p>
            <a:pPr eaLnBrk="1" hangingPunct="1">
              <a:buFontTx/>
              <a:buChar char="•"/>
            </a:pPr>
            <a:r>
              <a:rPr lang="en-GB" sz="1800" dirty="0" smtClean="0"/>
              <a:t>other neural networks</a:t>
            </a:r>
          </a:p>
          <a:p>
            <a:pPr eaLnBrk="1" hangingPunct="1">
              <a:buFontTx/>
              <a:buChar char="•"/>
            </a:pPr>
            <a:r>
              <a:rPr lang="en-GB" sz="1800" dirty="0" smtClean="0"/>
              <a:t>Concept learning (Version space, Focus, Aq11, …)</a:t>
            </a:r>
          </a:p>
          <a:p>
            <a:pPr eaLnBrk="1" hangingPunct="1">
              <a:buFontTx/>
              <a:buChar char="•"/>
            </a:pPr>
            <a:r>
              <a:rPr lang="en-GB" sz="1800" dirty="0" smtClean="0"/>
              <a:t>Genetic algorithms</a:t>
            </a:r>
          </a:p>
          <a:p>
            <a:pPr eaLnBrk="1" hangingPunct="1">
              <a:buFontTx/>
              <a:buChar char="•"/>
            </a:pPr>
            <a:r>
              <a:rPr lang="en-GB" sz="1800" dirty="0" smtClean="0"/>
              <a:t>Reinforcement learning</a:t>
            </a:r>
          </a:p>
        </p:txBody>
      </p:sp>
    </p:spTree>
    <p:extLst>
      <p:ext uri="{BB962C8B-B14F-4D97-AF65-F5344CB8AC3E}">
        <p14:creationId xmlns:p14="http://schemas.microsoft.com/office/powerpoint/2010/main" val="3396088230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圖像版面配置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備忘稿版面配置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zh-TW" dirty="0" smtClean="0"/>
              <a:t>The same for even more complex tasks.</a:t>
            </a:r>
            <a:endParaRPr lang="zh-TW" altLang="en-US" dirty="0"/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20914F-BE26-43C4-8063-9E6C159BF45D}" type="slidenum">
              <a:rPr lang="zh-TW" altLang="en-US" smtClean="0">
                <a:solidFill>
                  <a:prstClr val="black"/>
                </a:solidFill>
              </a:rPr>
              <a:pPr/>
              <a:t>68</a:t>
            </a:fld>
            <a:endParaRPr lang="zh-TW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1281006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圖像版面配置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備忘稿版面配置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TW" altLang="en-US" dirty="0"/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20914F-BE26-43C4-8063-9E6C159BF45D}" type="slidenum">
              <a:rPr lang="zh-TW" altLang="en-US" smtClean="0">
                <a:solidFill>
                  <a:prstClr val="black"/>
                </a:solidFill>
              </a:rPr>
              <a:pPr/>
              <a:t>69</a:t>
            </a:fld>
            <a:endParaRPr lang="zh-TW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46363053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圖像版面配置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備忘稿版面配置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zh-TW" dirty="0" smtClean="0"/>
              <a:t>sigmoid</a:t>
            </a:r>
            <a:endParaRPr lang="zh-TW" altLang="en-US" dirty="0"/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5D05C0D-00F1-4D27-9FA2-F1BC4B0526DB}" type="slidenum">
              <a:rPr lang="zh-TW" altLang="en-US" smtClean="0">
                <a:solidFill>
                  <a:prstClr val="black"/>
                </a:solidFill>
              </a:rPr>
              <a:pPr/>
              <a:t>70</a:t>
            </a:fld>
            <a:endParaRPr lang="zh-TW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15546863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圖像版面配置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備忘稿版面配置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TW" b="1" i="1" u="sng" dirty="0" smtClean="0"/>
              <a:t>Fully Connected Feedforward Network </a:t>
            </a:r>
            <a:endParaRPr lang="zh-TW" altLang="en-US" b="1" i="1" u="sng" dirty="0" smtClean="0"/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altLang="zh-TW" sz="1200" dirty="0" smtClean="0">
              <a:solidFill>
                <a:srgbClr val="0000FF"/>
              </a:solidFill>
            </a:endParaRP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altLang="zh-TW" sz="1200" dirty="0" smtClean="0">
              <a:solidFill>
                <a:srgbClr val="0000FF"/>
              </a:solidFill>
            </a:endParaRP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TW" sz="1200" dirty="0" smtClean="0">
                <a:solidFill>
                  <a:srgbClr val="0000FF"/>
                </a:solidFill>
              </a:rPr>
              <a:t>You can always connect the neurons in your own way.</a:t>
            </a:r>
            <a:endParaRPr lang="zh-TW" altLang="en-US" sz="1200" dirty="0" smtClean="0">
              <a:solidFill>
                <a:srgbClr val="0000FF"/>
              </a:solidFill>
            </a:endParaRP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altLang="zh-TW" sz="1200" dirty="0" smtClean="0"/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altLang="zh-TW" sz="1200" dirty="0" smtClean="0"/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TW" sz="1200" dirty="0" smtClean="0"/>
              <a:t>“+” is ignored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TW" sz="1200" dirty="0" smtClean="0"/>
              <a:t>Each dimension corresponds to a digit (10 dimension is needed)</a:t>
            </a:r>
            <a:endParaRPr lang="zh-TW" altLang="en-US" sz="1200" dirty="0" smtClean="0"/>
          </a:p>
          <a:p>
            <a:endParaRPr lang="zh-TW" altLang="en-US" dirty="0"/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5D05C0D-00F1-4D27-9FA2-F1BC4B0526DB}" type="slidenum">
              <a:rPr lang="zh-TW" altLang="en-US" smtClean="0">
                <a:solidFill>
                  <a:prstClr val="black"/>
                </a:solidFill>
              </a:rPr>
              <a:pPr/>
              <a:t>71</a:t>
            </a:fld>
            <a:endParaRPr lang="zh-TW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00807817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圖像版面配置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備忘稿版面配置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zh-TW" dirty="0" smtClean="0"/>
              <a:t>Draw it?</a:t>
            </a:r>
            <a:endParaRPr lang="zh-TW" altLang="en-US" dirty="0"/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4DF33-A099-48C3-97F8-77FEC4A41389}" type="slidenum">
              <a:rPr lang="zh-TW" altLang="en-US" smtClean="0">
                <a:solidFill>
                  <a:prstClr val="black"/>
                </a:solidFill>
              </a:rPr>
              <a:pPr/>
              <a:t>72</a:t>
            </a:fld>
            <a:endParaRPr lang="zh-TW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46616137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圖像版面配置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備忘稿版面配置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zh-TW" dirty="0" smtClean="0"/>
              <a:t>Draw it?</a:t>
            </a:r>
            <a:endParaRPr lang="zh-TW" altLang="en-US" dirty="0"/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4DF33-A099-48C3-97F8-77FEC4A41389}" type="slidenum">
              <a:rPr lang="zh-TW" altLang="en-US" smtClean="0">
                <a:solidFill>
                  <a:prstClr val="black"/>
                </a:solidFill>
              </a:rPr>
              <a:pPr/>
              <a:t>73</a:t>
            </a:fld>
            <a:endParaRPr lang="zh-TW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75112954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圖像版面配置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備忘稿版面配置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TW" sz="1200" dirty="0" smtClean="0"/>
              <a:t>With </a:t>
            </a:r>
            <a:r>
              <a:rPr lang="en-US" altLang="zh-TW" sz="1200" dirty="0" err="1" smtClean="0"/>
              <a:t>softmax</a:t>
            </a:r>
            <a:r>
              <a:rPr lang="en-US" altLang="zh-TW" sz="1200" dirty="0" smtClean="0"/>
              <a:t>, the summation of all the </a:t>
            </a:r>
            <a:r>
              <a:rPr lang="en-US" altLang="zh-TW" sz="1200" dirty="0" err="1" smtClean="0"/>
              <a:t>ouputs</a:t>
            </a:r>
            <a:r>
              <a:rPr lang="en-US" altLang="zh-TW" sz="1200" dirty="0" smtClean="0"/>
              <a:t> would be one.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altLang="zh-TW" sz="1200" dirty="0" smtClean="0"/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TW" sz="1200" dirty="0" smtClean="0"/>
              <a:t>Can be considered as probability</a:t>
            </a:r>
            <a:r>
              <a:rPr lang="zh-TW" altLang="en-US" sz="1200" baseline="0" dirty="0" smtClean="0"/>
              <a:t> </a:t>
            </a:r>
            <a:r>
              <a:rPr lang="en-US" altLang="zh-TW" sz="1200" baseline="0" dirty="0" smtClean="0"/>
              <a:t>if you want ……</a:t>
            </a:r>
            <a:endParaRPr lang="zh-TW" altLang="en-US" sz="1200" dirty="0" smtClean="0"/>
          </a:p>
          <a:p>
            <a:endParaRPr lang="zh-TW" altLang="en-US" dirty="0"/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20914F-BE26-43C4-8063-9E6C159BF45D}" type="slidenum">
              <a:rPr lang="zh-TW" altLang="en-US" smtClean="0">
                <a:solidFill>
                  <a:prstClr val="black"/>
                </a:solidFill>
              </a:rPr>
              <a:pPr/>
              <a:t>76</a:t>
            </a:fld>
            <a:endParaRPr lang="zh-TW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71696172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圖像版面配置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備忘稿版面配置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TW" sz="1200" dirty="0" smtClean="0"/>
              <a:t>Randomly</a:t>
            </a:r>
            <a:r>
              <a:rPr lang="en-US" altLang="zh-TW" sz="1200" baseline="0" dirty="0" smtClean="0"/>
              <a:t> picked one </a:t>
            </a:r>
            <a:endParaRPr lang="en-US" altLang="zh-TW" sz="1200" dirty="0" smtClean="0"/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altLang="zh-TW" sz="1200" dirty="0" smtClean="0"/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TW" sz="1200" dirty="0" smtClean="0"/>
              <a:t>Two approaches update the parameters towards the same direction, but stochastic is faster!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TW" sz="1200" dirty="0" smtClean="0"/>
              <a:t>Better!</a:t>
            </a:r>
            <a:endParaRPr lang="zh-TW" altLang="en-US" sz="1200" dirty="0" smtClean="0"/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altLang="zh-TW" sz="1200" dirty="0" smtClean="0"/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altLang="zh-TW" sz="1200" dirty="0" smtClean="0"/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zh-TW" altLang="en-US" sz="1200" dirty="0" smtClean="0"/>
          </a:p>
          <a:p>
            <a:endParaRPr lang="zh-TW" altLang="en-US" dirty="0"/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E785798-1D2B-4740-BC8C-66AA26152767}" type="slidenum">
              <a:rPr lang="zh-TW" altLang="en-US" smtClean="0">
                <a:solidFill>
                  <a:prstClr val="black"/>
                </a:solidFill>
              </a:rPr>
              <a:pPr/>
              <a:t>77</a:t>
            </a:fld>
            <a:endParaRPr lang="zh-TW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94079723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圖像版面配置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備忘稿版面配置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TW" altLang="en-US" sz="1200" dirty="0">
              <a:solidFill>
                <a:srgbClr val="0000FF"/>
              </a:solidFill>
            </a:endParaRPr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CF3BD28-75DF-4233-8F85-EE3A845FE6B6}" type="slidenum">
              <a:rPr lang="zh-TW" altLang="en-US" smtClean="0">
                <a:solidFill>
                  <a:prstClr val="black"/>
                </a:solidFill>
              </a:rPr>
              <a:pPr/>
              <a:t>79</a:t>
            </a:fld>
            <a:endParaRPr lang="zh-TW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68797827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圖像版面配置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備忘稿版面配置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TW" altLang="en-US" dirty="0"/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CF3BD28-75DF-4233-8F85-EE3A845FE6B6}" type="slidenum">
              <a:rPr lang="zh-TW" altLang="en-US" smtClean="0">
                <a:solidFill>
                  <a:prstClr val="black"/>
                </a:solidFill>
              </a:rPr>
              <a:pPr/>
              <a:t>80</a:t>
            </a:fld>
            <a:endParaRPr lang="zh-TW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207594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50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27651" name="Notes Placeholder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altLang="en-US" smtClean="0">
              <a:latin typeface="Arial" panose="020B0604020202020204" pitchFamily="34" charset="0"/>
            </a:endParaRPr>
          </a:p>
        </p:txBody>
      </p:sp>
      <p:sp>
        <p:nvSpPr>
          <p:cNvPr id="27652" name="Slide Number Placeholder 3"/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30275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30275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30275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30275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30275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30275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30275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30275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30275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</a:pPr>
            <a:fld id="{CDF56DC5-40CA-4C38-A307-F30A7BF86A9A}" type="slidenum">
              <a:rPr lang="en-US" altLang="en-US" sz="1300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pPr>
                <a:spcBef>
                  <a:spcPct val="0"/>
                </a:spcBef>
              </a:pPr>
              <a:t>12</a:t>
            </a:fld>
            <a:endParaRPr lang="en-US" altLang="en-US" sz="1300">
              <a:solidFill>
                <a:srgbClr val="000000"/>
              </a:solidFill>
              <a:latin typeface="Calibri" panose="020F050202020403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3083265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圖像版面配置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備忘稿版面配置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zh-TW" dirty="0" smtClean="0"/>
              <a:t>Programming -&gt; all in main -&gt; so long and</a:t>
            </a:r>
            <a:r>
              <a:rPr lang="en-US" altLang="zh-TW" baseline="0" dirty="0" smtClean="0"/>
              <a:t> bad</a:t>
            </a:r>
          </a:p>
          <a:p>
            <a:r>
              <a:rPr lang="en-US" altLang="zh-TW" baseline="0" dirty="0" smtClean="0"/>
              <a:t>-&gt; function -&gt;</a:t>
            </a:r>
            <a:r>
              <a:rPr lang="zh-TW" altLang="en-US" baseline="0" dirty="0" smtClean="0"/>
              <a:t> </a:t>
            </a:r>
            <a:r>
              <a:rPr lang="en-US" altLang="zh-TW" baseline="0" dirty="0" smtClean="0"/>
              <a:t>shorter</a:t>
            </a:r>
            <a:endParaRPr lang="zh-TW" altLang="en-US" dirty="0"/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20914F-BE26-43C4-8063-9E6C159BF45D}" type="slidenum">
              <a:rPr lang="zh-TW" altLang="en-US" smtClean="0">
                <a:solidFill>
                  <a:prstClr val="black"/>
                </a:solidFill>
              </a:rPr>
              <a:pPr/>
              <a:t>81</a:t>
            </a:fld>
            <a:endParaRPr lang="zh-TW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64611276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圖像版面配置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備忘稿版面配置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TW" altLang="en-US" dirty="0"/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20914F-BE26-43C4-8063-9E6C159BF45D}" type="slidenum">
              <a:rPr lang="zh-TW" altLang="en-US" smtClean="0">
                <a:solidFill>
                  <a:prstClr val="black"/>
                </a:solidFill>
              </a:rPr>
              <a:pPr/>
              <a:t>82</a:t>
            </a:fld>
            <a:endParaRPr lang="zh-TW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11116878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圖像版面配置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備忘稿版面配置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TW" altLang="en-US" dirty="0"/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20914F-BE26-43C4-8063-9E6C159BF45D}" type="slidenum">
              <a:rPr lang="zh-TW" altLang="en-US" smtClean="0">
                <a:solidFill>
                  <a:prstClr val="black"/>
                </a:solidFill>
              </a:rPr>
              <a:pPr/>
              <a:t>83</a:t>
            </a:fld>
            <a:endParaRPr lang="zh-TW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65643673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圖像版面配置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備忘稿版面配置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zh-TW" dirty="0" smtClean="0"/>
              <a:t>Need less data!!!!!</a:t>
            </a:r>
            <a:endParaRPr lang="zh-TW" altLang="en-US" dirty="0"/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20914F-BE26-43C4-8063-9E6C159BF45D}" type="slidenum">
              <a:rPr lang="zh-TW" altLang="en-US" smtClean="0">
                <a:solidFill>
                  <a:prstClr val="black"/>
                </a:solidFill>
              </a:rPr>
              <a:pPr/>
              <a:t>84</a:t>
            </a:fld>
            <a:endParaRPr lang="zh-TW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1346282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8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29699" name="Notes Placeholder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altLang="en-US" smtClean="0">
              <a:latin typeface="Arial" panose="020B0604020202020204" pitchFamily="34" charset="0"/>
            </a:endParaRPr>
          </a:p>
        </p:txBody>
      </p:sp>
      <p:sp>
        <p:nvSpPr>
          <p:cNvPr id="29700" name="Slide Number Placeholder 3"/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30275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30275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30275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30275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30275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30275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30275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30275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30275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</a:pPr>
            <a:fld id="{BE82ACF3-DB52-404F-84EA-BFC6333A4B2E}" type="slidenum">
              <a:rPr lang="en-US" altLang="en-US" sz="1300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pPr>
                <a:spcBef>
                  <a:spcPct val="0"/>
                </a:spcBef>
              </a:pPr>
              <a:t>13</a:t>
            </a:fld>
            <a:endParaRPr lang="en-US" altLang="en-US" sz="1300">
              <a:solidFill>
                <a:srgbClr val="000000"/>
              </a:solidFill>
              <a:latin typeface="Calibri" panose="020F050202020403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5049908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746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31747" name="Notes Placeholder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altLang="en-US" smtClean="0">
              <a:latin typeface="Arial" panose="020B0604020202020204" pitchFamily="34" charset="0"/>
            </a:endParaRPr>
          </a:p>
        </p:txBody>
      </p:sp>
      <p:sp>
        <p:nvSpPr>
          <p:cNvPr id="31748" name="Slide Number Placeholder 3"/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30275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30275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30275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30275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30275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30275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30275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30275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30275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</a:pPr>
            <a:fld id="{AACE4347-619D-4D39-877E-626A45E15305}" type="slidenum">
              <a:rPr lang="en-US" altLang="en-US" sz="1300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pPr>
                <a:spcBef>
                  <a:spcPct val="0"/>
                </a:spcBef>
              </a:pPr>
              <a:t>15</a:t>
            </a:fld>
            <a:endParaRPr lang="en-US" altLang="en-US" sz="1300">
              <a:solidFill>
                <a:srgbClr val="000000"/>
              </a:solidFill>
              <a:latin typeface="Calibri" panose="020F050202020403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23678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6978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26979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r>
              <a:rPr lang="en-US" altLang="en-US" smtClean="0"/>
              <a:t>Generative classifiers try to model the data.  Discriminative classifiers try to predict the label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fld id="{013B4EEE-E921-48AC-91EA-00F672E56BA9}" type="slidenum">
              <a:rPr lang="en-US" altLang="en-US">
                <a:solidFill>
                  <a:srgbClr val="000000"/>
                </a:solidFill>
                <a:latin typeface="Calibri" panose="020F0502020204030204" pitchFamily="34" charset="0"/>
              </a:rPr>
              <a:pPr eaLnBrk="1" hangingPunct="1"/>
              <a:t>25</a:t>
            </a:fld>
            <a:endParaRPr lang="en-US" altLang="en-US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2829450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" name="Google Shape;104;g3dc5998ddf_0_0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05" name="Google Shape;105;g3dc5998ddf_0_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80833361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6738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16739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US" altLang="en-US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fld id="{B8C91689-0771-4E9E-BBD9-3E6B71824412}" type="slidenum">
              <a:rPr lang="en-US" altLang="en-US">
                <a:solidFill>
                  <a:srgbClr val="000000"/>
                </a:solidFill>
                <a:latin typeface="Calibri" panose="020F0502020204030204" pitchFamily="34" charset="0"/>
              </a:rPr>
              <a:pPr eaLnBrk="1" hangingPunct="1"/>
              <a:t>39</a:t>
            </a:fld>
            <a:endParaRPr lang="en-US" altLang="en-US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5229693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7762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17763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endParaRPr lang="en-US" altLang="en-US" smtClean="0"/>
          </a:p>
        </p:txBody>
      </p:sp>
      <p:sp>
        <p:nvSpPr>
          <p:cNvPr id="38916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fld id="{17252F86-3FC7-4E0D-B203-086E1300F7E4}" type="slidenum">
              <a:rPr lang="en-US" altLang="en-US">
                <a:solidFill>
                  <a:srgbClr val="000000"/>
                </a:solidFill>
                <a:latin typeface="Calibri" panose="020F0502020204030204" pitchFamily="34" charset="0"/>
              </a:rPr>
              <a:pPr eaLnBrk="1" hangingPunct="1"/>
              <a:t>40</a:t>
            </a:fld>
            <a:endParaRPr lang="en-US" altLang="en-US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5285914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0.xml"/><Relationship Id="rId1" Type="http://schemas.openxmlformats.org/officeDocument/2006/relationships/themeOverride" Target="../theme/themeOverride6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5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1.bin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2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2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2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wmf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9.xml"/></Relationships>
</file>

<file path=ppt/slideLayouts/_rels/slideLayout2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2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2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2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2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2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2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2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2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2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2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2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2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2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2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2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2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2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2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2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2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2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2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2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slideMaster" Target="../slideMasters/slideMaster6.xml"/><Relationship Id="rId1" Type="http://schemas.openxmlformats.org/officeDocument/2006/relationships/themeOverride" Target="../theme/themeOverride1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6.xml"/><Relationship Id="rId1" Type="http://schemas.openxmlformats.org/officeDocument/2006/relationships/themeOverride" Target="../theme/themeOverride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slideMaster" Target="../slideMasters/slideMaster9.xml"/><Relationship Id="rId1" Type="http://schemas.openxmlformats.org/officeDocument/2006/relationships/themeOverride" Target="../theme/themeOverride3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9.xml"/><Relationship Id="rId1" Type="http://schemas.openxmlformats.org/officeDocument/2006/relationships/themeOverride" Target="../theme/themeOverride4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slideMaster" Target="../slideMasters/slideMaster10.xml"/><Relationship Id="rId1" Type="http://schemas.openxmlformats.org/officeDocument/2006/relationships/themeOverride" Target="../theme/themeOverride5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IN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IN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0C8C7B23-EFB3-4026-B462-059903FB2483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638152817"/>
      </p:ext>
    </p:extLst>
  </p:cSld>
  <p:clrMapOvr>
    <a:masterClrMapping/>
  </p:clrMapOvr>
  <p:transition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IN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N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02F31453-214C-47BE-96B6-BA4953A4CD12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658978258"/>
      </p:ext>
    </p:extLst>
  </p:cSld>
  <p:clrMapOvr>
    <a:masterClrMapping/>
  </p:clrMapOvr>
  <p:transition/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spcBef>
                <a:spcPts val="1200"/>
              </a:spcBef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600"/>
            </a:lvl5pPr>
            <a:extLst/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7" name="Title Placeholder 1"/>
          <p:cNvSpPr>
            <a:spLocks noGrp="1"/>
          </p:cNvSpPr>
          <p:nvPr>
            <p:ph type="title"/>
          </p:nvPr>
        </p:nvSpPr>
        <p:spPr>
          <a:xfrm>
            <a:off x="152400" y="0"/>
            <a:ext cx="8839200" cy="609600"/>
          </a:xfrm>
          <a:prstGeom prst="rect">
            <a:avLst/>
          </a:prstGeom>
        </p:spPr>
        <p:txBody>
          <a:bodyPr/>
          <a:lstStyle>
            <a:lvl1pPr>
              <a:defRPr sz="4000"/>
            </a:lvl1pPr>
            <a:extLst/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DA9A0C7D-6AC7-4D85-8E24-0F9456C5D2F2}" type="datetime1">
              <a:rPr lang="en-US" altLang="en-US"/>
              <a:pPr/>
              <a:t>2/26/2019</a:t>
            </a:fld>
            <a:endParaRPr lang="en-US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4A9C9827-7C55-42C3-B86C-1E7204BA9330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876517484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 bwMode="ltGray">
          <a:xfrm>
            <a:off x="0" y="0"/>
            <a:ext cx="9144000" cy="2601913"/>
          </a:xfrm>
          <a:prstGeom prst="rect">
            <a:avLst/>
          </a:prstGeom>
          <a:solidFill>
            <a:srgbClr val="000000"/>
          </a:solidFill>
          <a:ln w="48000" cap="flat" cmpd="thickThin" algn="ctr">
            <a:noFill/>
            <a:prstDash val="solid"/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9pPr>
          </a:lstStyle>
          <a:p>
            <a:pPr algn="ctr" eaLnBrk="1" hangingPunct="1"/>
            <a:endParaRPr lang="en-US" altLang="en-US" sz="1800">
              <a:solidFill>
                <a:srgbClr val="FFFFFF"/>
              </a:solidFill>
            </a:endParaRPr>
          </a:p>
        </p:txBody>
      </p:sp>
      <p:sp>
        <p:nvSpPr>
          <p:cNvPr id="5" name="Rectangle 4"/>
          <p:cNvSpPr/>
          <p:nvPr/>
        </p:nvSpPr>
        <p:spPr bwMode="invGray">
          <a:xfrm>
            <a:off x="0" y="2601913"/>
            <a:ext cx="9144000" cy="46037"/>
          </a:xfrm>
          <a:prstGeom prst="rect">
            <a:avLst/>
          </a:prstGeom>
          <a:solidFill>
            <a:srgbClr val="FFFFFF"/>
          </a:solidFill>
          <a:ln w="48000" cap="flat" cmpd="thickThin" algn="ctr">
            <a:noFill/>
            <a:prstDash val="solid"/>
          </a:ln>
          <a:effectLst>
            <a:outerShdw blurRad="31750" dist="10160" dir="5400000" algn="tl" rotWithShape="0">
              <a:srgbClr val="000000">
                <a:alpha val="60000"/>
              </a:srgbClr>
            </a:outerShdw>
          </a:effectLst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9pPr>
          </a:lstStyle>
          <a:p>
            <a:pPr algn="ctr" eaLnBrk="1" hangingPunct="1"/>
            <a:endParaRPr lang="en-US" altLang="en-US" sz="1800">
              <a:solidFill>
                <a:srgbClr val="FFFFF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49808" y="118872"/>
            <a:ext cx="8013192" cy="1636776"/>
          </a:xfrm>
        </p:spPr>
        <p:txBody>
          <a:bodyPr tIns="0" rIns="91440" bIns="0" anchor="b">
            <a:normAutofit/>
          </a:bodyPr>
          <a:lstStyle>
            <a:lvl1pPr algn="l">
              <a:defRPr sz="4700" b="1" cap="none" baseline="0"/>
            </a:lvl1pPr>
            <a:extLst/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40664" y="1828800"/>
            <a:ext cx="8022336" cy="685800"/>
          </a:xfrm>
        </p:spPr>
        <p:txBody>
          <a:bodyPr lIns="146304" tIns="0" rIns="45720" bIns="0"/>
          <a:lstStyle>
            <a:lvl1pPr marL="0" indent="0">
              <a:buNone/>
              <a:defRPr sz="2000">
                <a:solidFill>
                  <a:srgbClr val="FFFFFF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  <a:extLst/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4D3E264F-AFDF-4268-96E7-09AF1B8CE92A}" type="datetime1">
              <a:rPr lang="en-US" altLang="en-US"/>
              <a:pPr/>
              <a:t>2/26/2019</a:t>
            </a:fld>
            <a:endParaRPr lang="en-US" altLang="en-US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endParaRPr lang="en-US" altLang="en-US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73189297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extLst/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79D3833C-F2C7-430E-B22D-117577FEF579}" type="datetime1">
              <a:rPr lang="en-US" altLang="en-US"/>
              <a:pPr/>
              <a:t>2/26/2019</a:t>
            </a:fld>
            <a:endParaRPr lang="en-US" altLang="en-US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en-US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E86C110E-748E-4BF6-A486-CEC2A71F4CA2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403294713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47BFD323-4A4D-4D85-BCE2-B4D01D77E58C}" type="datetime1">
              <a:rPr lang="en-US" altLang="en-US"/>
              <a:pPr/>
              <a:t>2/26/2019</a:t>
            </a:fld>
            <a:endParaRPr lang="en-US" altLang="en-US"/>
          </a:p>
        </p:txBody>
      </p:sp>
      <p:sp>
        <p:nvSpPr>
          <p:cNvPr id="3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en-US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B5348124-A765-4943-8590-31757BD82C17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627484132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 bwMode="invGray">
          <a:xfrm>
            <a:off x="2855913" y="0"/>
            <a:ext cx="46037" cy="1454150"/>
          </a:xfrm>
          <a:prstGeom prst="rect">
            <a:avLst/>
          </a:prstGeom>
          <a:solidFill>
            <a:srgbClr val="FFFFFF"/>
          </a:solidFill>
          <a:ln w="48000" cap="flat" cmpd="thickThin" algn="ctr">
            <a:noFill/>
            <a:prstDash val="solid"/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9pPr>
          </a:lstStyle>
          <a:p>
            <a:pPr algn="ctr" eaLnBrk="1" hangingPunct="1"/>
            <a:endParaRPr lang="en-US" altLang="en-US" sz="1800">
              <a:solidFill>
                <a:srgbClr val="FFFFFF"/>
              </a:solidFill>
            </a:endParaRPr>
          </a:p>
        </p:txBody>
      </p:sp>
      <p:sp>
        <p:nvSpPr>
          <p:cNvPr id="6" name="Rectangle 5"/>
          <p:cNvSpPr/>
          <p:nvPr/>
        </p:nvSpPr>
        <p:spPr bwMode="invGray">
          <a:xfrm>
            <a:off x="2855913" y="0"/>
            <a:ext cx="46037" cy="1454150"/>
          </a:xfrm>
          <a:prstGeom prst="rect">
            <a:avLst/>
          </a:prstGeom>
          <a:solidFill>
            <a:srgbClr val="FFFFFF"/>
          </a:solidFill>
          <a:ln w="48000" cap="flat" cmpd="thickThin" algn="ctr">
            <a:noFill/>
            <a:prstDash val="solid"/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9pPr>
          </a:lstStyle>
          <a:p>
            <a:pPr algn="ctr" eaLnBrk="1" hangingPunct="1"/>
            <a:endParaRPr lang="en-US" altLang="en-US" sz="1800">
              <a:solidFill>
                <a:srgbClr val="FFFFF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7838" y="152400"/>
            <a:ext cx="2523744" cy="978408"/>
          </a:xfrm>
        </p:spPr>
        <p:txBody>
          <a:bodyPr lIns="73152" bIns="0" anchor="b">
            <a:normAutofit/>
            <a:sp3d prstMaterial="matte"/>
          </a:bodyPr>
          <a:lstStyle>
            <a:lvl1pPr algn="l">
              <a:defRPr sz="2000" b="0"/>
            </a:lvl1pPr>
            <a:extLst/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019377" y="1743133"/>
            <a:ext cx="5920641" cy="455888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  <a:extLst/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67838" y="1730018"/>
            <a:ext cx="2468880" cy="4572000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  <a:extLst/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7814DC55-3EB3-457D-9E6F-23088899BB46}" type="datetime1">
              <a:rPr lang="en-US" altLang="en-US"/>
              <a:pPr/>
              <a:t>2/26/2019</a:t>
            </a:fld>
            <a:endParaRPr lang="en-US" altLang="en-US"/>
          </a:p>
        </p:txBody>
      </p:sp>
      <p:sp>
        <p:nvSpPr>
          <p:cNvPr id="8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en-US"/>
          </a:p>
        </p:txBody>
      </p:sp>
      <p:sp>
        <p:nvSpPr>
          <p:cNvPr id="9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6013F9BE-1E00-4012-9F6C-9FBA3D5696D4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356332080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2855913" y="0"/>
            <a:ext cx="46037" cy="6858000"/>
          </a:xfrm>
          <a:prstGeom prst="rect">
            <a:avLst/>
          </a:prstGeom>
          <a:solidFill>
            <a:srgbClr val="FFFFFF"/>
          </a:solidFill>
          <a:ln w="48000" cap="flat" cmpd="thickThin" algn="ctr">
            <a:noFill/>
            <a:prstDash val="solid"/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9pPr>
          </a:lstStyle>
          <a:p>
            <a:pPr algn="ctr" eaLnBrk="1" hangingPunct="1"/>
            <a:endParaRPr lang="en-US" altLang="en-US" sz="1800">
              <a:solidFill>
                <a:srgbClr val="FFFFFF"/>
              </a:solidFill>
            </a:endParaRPr>
          </a:p>
        </p:txBody>
      </p:sp>
      <p:sp>
        <p:nvSpPr>
          <p:cNvPr id="6" name="Rectangle 5"/>
          <p:cNvSpPr/>
          <p:nvPr/>
        </p:nvSpPr>
        <p:spPr bwMode="invGray">
          <a:xfrm>
            <a:off x="2855913" y="0"/>
            <a:ext cx="46037" cy="6858000"/>
          </a:xfrm>
          <a:prstGeom prst="rect">
            <a:avLst/>
          </a:prstGeom>
          <a:solidFill>
            <a:srgbClr val="FFFFFF"/>
          </a:solidFill>
          <a:ln w="48000" cap="flat" cmpd="thickThin" algn="ctr">
            <a:noFill/>
            <a:prstDash val="solid"/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9pPr>
          </a:lstStyle>
          <a:p>
            <a:pPr algn="ctr" eaLnBrk="1" hangingPunct="1"/>
            <a:endParaRPr lang="en-US" altLang="en-US" sz="1800">
              <a:solidFill>
                <a:srgbClr val="FFFFF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4592" y="155448"/>
            <a:ext cx="2525150" cy="978408"/>
          </a:xfrm>
        </p:spPr>
        <p:txBody>
          <a:bodyPr lIns="73152" bIns="0" anchor="b">
            <a:sp3d prstMaterial="matte"/>
          </a:bodyPr>
          <a:lstStyle>
            <a:lvl1pPr algn="l">
              <a:defRPr sz="2000" b="0"/>
            </a:lvl1pPr>
            <a:extLst/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903805" y="1484808"/>
            <a:ext cx="6247397" cy="5373192"/>
          </a:xfrm>
          <a:solidFill>
            <a:schemeClr val="bg2">
              <a:shade val="75000"/>
            </a:schemeClr>
          </a:solidFill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  <a:extLst/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64592" y="1728216"/>
            <a:ext cx="2468880" cy="4572000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  <a:extLst/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Date Placeholder 4"/>
          <p:cNvSpPr>
            <a:spLocks noGrp="1"/>
          </p:cNvSpPr>
          <p:nvPr>
            <p:ph type="dt" sz="half" idx="10"/>
          </p:nvPr>
        </p:nvSpPr>
        <p:spPr>
          <a:xfrm>
            <a:off x="165100" y="1169988"/>
            <a:ext cx="2522538" cy="201612"/>
          </a:xfrm>
        </p:spPr>
        <p:txBody>
          <a:bodyPr/>
          <a:lstStyle>
            <a:lvl1pPr>
              <a:defRPr/>
            </a:lvl1pPr>
          </a:lstStyle>
          <a:p>
            <a:fld id="{DEFC8EEB-04AB-4543-B47A-765E728838AB}" type="datetime1">
              <a:rPr lang="en-US" altLang="en-US"/>
              <a:pPr/>
              <a:t>2/26/2019</a:t>
            </a:fld>
            <a:endParaRPr lang="en-US" altLang="en-US"/>
          </a:p>
        </p:txBody>
      </p:sp>
      <p:sp>
        <p:nvSpPr>
          <p:cNvPr id="8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035300" y="1169988"/>
            <a:ext cx="5194300" cy="201612"/>
          </a:xfrm>
        </p:spPr>
        <p:txBody>
          <a:bodyPr/>
          <a:lstStyle>
            <a:lvl1pPr>
              <a:defRPr>
                <a:solidFill>
                  <a:srgbClr val="BCBCBC"/>
                </a:solidFill>
              </a:defRPr>
            </a:lvl1pPr>
          </a:lstStyle>
          <a:p>
            <a:endParaRPr lang="en-US" altLang="en-US"/>
          </a:p>
        </p:txBody>
      </p:sp>
      <p:sp>
        <p:nvSpPr>
          <p:cNvPr id="9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8339138" y="1169988"/>
            <a:ext cx="733425" cy="201612"/>
          </a:xfrm>
        </p:spPr>
        <p:txBody>
          <a:bodyPr/>
          <a:lstStyle>
            <a:lvl1pPr>
              <a:defRPr/>
            </a:lvl1pPr>
          </a:lstStyle>
          <a:p>
            <a:fld id="{F4124062-C07B-4A5F-8B46-E3C77AA1FCEB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31570021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extLst/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>
            <a:extLst/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6B3A6310-69F8-4F58-8D66-F1E0B315EE3C}" type="datetime1">
              <a:rPr lang="en-US" altLang="en-US"/>
              <a:pPr/>
              <a:t>2/26/2019</a:t>
            </a:fld>
            <a:endParaRPr lang="en-US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E836B339-C93A-4846-920B-B78A407D44D6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271156923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 bwMode="invGray">
          <a:xfrm>
            <a:off x="6599238" y="0"/>
            <a:ext cx="46037" cy="6858000"/>
          </a:xfrm>
          <a:prstGeom prst="rect">
            <a:avLst/>
          </a:prstGeom>
          <a:solidFill>
            <a:srgbClr val="FFFFFF"/>
          </a:solidFill>
          <a:ln w="48000" cap="flat" cmpd="thickThin" algn="ctr">
            <a:noFill/>
            <a:prstDash val="solid"/>
          </a:ln>
          <a:effectLst>
            <a:outerShdw blurRad="31750" dist="10160" dir="10800000" algn="tl" rotWithShape="0">
              <a:srgbClr val="000000">
                <a:alpha val="60000"/>
              </a:srgbClr>
            </a:outerShdw>
          </a:effectLst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9pPr>
          </a:lstStyle>
          <a:p>
            <a:pPr algn="ctr" eaLnBrk="1" hangingPunct="1"/>
            <a:endParaRPr lang="en-US" altLang="en-US" sz="1800">
              <a:solidFill>
                <a:srgbClr val="FFFFFF"/>
              </a:solidFill>
            </a:endParaRPr>
          </a:p>
        </p:txBody>
      </p:sp>
      <p:sp>
        <p:nvSpPr>
          <p:cNvPr id="5" name="Rectangle 4"/>
          <p:cNvSpPr/>
          <p:nvPr/>
        </p:nvSpPr>
        <p:spPr bwMode="ltGray">
          <a:xfrm>
            <a:off x="6648450" y="0"/>
            <a:ext cx="2514600" cy="6858000"/>
          </a:xfrm>
          <a:prstGeom prst="rect">
            <a:avLst/>
          </a:prstGeom>
          <a:solidFill>
            <a:srgbClr val="000000"/>
          </a:solidFill>
          <a:ln w="48000" cap="flat" cmpd="thickThin" algn="ctr">
            <a:noFill/>
            <a:prstDash val="solid"/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9pPr>
          </a:lstStyle>
          <a:p>
            <a:pPr algn="ctr" eaLnBrk="1" hangingPunct="1"/>
            <a:endParaRPr lang="en-US" altLang="en-US" sz="1800">
              <a:solidFill>
                <a:srgbClr val="FFFFFF"/>
              </a:solidFill>
            </a:endParaRPr>
          </a:p>
        </p:txBody>
      </p:sp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781800" y="274640"/>
            <a:ext cx="1905000" cy="5851525"/>
          </a:xfrm>
        </p:spPr>
        <p:txBody>
          <a:bodyPr vert="eaVert"/>
          <a:lstStyle>
            <a:extLst/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304800"/>
            <a:ext cx="6019800" cy="5851525"/>
          </a:xfrm>
        </p:spPr>
        <p:txBody>
          <a:bodyPr vert="eaVert"/>
          <a:lstStyle>
            <a:extLst/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89BD193E-FC6E-4C95-8045-29A06EE2FE75}" type="datetime1">
              <a:rPr lang="en-US" altLang="en-US"/>
              <a:pPr/>
              <a:t>2/26/2019</a:t>
            </a:fld>
            <a:endParaRPr lang="en-US" altLang="en-US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640013" y="6376988"/>
            <a:ext cx="3836987" cy="365125"/>
          </a:xfrm>
        </p:spPr>
        <p:txBody>
          <a:bodyPr/>
          <a:lstStyle>
            <a:lvl1pPr>
              <a:defRPr/>
            </a:lvl1pPr>
          </a:lstStyle>
          <a:p>
            <a:endParaRPr lang="en-US" altLang="en-US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9E1C18DD-9896-4ED6-BA00-52A1A3414F3B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744281071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"/>
          <p:cNvSpPr>
            <a:spLocks noChangeArrowheads="1"/>
          </p:cNvSpPr>
          <p:nvPr/>
        </p:nvSpPr>
        <p:spPr bwMode="invGray">
          <a:xfrm>
            <a:off x="8809038" y="0"/>
            <a:ext cx="334962" cy="6858000"/>
          </a:xfrm>
          <a:prstGeom prst="rect">
            <a:avLst/>
          </a:prstGeom>
          <a:gradFill rotWithShape="0">
            <a:gsLst>
              <a:gs pos="0">
                <a:schemeClr val="accent2"/>
              </a:gs>
              <a:gs pos="50000">
                <a:schemeClr val="hlink"/>
              </a:gs>
              <a:gs pos="100000">
                <a:schemeClr val="accent2"/>
              </a:gs>
            </a:gsLst>
            <a:lin ang="0" scaled="1"/>
          </a:gra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800">
              <a:solidFill>
                <a:srgbClr val="99CCFF"/>
              </a:solidFill>
              <a:latin typeface="Times New Roman"/>
            </a:endParaRPr>
          </a:p>
        </p:txBody>
      </p:sp>
      <p:sp>
        <p:nvSpPr>
          <p:cNvPr id="5" name="Freeform 3"/>
          <p:cNvSpPr>
            <a:spLocks/>
          </p:cNvSpPr>
          <p:nvPr/>
        </p:nvSpPr>
        <p:spPr bwMode="white">
          <a:xfrm>
            <a:off x="-9525" y="4489450"/>
            <a:ext cx="5754688" cy="2368550"/>
          </a:xfrm>
          <a:custGeom>
            <a:avLst/>
            <a:gdLst/>
            <a:ahLst/>
            <a:cxnLst>
              <a:cxn ang="0">
                <a:pos x="0" y="1491"/>
              </a:cxn>
              <a:cxn ang="0">
                <a:pos x="0" y="0"/>
              </a:cxn>
              <a:cxn ang="0">
                <a:pos x="171" y="3"/>
              </a:cxn>
              <a:cxn ang="0">
                <a:pos x="355" y="9"/>
              </a:cxn>
              <a:cxn ang="0">
                <a:pos x="499" y="21"/>
              </a:cxn>
              <a:cxn ang="0">
                <a:pos x="650" y="36"/>
              </a:cxn>
              <a:cxn ang="0">
                <a:pos x="809" y="54"/>
              </a:cxn>
              <a:cxn ang="0">
                <a:pos x="957" y="78"/>
              </a:cxn>
              <a:cxn ang="0">
                <a:pos x="1119" y="105"/>
              </a:cxn>
              <a:cxn ang="0">
                <a:pos x="1261" y="133"/>
              </a:cxn>
              <a:cxn ang="0">
                <a:pos x="1441" y="175"/>
              </a:cxn>
              <a:cxn ang="0">
                <a:pos x="1598" y="217"/>
              </a:cxn>
              <a:cxn ang="0">
                <a:pos x="1763" y="269"/>
              </a:cxn>
              <a:cxn ang="0">
                <a:pos x="1887" y="308"/>
              </a:cxn>
              <a:cxn ang="0">
                <a:pos x="2085" y="384"/>
              </a:cxn>
              <a:cxn ang="0">
                <a:pos x="2230" y="444"/>
              </a:cxn>
              <a:cxn ang="0">
                <a:pos x="2456" y="547"/>
              </a:cxn>
              <a:cxn ang="0">
                <a:pos x="2666" y="662"/>
              </a:cxn>
              <a:cxn ang="0">
                <a:pos x="2859" y="786"/>
              </a:cxn>
              <a:cxn ang="0">
                <a:pos x="3046" y="920"/>
              </a:cxn>
              <a:cxn ang="0">
                <a:pos x="3193" y="1038"/>
              </a:cxn>
              <a:cxn ang="0">
                <a:pos x="3332" y="1168"/>
              </a:cxn>
              <a:cxn ang="0">
                <a:pos x="3440" y="1280"/>
              </a:cxn>
              <a:cxn ang="0">
                <a:pos x="3524" y="1380"/>
              </a:cxn>
              <a:cxn ang="0">
                <a:pos x="3624" y="1491"/>
              </a:cxn>
              <a:cxn ang="0">
                <a:pos x="3608" y="1491"/>
              </a:cxn>
              <a:cxn ang="0">
                <a:pos x="0" y="1491"/>
              </a:cxn>
            </a:cxnLst>
            <a:rect l="0" t="0" r="r" b="b"/>
            <a:pathLst>
              <a:path w="3625" h="1492">
                <a:moveTo>
                  <a:pt x="0" y="1491"/>
                </a:moveTo>
                <a:lnTo>
                  <a:pt x="0" y="0"/>
                </a:lnTo>
                <a:lnTo>
                  <a:pt x="171" y="3"/>
                </a:lnTo>
                <a:lnTo>
                  <a:pt x="355" y="9"/>
                </a:lnTo>
                <a:lnTo>
                  <a:pt x="499" y="21"/>
                </a:lnTo>
                <a:lnTo>
                  <a:pt x="650" y="36"/>
                </a:lnTo>
                <a:lnTo>
                  <a:pt x="809" y="54"/>
                </a:lnTo>
                <a:lnTo>
                  <a:pt x="957" y="78"/>
                </a:lnTo>
                <a:lnTo>
                  <a:pt x="1119" y="105"/>
                </a:lnTo>
                <a:lnTo>
                  <a:pt x="1261" y="133"/>
                </a:lnTo>
                <a:lnTo>
                  <a:pt x="1441" y="175"/>
                </a:lnTo>
                <a:lnTo>
                  <a:pt x="1598" y="217"/>
                </a:lnTo>
                <a:lnTo>
                  <a:pt x="1763" y="269"/>
                </a:lnTo>
                <a:lnTo>
                  <a:pt x="1887" y="308"/>
                </a:lnTo>
                <a:lnTo>
                  <a:pt x="2085" y="384"/>
                </a:lnTo>
                <a:lnTo>
                  <a:pt x="2230" y="444"/>
                </a:lnTo>
                <a:lnTo>
                  <a:pt x="2456" y="547"/>
                </a:lnTo>
                <a:lnTo>
                  <a:pt x="2666" y="662"/>
                </a:lnTo>
                <a:lnTo>
                  <a:pt x="2859" y="786"/>
                </a:lnTo>
                <a:lnTo>
                  <a:pt x="3046" y="920"/>
                </a:lnTo>
                <a:lnTo>
                  <a:pt x="3193" y="1038"/>
                </a:lnTo>
                <a:lnTo>
                  <a:pt x="3332" y="1168"/>
                </a:lnTo>
                <a:lnTo>
                  <a:pt x="3440" y="1280"/>
                </a:lnTo>
                <a:lnTo>
                  <a:pt x="3524" y="1380"/>
                </a:lnTo>
                <a:lnTo>
                  <a:pt x="3624" y="1491"/>
                </a:lnTo>
                <a:lnTo>
                  <a:pt x="3608" y="1491"/>
                </a:lnTo>
                <a:lnTo>
                  <a:pt x="0" y="1491"/>
                </a:lnTo>
              </a:path>
            </a:pathLst>
          </a:custGeom>
          <a:gradFill rotWithShape="0">
            <a:gsLst>
              <a:gs pos="0">
                <a:schemeClr val="bg2"/>
              </a:gs>
              <a:gs pos="100000">
                <a:schemeClr val="bg1"/>
              </a:gs>
            </a:gsLst>
            <a:lin ang="5400000" scaled="1"/>
          </a:gradFill>
          <a:ln w="9525" cap="flat" cmpd="sng">
            <a:noFill/>
            <a:prstDash val="solid"/>
            <a:miter lim="800000"/>
            <a:headEnd type="none" w="sm" len="sm"/>
            <a:tailEnd type="none" w="sm" len="sm"/>
          </a:ln>
          <a:effectLst/>
        </p:spPr>
        <p:txBody>
          <a:bodyPr wrap="none" anchor="ctr"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800">
              <a:solidFill>
                <a:srgbClr val="99CCFF"/>
              </a:solidFill>
              <a:latin typeface="Times New Roman"/>
            </a:endParaRPr>
          </a:p>
        </p:txBody>
      </p:sp>
      <p:sp>
        <p:nvSpPr>
          <p:cNvPr id="6" name="Freeform 4"/>
          <p:cNvSpPr>
            <a:spLocks/>
          </p:cNvSpPr>
          <p:nvPr/>
        </p:nvSpPr>
        <p:spPr bwMode="white">
          <a:xfrm>
            <a:off x="0" y="3817938"/>
            <a:ext cx="8164513" cy="3019425"/>
          </a:xfrm>
          <a:custGeom>
            <a:avLst/>
            <a:gdLst/>
            <a:ahLst/>
            <a:cxnLst>
              <a:cxn ang="0">
                <a:pos x="2718" y="405"/>
              </a:cxn>
              <a:cxn ang="0">
                <a:pos x="2466" y="333"/>
              </a:cxn>
              <a:cxn ang="0">
                <a:pos x="2202" y="261"/>
              </a:cxn>
              <a:cxn ang="0">
                <a:pos x="1929" y="198"/>
              </a:cxn>
              <a:cxn ang="0">
                <a:pos x="1695" y="153"/>
              </a:cxn>
              <a:cxn ang="0">
                <a:pos x="1434" y="111"/>
              </a:cxn>
              <a:cxn ang="0">
                <a:pos x="1188" y="75"/>
              </a:cxn>
              <a:cxn ang="0">
                <a:pos x="957" y="48"/>
              </a:cxn>
              <a:cxn ang="0">
                <a:pos x="747" y="30"/>
              </a:cxn>
              <a:cxn ang="0">
                <a:pos x="501" y="15"/>
              </a:cxn>
              <a:cxn ang="0">
                <a:pos x="246" y="3"/>
              </a:cxn>
              <a:cxn ang="0">
                <a:pos x="0" y="0"/>
              </a:cxn>
              <a:cxn ang="0">
                <a:pos x="0" y="275"/>
              </a:cxn>
              <a:cxn ang="0">
                <a:pos x="0" y="345"/>
              </a:cxn>
              <a:cxn ang="0">
                <a:pos x="0" y="275"/>
              </a:cxn>
              <a:cxn ang="0">
                <a:pos x="0" y="342"/>
              </a:cxn>
              <a:cxn ang="0">
                <a:pos x="339" y="351"/>
              </a:cxn>
              <a:cxn ang="0">
                <a:pos x="606" y="372"/>
              </a:cxn>
              <a:cxn ang="0">
                <a:pos x="852" y="399"/>
              </a:cxn>
              <a:cxn ang="0">
                <a:pos x="1068" y="435"/>
              </a:cxn>
              <a:cxn ang="0">
                <a:pos x="1275" y="474"/>
              </a:cxn>
              <a:cxn ang="0">
                <a:pos x="1545" y="540"/>
              </a:cxn>
              <a:cxn ang="0">
                <a:pos x="1761" y="603"/>
              </a:cxn>
              <a:cxn ang="0">
                <a:pos x="1971" y="678"/>
              </a:cxn>
              <a:cxn ang="0">
                <a:pos x="2166" y="747"/>
              </a:cxn>
              <a:cxn ang="0">
                <a:pos x="2397" y="852"/>
              </a:cxn>
              <a:cxn ang="0">
                <a:pos x="2613" y="960"/>
              </a:cxn>
              <a:cxn ang="0">
                <a:pos x="2832" y="1095"/>
              </a:cxn>
              <a:cxn ang="0">
                <a:pos x="3012" y="1212"/>
              </a:cxn>
              <a:cxn ang="0">
                <a:pos x="3186" y="1347"/>
              </a:cxn>
              <a:cxn ang="0">
                <a:pos x="3351" y="1497"/>
              </a:cxn>
              <a:cxn ang="0">
                <a:pos x="3480" y="1629"/>
              </a:cxn>
              <a:cxn ang="0">
                <a:pos x="3612" y="1785"/>
              </a:cxn>
              <a:cxn ang="0">
                <a:pos x="3699" y="1901"/>
              </a:cxn>
              <a:cxn ang="0">
                <a:pos x="5142" y="1901"/>
              </a:cxn>
              <a:cxn ang="0">
                <a:pos x="5076" y="1827"/>
              </a:cxn>
              <a:cxn ang="0">
                <a:pos x="4968" y="1707"/>
              </a:cxn>
              <a:cxn ang="0">
                <a:pos x="4797" y="1539"/>
              </a:cxn>
              <a:cxn ang="0">
                <a:pos x="4617" y="1383"/>
              </a:cxn>
              <a:cxn ang="0">
                <a:pos x="4410" y="1221"/>
              </a:cxn>
              <a:cxn ang="0">
                <a:pos x="4185" y="1071"/>
              </a:cxn>
              <a:cxn ang="0">
                <a:pos x="3960" y="939"/>
              </a:cxn>
              <a:cxn ang="0">
                <a:pos x="3708" y="801"/>
              </a:cxn>
              <a:cxn ang="0">
                <a:pos x="3492" y="702"/>
              </a:cxn>
              <a:cxn ang="0">
                <a:pos x="3231" y="588"/>
              </a:cxn>
              <a:cxn ang="0">
                <a:pos x="2964" y="489"/>
              </a:cxn>
              <a:cxn ang="0">
                <a:pos x="2718" y="405"/>
              </a:cxn>
            </a:cxnLst>
            <a:rect l="0" t="0" r="r" b="b"/>
            <a:pathLst>
              <a:path w="5143" h="1902">
                <a:moveTo>
                  <a:pt x="2718" y="405"/>
                </a:moveTo>
                <a:lnTo>
                  <a:pt x="2466" y="333"/>
                </a:lnTo>
                <a:lnTo>
                  <a:pt x="2202" y="261"/>
                </a:lnTo>
                <a:lnTo>
                  <a:pt x="1929" y="198"/>
                </a:lnTo>
                <a:lnTo>
                  <a:pt x="1695" y="153"/>
                </a:lnTo>
                <a:lnTo>
                  <a:pt x="1434" y="111"/>
                </a:lnTo>
                <a:lnTo>
                  <a:pt x="1188" y="75"/>
                </a:lnTo>
                <a:lnTo>
                  <a:pt x="957" y="48"/>
                </a:lnTo>
                <a:lnTo>
                  <a:pt x="747" y="30"/>
                </a:lnTo>
                <a:lnTo>
                  <a:pt x="501" y="15"/>
                </a:lnTo>
                <a:lnTo>
                  <a:pt x="246" y="3"/>
                </a:lnTo>
                <a:lnTo>
                  <a:pt x="0" y="0"/>
                </a:lnTo>
                <a:lnTo>
                  <a:pt x="0" y="275"/>
                </a:lnTo>
                <a:lnTo>
                  <a:pt x="0" y="345"/>
                </a:lnTo>
                <a:lnTo>
                  <a:pt x="0" y="275"/>
                </a:lnTo>
                <a:lnTo>
                  <a:pt x="0" y="342"/>
                </a:lnTo>
                <a:lnTo>
                  <a:pt x="339" y="351"/>
                </a:lnTo>
                <a:lnTo>
                  <a:pt x="606" y="372"/>
                </a:lnTo>
                <a:lnTo>
                  <a:pt x="852" y="399"/>
                </a:lnTo>
                <a:lnTo>
                  <a:pt x="1068" y="435"/>
                </a:lnTo>
                <a:lnTo>
                  <a:pt x="1275" y="474"/>
                </a:lnTo>
                <a:lnTo>
                  <a:pt x="1545" y="540"/>
                </a:lnTo>
                <a:lnTo>
                  <a:pt x="1761" y="603"/>
                </a:lnTo>
                <a:lnTo>
                  <a:pt x="1971" y="678"/>
                </a:lnTo>
                <a:lnTo>
                  <a:pt x="2166" y="747"/>
                </a:lnTo>
                <a:lnTo>
                  <a:pt x="2397" y="852"/>
                </a:lnTo>
                <a:lnTo>
                  <a:pt x="2613" y="960"/>
                </a:lnTo>
                <a:lnTo>
                  <a:pt x="2832" y="1095"/>
                </a:lnTo>
                <a:lnTo>
                  <a:pt x="3012" y="1212"/>
                </a:lnTo>
                <a:lnTo>
                  <a:pt x="3186" y="1347"/>
                </a:lnTo>
                <a:lnTo>
                  <a:pt x="3351" y="1497"/>
                </a:lnTo>
                <a:lnTo>
                  <a:pt x="3480" y="1629"/>
                </a:lnTo>
                <a:lnTo>
                  <a:pt x="3612" y="1785"/>
                </a:lnTo>
                <a:lnTo>
                  <a:pt x="3699" y="1901"/>
                </a:lnTo>
                <a:lnTo>
                  <a:pt x="5142" y="1901"/>
                </a:lnTo>
                <a:lnTo>
                  <a:pt x="5076" y="1827"/>
                </a:lnTo>
                <a:lnTo>
                  <a:pt x="4968" y="1707"/>
                </a:lnTo>
                <a:lnTo>
                  <a:pt x="4797" y="1539"/>
                </a:lnTo>
                <a:lnTo>
                  <a:pt x="4617" y="1383"/>
                </a:lnTo>
                <a:lnTo>
                  <a:pt x="4410" y="1221"/>
                </a:lnTo>
                <a:lnTo>
                  <a:pt x="4185" y="1071"/>
                </a:lnTo>
                <a:lnTo>
                  <a:pt x="3960" y="939"/>
                </a:lnTo>
                <a:lnTo>
                  <a:pt x="3708" y="801"/>
                </a:lnTo>
                <a:lnTo>
                  <a:pt x="3492" y="702"/>
                </a:lnTo>
                <a:lnTo>
                  <a:pt x="3231" y="588"/>
                </a:lnTo>
                <a:lnTo>
                  <a:pt x="2964" y="489"/>
                </a:lnTo>
                <a:lnTo>
                  <a:pt x="2718" y="405"/>
                </a:lnTo>
              </a:path>
            </a:pathLst>
          </a:custGeom>
          <a:gradFill rotWithShape="0">
            <a:gsLst>
              <a:gs pos="0">
                <a:schemeClr val="accent2"/>
              </a:gs>
              <a:gs pos="100000">
                <a:schemeClr val="bg1"/>
              </a:gs>
            </a:gsLst>
            <a:lin ang="0" scaled="1"/>
          </a:gradFill>
          <a:ln w="9525" cap="flat" cmpd="sng">
            <a:noFill/>
            <a:prstDash val="solid"/>
            <a:round/>
            <a:headEnd type="none" w="sm" len="sm"/>
            <a:tailEnd type="none" w="sm" len="sm"/>
          </a:ln>
          <a:effectLst/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800">
              <a:solidFill>
                <a:srgbClr val="99CCFF"/>
              </a:solidFill>
              <a:latin typeface="Times New Roman"/>
            </a:endParaRPr>
          </a:p>
        </p:txBody>
      </p:sp>
      <p:sp>
        <p:nvSpPr>
          <p:cNvPr id="7" name="Freeform 5"/>
          <p:cNvSpPr>
            <a:spLocks/>
          </p:cNvSpPr>
          <p:nvPr/>
        </p:nvSpPr>
        <p:spPr bwMode="white">
          <a:xfrm>
            <a:off x="0" y="3146425"/>
            <a:ext cx="9144000" cy="3690938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339"/>
              </a:cxn>
              <a:cxn ang="0">
                <a:pos x="558" y="357"/>
              </a:cxn>
              <a:cxn ang="0">
                <a:pos x="807" y="375"/>
              </a:cxn>
              <a:cxn ang="0">
                <a:pos x="1056" y="399"/>
              </a:cxn>
              <a:cxn ang="0">
                <a:pos x="1272" y="426"/>
              </a:cxn>
              <a:cxn ang="0">
                <a:pos x="1539" y="465"/>
              </a:cxn>
              <a:cxn ang="0">
                <a:pos x="1791" y="510"/>
              </a:cxn>
              <a:cxn ang="0">
                <a:pos x="2076" y="570"/>
              </a:cxn>
              <a:cxn ang="0">
                <a:pos x="2334" y="630"/>
              </a:cxn>
              <a:cxn ang="0">
                <a:pos x="2544" y="687"/>
              </a:cxn>
              <a:cxn ang="0">
                <a:pos x="2775" y="759"/>
              </a:cxn>
              <a:cxn ang="0">
                <a:pos x="3003" y="837"/>
              </a:cxn>
              <a:cxn ang="0">
                <a:pos x="3231" y="924"/>
              </a:cxn>
              <a:cxn ang="0">
                <a:pos x="3438" y="1005"/>
              </a:cxn>
              <a:cxn ang="0">
                <a:pos x="3663" y="1110"/>
              </a:cxn>
              <a:cxn ang="0">
                <a:pos x="3903" y="1233"/>
              </a:cxn>
              <a:cxn ang="0">
                <a:pos x="4149" y="1374"/>
              </a:cxn>
              <a:cxn ang="0">
                <a:pos x="4353" y="1506"/>
              </a:cxn>
              <a:cxn ang="0">
                <a:pos x="4491" y="1602"/>
              </a:cxn>
              <a:cxn ang="0">
                <a:pos x="4668" y="1740"/>
              </a:cxn>
              <a:cxn ang="0">
                <a:pos x="4824" y="1875"/>
              </a:cxn>
              <a:cxn ang="0">
                <a:pos x="4968" y="2016"/>
              </a:cxn>
              <a:cxn ang="0">
                <a:pos x="5100" y="2154"/>
              </a:cxn>
              <a:cxn ang="0">
                <a:pos x="5238" y="2324"/>
              </a:cxn>
              <a:cxn ang="0">
                <a:pos x="5759" y="2324"/>
              </a:cxn>
              <a:cxn ang="0">
                <a:pos x="5759" y="1245"/>
              </a:cxn>
              <a:cxn ang="0">
                <a:pos x="5580" y="1119"/>
              </a:cxn>
              <a:cxn ang="0">
                <a:pos x="5400" y="1020"/>
              </a:cxn>
              <a:cxn ang="0">
                <a:pos x="5205" y="918"/>
              </a:cxn>
              <a:cxn ang="0">
                <a:pos x="5031" y="837"/>
              </a:cxn>
              <a:cxn ang="0">
                <a:pos x="4866" y="771"/>
              </a:cxn>
              <a:cxn ang="0">
                <a:pos x="4710" y="711"/>
              </a:cxn>
              <a:cxn ang="0">
                <a:pos x="4545" y="651"/>
              </a:cxn>
              <a:cxn ang="0">
                <a:pos x="4386" y="600"/>
              </a:cxn>
              <a:cxn ang="0">
                <a:pos x="4248" y="552"/>
              </a:cxn>
              <a:cxn ang="0">
                <a:pos x="3993" y="483"/>
              </a:cxn>
              <a:cxn ang="0">
                <a:pos x="3777" y="423"/>
              </a:cxn>
              <a:cxn ang="0">
                <a:pos x="3564" y="375"/>
              </a:cxn>
              <a:cxn ang="0">
                <a:pos x="3282" y="312"/>
              </a:cxn>
              <a:cxn ang="0">
                <a:pos x="3003" y="261"/>
              </a:cxn>
              <a:cxn ang="0">
                <a:pos x="2733" y="213"/>
              </a:cxn>
              <a:cxn ang="0">
                <a:pos x="2451" y="171"/>
              </a:cxn>
              <a:cxn ang="0">
                <a:pos x="2211" y="138"/>
              </a:cxn>
              <a:cxn ang="0">
                <a:pos x="1974" y="108"/>
              </a:cxn>
              <a:cxn ang="0">
                <a:pos x="1665" y="81"/>
              </a:cxn>
              <a:cxn ang="0">
                <a:pos x="1437" y="60"/>
              </a:cxn>
              <a:cxn ang="0">
                <a:pos x="1125" y="36"/>
              </a:cxn>
              <a:cxn ang="0">
                <a:pos x="828" y="21"/>
              </a:cxn>
              <a:cxn ang="0">
                <a:pos x="558" y="12"/>
              </a:cxn>
              <a:cxn ang="0">
                <a:pos x="282" y="3"/>
              </a:cxn>
              <a:cxn ang="0">
                <a:pos x="0" y="0"/>
              </a:cxn>
            </a:cxnLst>
            <a:rect l="0" t="0" r="r" b="b"/>
            <a:pathLst>
              <a:path w="5760" h="2325">
                <a:moveTo>
                  <a:pt x="0" y="0"/>
                </a:moveTo>
                <a:lnTo>
                  <a:pt x="0" y="339"/>
                </a:lnTo>
                <a:lnTo>
                  <a:pt x="558" y="357"/>
                </a:lnTo>
                <a:lnTo>
                  <a:pt x="807" y="375"/>
                </a:lnTo>
                <a:lnTo>
                  <a:pt x="1056" y="399"/>
                </a:lnTo>
                <a:lnTo>
                  <a:pt x="1272" y="426"/>
                </a:lnTo>
                <a:lnTo>
                  <a:pt x="1539" y="465"/>
                </a:lnTo>
                <a:lnTo>
                  <a:pt x="1791" y="510"/>
                </a:lnTo>
                <a:lnTo>
                  <a:pt x="2076" y="570"/>
                </a:lnTo>
                <a:lnTo>
                  <a:pt x="2334" y="630"/>
                </a:lnTo>
                <a:lnTo>
                  <a:pt x="2544" y="687"/>
                </a:lnTo>
                <a:lnTo>
                  <a:pt x="2775" y="759"/>
                </a:lnTo>
                <a:lnTo>
                  <a:pt x="3003" y="837"/>
                </a:lnTo>
                <a:lnTo>
                  <a:pt x="3231" y="924"/>
                </a:lnTo>
                <a:lnTo>
                  <a:pt x="3438" y="1005"/>
                </a:lnTo>
                <a:lnTo>
                  <a:pt x="3663" y="1110"/>
                </a:lnTo>
                <a:lnTo>
                  <a:pt x="3903" y="1233"/>
                </a:lnTo>
                <a:lnTo>
                  <a:pt x="4149" y="1374"/>
                </a:lnTo>
                <a:lnTo>
                  <a:pt x="4353" y="1506"/>
                </a:lnTo>
                <a:lnTo>
                  <a:pt x="4491" y="1602"/>
                </a:lnTo>
                <a:lnTo>
                  <a:pt x="4668" y="1740"/>
                </a:lnTo>
                <a:lnTo>
                  <a:pt x="4824" y="1875"/>
                </a:lnTo>
                <a:lnTo>
                  <a:pt x="4968" y="2016"/>
                </a:lnTo>
                <a:lnTo>
                  <a:pt x="5100" y="2154"/>
                </a:lnTo>
                <a:lnTo>
                  <a:pt x="5238" y="2324"/>
                </a:lnTo>
                <a:lnTo>
                  <a:pt x="5759" y="2324"/>
                </a:lnTo>
                <a:lnTo>
                  <a:pt x="5759" y="1245"/>
                </a:lnTo>
                <a:lnTo>
                  <a:pt x="5580" y="1119"/>
                </a:lnTo>
                <a:lnTo>
                  <a:pt x="5400" y="1020"/>
                </a:lnTo>
                <a:lnTo>
                  <a:pt x="5205" y="918"/>
                </a:lnTo>
                <a:lnTo>
                  <a:pt x="5031" y="837"/>
                </a:lnTo>
                <a:lnTo>
                  <a:pt x="4866" y="771"/>
                </a:lnTo>
                <a:lnTo>
                  <a:pt x="4710" y="711"/>
                </a:lnTo>
                <a:lnTo>
                  <a:pt x="4545" y="651"/>
                </a:lnTo>
                <a:lnTo>
                  <a:pt x="4386" y="600"/>
                </a:lnTo>
                <a:lnTo>
                  <a:pt x="4248" y="552"/>
                </a:lnTo>
                <a:lnTo>
                  <a:pt x="3993" y="483"/>
                </a:lnTo>
                <a:lnTo>
                  <a:pt x="3777" y="423"/>
                </a:lnTo>
                <a:lnTo>
                  <a:pt x="3564" y="375"/>
                </a:lnTo>
                <a:lnTo>
                  <a:pt x="3282" y="312"/>
                </a:lnTo>
                <a:lnTo>
                  <a:pt x="3003" y="261"/>
                </a:lnTo>
                <a:lnTo>
                  <a:pt x="2733" y="213"/>
                </a:lnTo>
                <a:lnTo>
                  <a:pt x="2451" y="171"/>
                </a:lnTo>
                <a:lnTo>
                  <a:pt x="2211" y="138"/>
                </a:lnTo>
                <a:lnTo>
                  <a:pt x="1974" y="108"/>
                </a:lnTo>
                <a:lnTo>
                  <a:pt x="1665" y="81"/>
                </a:lnTo>
                <a:lnTo>
                  <a:pt x="1437" y="60"/>
                </a:lnTo>
                <a:lnTo>
                  <a:pt x="1125" y="36"/>
                </a:lnTo>
                <a:lnTo>
                  <a:pt x="828" y="21"/>
                </a:lnTo>
                <a:lnTo>
                  <a:pt x="558" y="12"/>
                </a:lnTo>
                <a:lnTo>
                  <a:pt x="282" y="3"/>
                </a:lnTo>
                <a:lnTo>
                  <a:pt x="0" y="0"/>
                </a:lnTo>
              </a:path>
            </a:pathLst>
          </a:custGeom>
          <a:gradFill rotWithShape="0">
            <a:gsLst>
              <a:gs pos="0">
                <a:schemeClr val="accent2"/>
              </a:gs>
              <a:gs pos="100000">
                <a:schemeClr val="bg1"/>
              </a:gs>
            </a:gsLst>
            <a:lin ang="0" scaled="1"/>
          </a:gradFill>
          <a:ln w="9525" cap="flat" cmpd="sng">
            <a:noFill/>
            <a:prstDash val="solid"/>
            <a:round/>
            <a:headEnd type="none" w="sm" len="sm"/>
            <a:tailEnd type="none" w="sm" len="sm"/>
          </a:ln>
          <a:effectLst/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800">
              <a:solidFill>
                <a:srgbClr val="99CCFF"/>
              </a:solidFill>
              <a:latin typeface="Times New Roman"/>
            </a:endParaRPr>
          </a:p>
        </p:txBody>
      </p:sp>
      <p:sp>
        <p:nvSpPr>
          <p:cNvPr id="8" name="Freeform 6"/>
          <p:cNvSpPr>
            <a:spLocks/>
          </p:cNvSpPr>
          <p:nvPr/>
        </p:nvSpPr>
        <p:spPr bwMode="white">
          <a:xfrm>
            <a:off x="0" y="2460625"/>
            <a:ext cx="9144000" cy="2497138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351"/>
              </a:cxn>
              <a:cxn ang="0">
                <a:pos x="282" y="357"/>
              </a:cxn>
              <a:cxn ang="0">
                <a:pos x="627" y="363"/>
              </a:cxn>
              <a:cxn ang="0">
                <a:pos x="960" y="375"/>
              </a:cxn>
              <a:cxn ang="0">
                <a:pos x="1218" y="393"/>
              </a:cxn>
              <a:cxn ang="0">
                <a:pos x="1470" y="411"/>
              </a:cxn>
              <a:cxn ang="0">
                <a:pos x="1746" y="435"/>
              </a:cxn>
              <a:cxn ang="0">
                <a:pos x="2022" y="462"/>
              </a:cxn>
              <a:cxn ang="0">
                <a:pos x="2340" y="504"/>
              </a:cxn>
              <a:cxn ang="0">
                <a:pos x="2664" y="549"/>
              </a:cxn>
              <a:cxn ang="0">
                <a:pos x="2952" y="597"/>
              </a:cxn>
              <a:cxn ang="0">
                <a:pos x="3225" y="648"/>
              </a:cxn>
              <a:cxn ang="0">
                <a:pos x="3513" y="708"/>
              </a:cxn>
              <a:cxn ang="0">
                <a:pos x="3693" y="750"/>
              </a:cxn>
              <a:cxn ang="0">
                <a:pos x="3936" y="810"/>
              </a:cxn>
              <a:cxn ang="0">
                <a:pos x="4095" y="855"/>
              </a:cxn>
              <a:cxn ang="0">
                <a:pos x="4281" y="909"/>
              </a:cxn>
              <a:cxn ang="0">
                <a:pos x="4503" y="981"/>
              </a:cxn>
              <a:cxn ang="0">
                <a:pos x="4704" y="1053"/>
              </a:cxn>
              <a:cxn ang="0">
                <a:pos x="4911" y="1131"/>
              </a:cxn>
              <a:cxn ang="0">
                <a:pos x="5073" y="1197"/>
              </a:cxn>
              <a:cxn ang="0">
                <a:pos x="5256" y="1281"/>
              </a:cxn>
              <a:cxn ang="0">
                <a:pos x="5475" y="1401"/>
              </a:cxn>
              <a:cxn ang="0">
                <a:pos x="5628" y="1482"/>
              </a:cxn>
              <a:cxn ang="0">
                <a:pos x="5759" y="1572"/>
              </a:cxn>
              <a:cxn ang="0">
                <a:pos x="5759" y="633"/>
              </a:cxn>
              <a:cxn ang="0">
                <a:pos x="5493" y="570"/>
              </a:cxn>
              <a:cxn ang="0">
                <a:pos x="5214" y="501"/>
              </a:cxn>
              <a:cxn ang="0">
                <a:pos x="4950" y="444"/>
              </a:cxn>
              <a:cxn ang="0">
                <a:pos x="4701" y="396"/>
              </a:cxn>
              <a:cxn ang="0">
                <a:pos x="4425" y="348"/>
              </a:cxn>
              <a:cxn ang="0">
                <a:pos x="4110" y="294"/>
              </a:cxn>
              <a:cxn ang="0">
                <a:pos x="3813" y="252"/>
              </a:cxn>
              <a:cxn ang="0">
                <a:pos x="3549" y="213"/>
              </a:cxn>
              <a:cxn ang="0">
                <a:pos x="3261" y="183"/>
              </a:cxn>
              <a:cxn ang="0">
                <a:pos x="3015" y="153"/>
              </a:cxn>
              <a:cxn ang="0">
                <a:pos x="2757" y="129"/>
              </a:cxn>
              <a:cxn ang="0">
                <a:pos x="2520" y="105"/>
              </a:cxn>
              <a:cxn ang="0">
                <a:pos x="2301" y="87"/>
              </a:cxn>
              <a:cxn ang="0">
                <a:pos x="2013" y="66"/>
              </a:cxn>
              <a:cxn ang="0">
                <a:pos x="1731" y="48"/>
              </a:cxn>
              <a:cxn ang="0">
                <a:pos x="1524" y="39"/>
              </a:cxn>
              <a:cxn ang="0">
                <a:pos x="1260" y="27"/>
              </a:cxn>
              <a:cxn ang="0">
                <a:pos x="966" y="15"/>
              </a:cxn>
              <a:cxn ang="0">
                <a:pos x="714" y="12"/>
              </a:cxn>
              <a:cxn ang="0">
                <a:pos x="510" y="6"/>
              </a:cxn>
              <a:cxn ang="0">
                <a:pos x="243" y="0"/>
              </a:cxn>
              <a:cxn ang="0">
                <a:pos x="0" y="0"/>
              </a:cxn>
            </a:cxnLst>
            <a:rect l="0" t="0" r="r" b="b"/>
            <a:pathLst>
              <a:path w="5760" h="1573">
                <a:moveTo>
                  <a:pt x="0" y="0"/>
                </a:moveTo>
                <a:lnTo>
                  <a:pt x="0" y="351"/>
                </a:lnTo>
                <a:lnTo>
                  <a:pt x="282" y="357"/>
                </a:lnTo>
                <a:lnTo>
                  <a:pt x="627" y="363"/>
                </a:lnTo>
                <a:lnTo>
                  <a:pt x="960" y="375"/>
                </a:lnTo>
                <a:lnTo>
                  <a:pt x="1218" y="393"/>
                </a:lnTo>
                <a:lnTo>
                  <a:pt x="1470" y="411"/>
                </a:lnTo>
                <a:lnTo>
                  <a:pt x="1746" y="435"/>
                </a:lnTo>
                <a:lnTo>
                  <a:pt x="2022" y="462"/>
                </a:lnTo>
                <a:lnTo>
                  <a:pt x="2340" y="504"/>
                </a:lnTo>
                <a:lnTo>
                  <a:pt x="2664" y="549"/>
                </a:lnTo>
                <a:lnTo>
                  <a:pt x="2952" y="597"/>
                </a:lnTo>
                <a:lnTo>
                  <a:pt x="3225" y="648"/>
                </a:lnTo>
                <a:lnTo>
                  <a:pt x="3513" y="708"/>
                </a:lnTo>
                <a:lnTo>
                  <a:pt x="3693" y="750"/>
                </a:lnTo>
                <a:lnTo>
                  <a:pt x="3936" y="810"/>
                </a:lnTo>
                <a:lnTo>
                  <a:pt x="4095" y="855"/>
                </a:lnTo>
                <a:lnTo>
                  <a:pt x="4281" y="909"/>
                </a:lnTo>
                <a:lnTo>
                  <a:pt x="4503" y="981"/>
                </a:lnTo>
                <a:lnTo>
                  <a:pt x="4704" y="1053"/>
                </a:lnTo>
                <a:lnTo>
                  <a:pt x="4911" y="1131"/>
                </a:lnTo>
                <a:lnTo>
                  <a:pt x="5073" y="1197"/>
                </a:lnTo>
                <a:lnTo>
                  <a:pt x="5256" y="1281"/>
                </a:lnTo>
                <a:lnTo>
                  <a:pt x="5475" y="1401"/>
                </a:lnTo>
                <a:lnTo>
                  <a:pt x="5628" y="1482"/>
                </a:lnTo>
                <a:lnTo>
                  <a:pt x="5759" y="1572"/>
                </a:lnTo>
                <a:lnTo>
                  <a:pt x="5759" y="633"/>
                </a:lnTo>
                <a:lnTo>
                  <a:pt x="5493" y="570"/>
                </a:lnTo>
                <a:lnTo>
                  <a:pt x="5214" y="501"/>
                </a:lnTo>
                <a:lnTo>
                  <a:pt x="4950" y="444"/>
                </a:lnTo>
                <a:lnTo>
                  <a:pt x="4701" y="396"/>
                </a:lnTo>
                <a:lnTo>
                  <a:pt x="4425" y="348"/>
                </a:lnTo>
                <a:lnTo>
                  <a:pt x="4110" y="294"/>
                </a:lnTo>
                <a:lnTo>
                  <a:pt x="3813" y="252"/>
                </a:lnTo>
                <a:lnTo>
                  <a:pt x="3549" y="213"/>
                </a:lnTo>
                <a:lnTo>
                  <a:pt x="3261" y="183"/>
                </a:lnTo>
                <a:lnTo>
                  <a:pt x="3015" y="153"/>
                </a:lnTo>
                <a:lnTo>
                  <a:pt x="2757" y="129"/>
                </a:lnTo>
                <a:lnTo>
                  <a:pt x="2520" y="105"/>
                </a:lnTo>
                <a:lnTo>
                  <a:pt x="2301" y="87"/>
                </a:lnTo>
                <a:lnTo>
                  <a:pt x="2013" y="66"/>
                </a:lnTo>
                <a:lnTo>
                  <a:pt x="1731" y="48"/>
                </a:lnTo>
                <a:lnTo>
                  <a:pt x="1524" y="39"/>
                </a:lnTo>
                <a:lnTo>
                  <a:pt x="1260" y="27"/>
                </a:lnTo>
                <a:lnTo>
                  <a:pt x="966" y="15"/>
                </a:lnTo>
                <a:lnTo>
                  <a:pt x="714" y="12"/>
                </a:lnTo>
                <a:lnTo>
                  <a:pt x="510" y="6"/>
                </a:lnTo>
                <a:lnTo>
                  <a:pt x="243" y="0"/>
                </a:lnTo>
                <a:lnTo>
                  <a:pt x="0" y="0"/>
                </a:lnTo>
              </a:path>
            </a:pathLst>
          </a:custGeom>
          <a:gradFill rotWithShape="0">
            <a:gsLst>
              <a:gs pos="0">
                <a:schemeClr val="accent2"/>
              </a:gs>
              <a:gs pos="100000">
                <a:schemeClr val="bg1"/>
              </a:gs>
            </a:gsLst>
            <a:lin ang="0" scaled="1"/>
          </a:gradFill>
          <a:ln w="9525" cap="flat" cmpd="sng">
            <a:noFill/>
            <a:prstDash val="solid"/>
            <a:round/>
            <a:headEnd type="none" w="sm" len="sm"/>
            <a:tailEnd type="none" w="sm" len="sm"/>
          </a:ln>
          <a:effectLst/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800">
              <a:solidFill>
                <a:srgbClr val="99CCFF"/>
              </a:solidFill>
              <a:latin typeface="Times New Roman"/>
            </a:endParaRPr>
          </a:p>
        </p:txBody>
      </p:sp>
      <p:sp>
        <p:nvSpPr>
          <p:cNvPr id="9" name="Freeform 7"/>
          <p:cNvSpPr>
            <a:spLocks/>
          </p:cNvSpPr>
          <p:nvPr/>
        </p:nvSpPr>
        <p:spPr bwMode="white">
          <a:xfrm>
            <a:off x="0" y="1793875"/>
            <a:ext cx="9144000" cy="1539875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339"/>
              </a:cxn>
              <a:cxn ang="0">
                <a:pos x="318" y="342"/>
              </a:cxn>
              <a:cxn ang="0">
                <a:pos x="591" y="348"/>
              </a:cxn>
              <a:cxn ang="0">
                <a:pos x="846" y="354"/>
              </a:cxn>
              <a:cxn ang="0">
                <a:pos x="1074" y="360"/>
              </a:cxn>
              <a:cxn ang="0">
                <a:pos x="1314" y="366"/>
              </a:cxn>
              <a:cxn ang="0">
                <a:pos x="1599" y="381"/>
              </a:cxn>
              <a:cxn ang="0">
                <a:pos x="1911" y="399"/>
              </a:cxn>
              <a:cxn ang="0">
                <a:pos x="2241" y="420"/>
              </a:cxn>
              <a:cxn ang="0">
                <a:pos x="2619" y="453"/>
              </a:cxn>
              <a:cxn ang="0">
                <a:pos x="2889" y="477"/>
              </a:cxn>
              <a:cxn ang="0">
                <a:pos x="3177" y="507"/>
              </a:cxn>
              <a:cxn ang="0">
                <a:pos x="3498" y="543"/>
              </a:cxn>
              <a:cxn ang="0">
                <a:pos x="3813" y="585"/>
              </a:cxn>
              <a:cxn ang="0">
                <a:pos x="4044" y="618"/>
              </a:cxn>
              <a:cxn ang="0">
                <a:pos x="4365" y="669"/>
              </a:cxn>
              <a:cxn ang="0">
                <a:pos x="4683" y="726"/>
              </a:cxn>
              <a:cxn ang="0">
                <a:pos x="4980" y="786"/>
              </a:cxn>
              <a:cxn ang="0">
                <a:pos x="5268" y="846"/>
              </a:cxn>
              <a:cxn ang="0">
                <a:pos x="5646" y="942"/>
              </a:cxn>
              <a:cxn ang="0">
                <a:pos x="5759" y="969"/>
              </a:cxn>
              <a:cxn ang="0">
                <a:pos x="5759" y="0"/>
              </a:cxn>
              <a:cxn ang="0">
                <a:pos x="0" y="0"/>
              </a:cxn>
            </a:cxnLst>
            <a:rect l="0" t="0" r="r" b="b"/>
            <a:pathLst>
              <a:path w="5760" h="970">
                <a:moveTo>
                  <a:pt x="0" y="0"/>
                </a:moveTo>
                <a:lnTo>
                  <a:pt x="0" y="339"/>
                </a:lnTo>
                <a:lnTo>
                  <a:pt x="318" y="342"/>
                </a:lnTo>
                <a:lnTo>
                  <a:pt x="591" y="348"/>
                </a:lnTo>
                <a:lnTo>
                  <a:pt x="846" y="354"/>
                </a:lnTo>
                <a:lnTo>
                  <a:pt x="1074" y="360"/>
                </a:lnTo>
                <a:lnTo>
                  <a:pt x="1314" y="366"/>
                </a:lnTo>
                <a:lnTo>
                  <a:pt x="1599" y="381"/>
                </a:lnTo>
                <a:lnTo>
                  <a:pt x="1911" y="399"/>
                </a:lnTo>
                <a:lnTo>
                  <a:pt x="2241" y="420"/>
                </a:lnTo>
                <a:lnTo>
                  <a:pt x="2619" y="453"/>
                </a:lnTo>
                <a:lnTo>
                  <a:pt x="2889" y="477"/>
                </a:lnTo>
                <a:lnTo>
                  <a:pt x="3177" y="507"/>
                </a:lnTo>
                <a:lnTo>
                  <a:pt x="3498" y="543"/>
                </a:lnTo>
                <a:lnTo>
                  <a:pt x="3813" y="585"/>
                </a:lnTo>
                <a:lnTo>
                  <a:pt x="4044" y="618"/>
                </a:lnTo>
                <a:lnTo>
                  <a:pt x="4365" y="669"/>
                </a:lnTo>
                <a:lnTo>
                  <a:pt x="4683" y="726"/>
                </a:lnTo>
                <a:lnTo>
                  <a:pt x="4980" y="786"/>
                </a:lnTo>
                <a:lnTo>
                  <a:pt x="5268" y="846"/>
                </a:lnTo>
                <a:lnTo>
                  <a:pt x="5646" y="942"/>
                </a:lnTo>
                <a:lnTo>
                  <a:pt x="5759" y="969"/>
                </a:lnTo>
                <a:lnTo>
                  <a:pt x="5759" y="0"/>
                </a:lnTo>
                <a:lnTo>
                  <a:pt x="0" y="0"/>
                </a:lnTo>
              </a:path>
            </a:pathLst>
          </a:custGeom>
          <a:gradFill rotWithShape="0">
            <a:gsLst>
              <a:gs pos="0">
                <a:schemeClr val="accent2"/>
              </a:gs>
              <a:gs pos="100000">
                <a:schemeClr val="bg1"/>
              </a:gs>
            </a:gsLst>
            <a:lin ang="0" scaled="1"/>
          </a:gradFill>
          <a:ln w="9525" cap="flat" cmpd="sng">
            <a:noFill/>
            <a:prstDash val="solid"/>
            <a:round/>
            <a:headEnd type="none" w="sm" len="sm"/>
            <a:tailEnd type="none" w="sm" len="sm"/>
          </a:ln>
          <a:effectLst/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800">
              <a:solidFill>
                <a:srgbClr val="99CCFF"/>
              </a:solidFill>
              <a:latin typeface="Times New Roman"/>
            </a:endParaRPr>
          </a:p>
        </p:txBody>
      </p:sp>
      <p:sp>
        <p:nvSpPr>
          <p:cNvPr id="10" name="Freeform 8"/>
          <p:cNvSpPr>
            <a:spLocks/>
          </p:cNvSpPr>
          <p:nvPr/>
        </p:nvSpPr>
        <p:spPr bwMode="white">
          <a:xfrm>
            <a:off x="0" y="-20638"/>
            <a:ext cx="9144000" cy="1682751"/>
          </a:xfrm>
          <a:custGeom>
            <a:avLst/>
            <a:gdLst/>
            <a:ahLst/>
            <a:cxnLst>
              <a:cxn ang="0">
                <a:pos x="0" y="753"/>
              </a:cxn>
              <a:cxn ang="0">
                <a:pos x="0" y="1059"/>
              </a:cxn>
              <a:cxn ang="0">
                <a:pos x="5759" y="1059"/>
              </a:cxn>
              <a:cxn ang="0">
                <a:pos x="5759" y="0"/>
              </a:cxn>
              <a:cxn ang="0">
                <a:pos x="5430" y="0"/>
              </a:cxn>
              <a:cxn ang="0">
                <a:pos x="5298" y="84"/>
              </a:cxn>
              <a:cxn ang="0">
                <a:pos x="5136" y="159"/>
              </a:cxn>
              <a:cxn ang="0">
                <a:pos x="4968" y="222"/>
              </a:cxn>
              <a:cxn ang="0">
                <a:pos x="4812" y="267"/>
              </a:cxn>
              <a:cxn ang="0">
                <a:pos x="4626" y="324"/>
              </a:cxn>
              <a:cxn ang="0">
                <a:pos x="4440" y="366"/>
              </a:cxn>
              <a:cxn ang="0">
                <a:pos x="4230" y="414"/>
              </a:cxn>
              <a:cxn ang="0">
                <a:pos x="3939" y="468"/>
              </a:cxn>
              <a:cxn ang="0">
                <a:pos x="3711" y="504"/>
              </a:cxn>
              <a:cxn ang="0">
                <a:pos x="3441" y="543"/>
              </a:cxn>
              <a:cxn ang="0">
                <a:pos x="3189" y="579"/>
              </a:cxn>
              <a:cxn ang="0">
                <a:pos x="2925" y="606"/>
              </a:cxn>
              <a:cxn ang="0">
                <a:pos x="2679" y="633"/>
              </a:cxn>
              <a:cxn ang="0">
                <a:pos x="2418" y="654"/>
              </a:cxn>
              <a:cxn ang="0">
                <a:pos x="2142" y="675"/>
              </a:cxn>
              <a:cxn ang="0">
                <a:pos x="1896" y="693"/>
              </a:cxn>
              <a:cxn ang="0">
                <a:pos x="1647" y="708"/>
              </a:cxn>
              <a:cxn ang="0">
                <a:pos x="1404" y="720"/>
              </a:cxn>
              <a:cxn ang="0">
                <a:pos x="1170" y="732"/>
              </a:cxn>
              <a:cxn ang="0">
                <a:pos x="906" y="738"/>
              </a:cxn>
              <a:cxn ang="0">
                <a:pos x="534" y="747"/>
              </a:cxn>
              <a:cxn ang="0">
                <a:pos x="201" y="753"/>
              </a:cxn>
              <a:cxn ang="0">
                <a:pos x="0" y="753"/>
              </a:cxn>
            </a:cxnLst>
            <a:rect l="0" t="0" r="r" b="b"/>
            <a:pathLst>
              <a:path w="5760" h="1060">
                <a:moveTo>
                  <a:pt x="0" y="753"/>
                </a:moveTo>
                <a:lnTo>
                  <a:pt x="0" y="1059"/>
                </a:lnTo>
                <a:lnTo>
                  <a:pt x="5759" y="1059"/>
                </a:lnTo>
                <a:lnTo>
                  <a:pt x="5759" y="0"/>
                </a:lnTo>
                <a:lnTo>
                  <a:pt x="5430" y="0"/>
                </a:lnTo>
                <a:lnTo>
                  <a:pt x="5298" y="84"/>
                </a:lnTo>
                <a:lnTo>
                  <a:pt x="5136" y="159"/>
                </a:lnTo>
                <a:lnTo>
                  <a:pt x="4968" y="222"/>
                </a:lnTo>
                <a:lnTo>
                  <a:pt x="4812" y="267"/>
                </a:lnTo>
                <a:lnTo>
                  <a:pt x="4626" y="324"/>
                </a:lnTo>
                <a:lnTo>
                  <a:pt x="4440" y="366"/>
                </a:lnTo>
                <a:lnTo>
                  <a:pt x="4230" y="414"/>
                </a:lnTo>
                <a:lnTo>
                  <a:pt x="3939" y="468"/>
                </a:lnTo>
                <a:lnTo>
                  <a:pt x="3711" y="504"/>
                </a:lnTo>
                <a:lnTo>
                  <a:pt x="3441" y="543"/>
                </a:lnTo>
                <a:lnTo>
                  <a:pt x="3189" y="579"/>
                </a:lnTo>
                <a:lnTo>
                  <a:pt x="2925" y="606"/>
                </a:lnTo>
                <a:lnTo>
                  <a:pt x="2679" y="633"/>
                </a:lnTo>
                <a:lnTo>
                  <a:pt x="2418" y="654"/>
                </a:lnTo>
                <a:lnTo>
                  <a:pt x="2142" y="675"/>
                </a:lnTo>
                <a:lnTo>
                  <a:pt x="1896" y="693"/>
                </a:lnTo>
                <a:lnTo>
                  <a:pt x="1647" y="708"/>
                </a:lnTo>
                <a:lnTo>
                  <a:pt x="1404" y="720"/>
                </a:lnTo>
                <a:lnTo>
                  <a:pt x="1170" y="732"/>
                </a:lnTo>
                <a:lnTo>
                  <a:pt x="906" y="738"/>
                </a:lnTo>
                <a:lnTo>
                  <a:pt x="534" y="747"/>
                </a:lnTo>
                <a:lnTo>
                  <a:pt x="201" y="753"/>
                </a:lnTo>
                <a:lnTo>
                  <a:pt x="0" y="753"/>
                </a:lnTo>
              </a:path>
            </a:pathLst>
          </a:custGeom>
          <a:gradFill rotWithShape="0">
            <a:gsLst>
              <a:gs pos="0">
                <a:schemeClr val="accent2"/>
              </a:gs>
              <a:gs pos="100000">
                <a:schemeClr val="bg1"/>
              </a:gs>
            </a:gsLst>
            <a:lin ang="0" scaled="1"/>
          </a:gradFill>
          <a:ln w="9525" cap="flat" cmpd="sng">
            <a:noFill/>
            <a:prstDash val="solid"/>
            <a:round/>
            <a:headEnd type="none" w="sm" len="sm"/>
            <a:tailEnd type="none" w="sm" len="sm"/>
          </a:ln>
          <a:effectLst/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800">
              <a:solidFill>
                <a:srgbClr val="99CCFF"/>
              </a:solidFill>
              <a:latin typeface="Times New Roman"/>
            </a:endParaRPr>
          </a:p>
        </p:txBody>
      </p:sp>
      <p:sp>
        <p:nvSpPr>
          <p:cNvPr id="11" name="Freeform 9"/>
          <p:cNvSpPr>
            <a:spLocks/>
          </p:cNvSpPr>
          <p:nvPr/>
        </p:nvSpPr>
        <p:spPr bwMode="white">
          <a:xfrm>
            <a:off x="0" y="-20638"/>
            <a:ext cx="8388350" cy="1068388"/>
          </a:xfrm>
          <a:custGeom>
            <a:avLst/>
            <a:gdLst/>
            <a:ahLst/>
            <a:cxnLst>
              <a:cxn ang="0">
                <a:pos x="0" y="366"/>
              </a:cxn>
              <a:cxn ang="0">
                <a:pos x="0" y="672"/>
              </a:cxn>
              <a:cxn ang="0">
                <a:pos x="303" y="672"/>
              </a:cxn>
              <a:cxn ang="0">
                <a:pos x="723" y="663"/>
              </a:cxn>
              <a:cxn ang="0">
                <a:pos x="1020" y="654"/>
              </a:cxn>
              <a:cxn ang="0">
                <a:pos x="1302" y="642"/>
              </a:cxn>
              <a:cxn ang="0">
                <a:pos x="1554" y="630"/>
              </a:cxn>
              <a:cxn ang="0">
                <a:pos x="1779" y="615"/>
              </a:cxn>
              <a:cxn ang="0">
                <a:pos x="1962" y="606"/>
              </a:cxn>
              <a:cxn ang="0">
                <a:pos x="2193" y="588"/>
              </a:cxn>
              <a:cxn ang="0">
                <a:pos x="2448" y="570"/>
              </a:cxn>
              <a:cxn ang="0">
                <a:pos x="2700" y="546"/>
              </a:cxn>
              <a:cxn ang="0">
                <a:pos x="2904" y="528"/>
              </a:cxn>
              <a:cxn ang="0">
                <a:pos x="3138" y="498"/>
              </a:cxn>
              <a:cxn ang="0">
                <a:pos x="3324" y="474"/>
              </a:cxn>
              <a:cxn ang="0">
                <a:pos x="3534" y="447"/>
              </a:cxn>
              <a:cxn ang="0">
                <a:pos x="3735" y="420"/>
              </a:cxn>
              <a:cxn ang="0">
                <a:pos x="3933" y="384"/>
              </a:cxn>
              <a:cxn ang="0">
                <a:pos x="4116" y="351"/>
              </a:cxn>
              <a:cxn ang="0">
                <a:pos x="4266" y="318"/>
              </a:cxn>
              <a:cxn ang="0">
                <a:pos x="4446" y="279"/>
              </a:cxn>
              <a:cxn ang="0">
                <a:pos x="4620" y="237"/>
              </a:cxn>
              <a:cxn ang="0">
                <a:pos x="4779" y="192"/>
              </a:cxn>
              <a:cxn ang="0">
                <a:pos x="4920" y="147"/>
              </a:cxn>
              <a:cxn ang="0">
                <a:pos x="5085" y="90"/>
              </a:cxn>
              <a:cxn ang="0">
                <a:pos x="5193" y="42"/>
              </a:cxn>
              <a:cxn ang="0">
                <a:pos x="5283" y="0"/>
              </a:cxn>
              <a:cxn ang="0">
                <a:pos x="3201" y="0"/>
              </a:cxn>
              <a:cxn ang="0">
                <a:pos x="2982" y="57"/>
              </a:cxn>
              <a:cxn ang="0">
                <a:pos x="2775" y="108"/>
              </a:cxn>
              <a:cxn ang="0">
                <a:pos x="2562" y="150"/>
              </a:cxn>
              <a:cxn ang="0">
                <a:pos x="2397" y="183"/>
              </a:cxn>
              <a:cxn ang="0">
                <a:pos x="2205" y="213"/>
              </a:cxn>
              <a:cxn ang="0">
                <a:pos x="2001" y="243"/>
              </a:cxn>
              <a:cxn ang="0">
                <a:pos x="1776" y="273"/>
              </a:cxn>
              <a:cxn ang="0">
                <a:pos x="1536" y="297"/>
              </a:cxn>
              <a:cxn ang="0">
                <a:pos x="1344" y="312"/>
              </a:cxn>
              <a:cxn ang="0">
                <a:pos x="1134" y="330"/>
              </a:cxn>
              <a:cxn ang="0">
                <a:pos x="921" y="342"/>
              </a:cxn>
              <a:cxn ang="0">
                <a:pos x="696" y="354"/>
              </a:cxn>
              <a:cxn ang="0">
                <a:pos x="501" y="360"/>
              </a:cxn>
              <a:cxn ang="0">
                <a:pos x="279" y="366"/>
              </a:cxn>
              <a:cxn ang="0">
                <a:pos x="99" y="369"/>
              </a:cxn>
              <a:cxn ang="0">
                <a:pos x="0" y="366"/>
              </a:cxn>
            </a:cxnLst>
            <a:rect l="0" t="0" r="r" b="b"/>
            <a:pathLst>
              <a:path w="5284" h="673">
                <a:moveTo>
                  <a:pt x="0" y="366"/>
                </a:moveTo>
                <a:lnTo>
                  <a:pt x="0" y="672"/>
                </a:lnTo>
                <a:lnTo>
                  <a:pt x="303" y="672"/>
                </a:lnTo>
                <a:lnTo>
                  <a:pt x="723" y="663"/>
                </a:lnTo>
                <a:lnTo>
                  <a:pt x="1020" y="654"/>
                </a:lnTo>
                <a:lnTo>
                  <a:pt x="1302" y="642"/>
                </a:lnTo>
                <a:lnTo>
                  <a:pt x="1554" y="630"/>
                </a:lnTo>
                <a:lnTo>
                  <a:pt x="1779" y="615"/>
                </a:lnTo>
                <a:lnTo>
                  <a:pt x="1962" y="606"/>
                </a:lnTo>
                <a:lnTo>
                  <a:pt x="2193" y="588"/>
                </a:lnTo>
                <a:lnTo>
                  <a:pt x="2448" y="570"/>
                </a:lnTo>
                <a:lnTo>
                  <a:pt x="2700" y="546"/>
                </a:lnTo>
                <a:lnTo>
                  <a:pt x="2904" y="528"/>
                </a:lnTo>
                <a:lnTo>
                  <a:pt x="3138" y="498"/>
                </a:lnTo>
                <a:lnTo>
                  <a:pt x="3324" y="474"/>
                </a:lnTo>
                <a:lnTo>
                  <a:pt x="3534" y="447"/>
                </a:lnTo>
                <a:lnTo>
                  <a:pt x="3735" y="420"/>
                </a:lnTo>
                <a:lnTo>
                  <a:pt x="3933" y="384"/>
                </a:lnTo>
                <a:lnTo>
                  <a:pt x="4116" y="351"/>
                </a:lnTo>
                <a:lnTo>
                  <a:pt x="4266" y="318"/>
                </a:lnTo>
                <a:lnTo>
                  <a:pt x="4446" y="279"/>
                </a:lnTo>
                <a:lnTo>
                  <a:pt x="4620" y="237"/>
                </a:lnTo>
                <a:lnTo>
                  <a:pt x="4779" y="192"/>
                </a:lnTo>
                <a:lnTo>
                  <a:pt x="4920" y="147"/>
                </a:lnTo>
                <a:lnTo>
                  <a:pt x="5085" y="90"/>
                </a:lnTo>
                <a:lnTo>
                  <a:pt x="5193" y="42"/>
                </a:lnTo>
                <a:lnTo>
                  <a:pt x="5283" y="0"/>
                </a:lnTo>
                <a:lnTo>
                  <a:pt x="3201" y="0"/>
                </a:lnTo>
                <a:lnTo>
                  <a:pt x="2982" y="57"/>
                </a:lnTo>
                <a:lnTo>
                  <a:pt x="2775" y="108"/>
                </a:lnTo>
                <a:lnTo>
                  <a:pt x="2562" y="150"/>
                </a:lnTo>
                <a:lnTo>
                  <a:pt x="2397" y="183"/>
                </a:lnTo>
                <a:lnTo>
                  <a:pt x="2205" y="213"/>
                </a:lnTo>
                <a:lnTo>
                  <a:pt x="2001" y="243"/>
                </a:lnTo>
                <a:lnTo>
                  <a:pt x="1776" y="273"/>
                </a:lnTo>
                <a:lnTo>
                  <a:pt x="1536" y="297"/>
                </a:lnTo>
                <a:lnTo>
                  <a:pt x="1344" y="312"/>
                </a:lnTo>
                <a:lnTo>
                  <a:pt x="1134" y="330"/>
                </a:lnTo>
                <a:lnTo>
                  <a:pt x="921" y="342"/>
                </a:lnTo>
                <a:lnTo>
                  <a:pt x="696" y="354"/>
                </a:lnTo>
                <a:lnTo>
                  <a:pt x="501" y="360"/>
                </a:lnTo>
                <a:lnTo>
                  <a:pt x="279" y="366"/>
                </a:lnTo>
                <a:lnTo>
                  <a:pt x="99" y="369"/>
                </a:lnTo>
                <a:lnTo>
                  <a:pt x="0" y="366"/>
                </a:lnTo>
              </a:path>
            </a:pathLst>
          </a:custGeom>
          <a:gradFill rotWithShape="0">
            <a:gsLst>
              <a:gs pos="0">
                <a:schemeClr val="accent2"/>
              </a:gs>
              <a:gs pos="100000">
                <a:schemeClr val="bg1"/>
              </a:gs>
            </a:gsLst>
            <a:lin ang="0" scaled="1"/>
          </a:gradFill>
          <a:ln w="9525" cap="flat" cmpd="sng">
            <a:noFill/>
            <a:prstDash val="solid"/>
            <a:round/>
            <a:headEnd type="none" w="sm" len="sm"/>
            <a:tailEnd type="none" w="sm" len="sm"/>
          </a:ln>
          <a:effectLst/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800">
              <a:solidFill>
                <a:srgbClr val="99CCFF"/>
              </a:solidFill>
              <a:latin typeface="Times New Roman"/>
            </a:endParaRPr>
          </a:p>
        </p:txBody>
      </p:sp>
      <p:sp>
        <p:nvSpPr>
          <p:cNvPr id="12" name="Freeform 10"/>
          <p:cNvSpPr>
            <a:spLocks/>
          </p:cNvSpPr>
          <p:nvPr/>
        </p:nvSpPr>
        <p:spPr bwMode="white">
          <a:xfrm>
            <a:off x="0" y="-20638"/>
            <a:ext cx="4578350" cy="454026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285"/>
              </a:cxn>
              <a:cxn ang="0">
                <a:pos x="192" y="285"/>
              </a:cxn>
              <a:cxn ang="0">
                <a:pos x="384" y="282"/>
              </a:cxn>
              <a:cxn ang="0">
                <a:pos x="579" y="276"/>
              </a:cxn>
              <a:cxn ang="0">
                <a:pos x="789" y="267"/>
              </a:cxn>
              <a:cxn ang="0">
                <a:pos x="999" y="258"/>
              </a:cxn>
              <a:cxn ang="0">
                <a:pos x="1161" y="246"/>
              </a:cxn>
              <a:cxn ang="0">
                <a:pos x="1302" y="234"/>
              </a:cxn>
              <a:cxn ang="0">
                <a:pos x="1458" y="222"/>
              </a:cxn>
              <a:cxn ang="0">
                <a:pos x="1665" y="201"/>
              </a:cxn>
              <a:cxn ang="0">
                <a:pos x="1992" y="159"/>
              </a:cxn>
              <a:cxn ang="0">
                <a:pos x="2301" y="117"/>
              </a:cxn>
              <a:cxn ang="0">
                <a:pos x="2604" y="60"/>
              </a:cxn>
              <a:cxn ang="0">
                <a:pos x="2883" y="0"/>
              </a:cxn>
              <a:cxn ang="0">
                <a:pos x="0" y="0"/>
              </a:cxn>
            </a:cxnLst>
            <a:rect l="0" t="0" r="r" b="b"/>
            <a:pathLst>
              <a:path w="2884" h="286">
                <a:moveTo>
                  <a:pt x="0" y="0"/>
                </a:moveTo>
                <a:lnTo>
                  <a:pt x="0" y="285"/>
                </a:lnTo>
                <a:lnTo>
                  <a:pt x="192" y="285"/>
                </a:lnTo>
                <a:lnTo>
                  <a:pt x="384" y="282"/>
                </a:lnTo>
                <a:lnTo>
                  <a:pt x="579" y="276"/>
                </a:lnTo>
                <a:lnTo>
                  <a:pt x="789" y="267"/>
                </a:lnTo>
                <a:lnTo>
                  <a:pt x="999" y="258"/>
                </a:lnTo>
                <a:lnTo>
                  <a:pt x="1161" y="246"/>
                </a:lnTo>
                <a:lnTo>
                  <a:pt x="1302" y="234"/>
                </a:lnTo>
                <a:lnTo>
                  <a:pt x="1458" y="222"/>
                </a:lnTo>
                <a:lnTo>
                  <a:pt x="1665" y="201"/>
                </a:lnTo>
                <a:lnTo>
                  <a:pt x="1992" y="159"/>
                </a:lnTo>
                <a:lnTo>
                  <a:pt x="2301" y="117"/>
                </a:lnTo>
                <a:lnTo>
                  <a:pt x="2604" y="60"/>
                </a:lnTo>
                <a:lnTo>
                  <a:pt x="2883" y="0"/>
                </a:lnTo>
                <a:lnTo>
                  <a:pt x="0" y="0"/>
                </a:lnTo>
              </a:path>
            </a:pathLst>
          </a:custGeom>
          <a:gradFill rotWithShape="0">
            <a:gsLst>
              <a:gs pos="0">
                <a:schemeClr val="accent2"/>
              </a:gs>
              <a:gs pos="100000">
                <a:schemeClr val="bg1"/>
              </a:gs>
            </a:gsLst>
            <a:lin ang="0" scaled="1"/>
          </a:gradFill>
          <a:ln w="9525">
            <a:noFill/>
            <a:round/>
            <a:headEnd type="none" w="sm" len="sm"/>
            <a:tailEnd type="none" w="sm" len="sm"/>
          </a:ln>
          <a:effectLst/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800">
              <a:solidFill>
                <a:srgbClr val="99CCFF"/>
              </a:solidFill>
              <a:latin typeface="Times New Roman"/>
            </a:endParaRPr>
          </a:p>
        </p:txBody>
      </p:sp>
      <p:sp>
        <p:nvSpPr>
          <p:cNvPr id="43019" name="Rectangle 11"/>
          <p:cNvSpPr>
            <a:spLocks noGrp="1" noChangeArrowheads="1"/>
          </p:cNvSpPr>
          <p:nvPr>
            <p:ph type="ctrTitle"/>
          </p:nvPr>
        </p:nvSpPr>
        <p:spPr>
          <a:xfrm>
            <a:off x="685800" y="2286000"/>
            <a:ext cx="7772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3020" name="Rectangle 12"/>
          <p:cNvSpPr>
            <a:spLocks noGrp="1" noChangeArrowheads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FontTx/>
              <a:buNone/>
              <a:defRPr/>
            </a:lvl1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3" name="Rectangle 13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99CCFF"/>
              </a:solidFill>
            </a:endParaRPr>
          </a:p>
        </p:txBody>
      </p:sp>
      <p:sp>
        <p:nvSpPr>
          <p:cNvPr id="14" name="Rectangle 14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99CCFF"/>
                </a:solidFill>
              </a:rPr>
              <a:t>Robert Jackson Marks II</a:t>
            </a:r>
          </a:p>
        </p:txBody>
      </p:sp>
      <p:sp>
        <p:nvSpPr>
          <p:cNvPr id="15" name="Rectangle 15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BEA045F-44C1-468B-8BDE-D95C620729F0}" type="slidenum">
              <a:rPr lang="en-US">
                <a:solidFill>
                  <a:srgbClr val="99CCFF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99CC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1876910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sameClick" afterEffect="1">
                                          <p:stCondLst>
                                            <p:cond evt="end" delay="0">
                                              <p:tn val="5"/>
                                            </p:cond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</p:bldLst>
  </p:timing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99CCFF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99CCFF"/>
                </a:solidFill>
              </a:rPr>
              <a:t>Robert Jackson Marks II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3C4E7F0-A5E0-42D9-9376-FABB54E1A7FD}" type="slidenum">
              <a:rPr lang="en-US">
                <a:solidFill>
                  <a:srgbClr val="99CCFF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99CC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350699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IN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N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FEE3592C-B0C1-494D-9F45-29A754A7EBDC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105385865"/>
      </p:ext>
    </p:extLst>
  </p:cSld>
  <p:clrMapOvr>
    <a:masterClrMapping/>
  </p:clrMapOvr>
  <p:transition/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99CCFF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99CCFF"/>
                </a:solidFill>
              </a:rPr>
              <a:t>Robert Jackson Marks II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B31854E-F21B-46B8-9264-12F50A616E97}" type="slidenum">
              <a:rPr lang="en-US">
                <a:solidFill>
                  <a:srgbClr val="99CCFF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99CC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46160962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85800" y="1981200"/>
            <a:ext cx="3810000" cy="4114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981200"/>
            <a:ext cx="3810000" cy="4114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99CCFF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99CCFF"/>
                </a:solidFill>
              </a:rPr>
              <a:t>Robert Jackson Marks II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C82514C-D03A-4D4F-BF54-C04AD81AC2E8}" type="slidenum">
              <a:rPr lang="en-US">
                <a:solidFill>
                  <a:srgbClr val="99CCFF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99CC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18648050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99CCFF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99CCFF"/>
                </a:solidFill>
              </a:rPr>
              <a:t>Robert Jackson Marks II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D74752E-46D1-46A4-8AA3-6335C7DC06BC}" type="slidenum">
              <a:rPr lang="en-US">
                <a:solidFill>
                  <a:srgbClr val="99CCFF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99CC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36222740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99CCFF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99CCFF"/>
                </a:solidFill>
              </a:rPr>
              <a:t>Robert Jackson Marks II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C6DA7CD-F85F-4E2D-960A-CC94F2CB0BB1}" type="slidenum">
              <a:rPr lang="en-US">
                <a:solidFill>
                  <a:srgbClr val="99CCFF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99CC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52735187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99CCFF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99CCFF"/>
                </a:solidFill>
              </a:rPr>
              <a:t>Robert Jackson Marks II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7A71A24-539A-43AE-BF4C-23A1AF146FA0}" type="slidenum">
              <a:rPr lang="en-US">
                <a:solidFill>
                  <a:srgbClr val="99CCFF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99CC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46384858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99CCFF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99CCFF"/>
                </a:solidFill>
              </a:rPr>
              <a:t>Robert Jackson Marks II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5A9D9C6-885F-4653-B24C-F92E14ECC2E6}" type="slidenum">
              <a:rPr lang="en-US">
                <a:solidFill>
                  <a:srgbClr val="99CCFF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99CC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79838733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99CCFF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99CCFF"/>
                </a:solidFill>
              </a:rPr>
              <a:t>Robert Jackson Marks II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4FCEBE3-F0D7-48E9-8460-FBFCD3B1C2D3}" type="slidenum">
              <a:rPr lang="en-US">
                <a:solidFill>
                  <a:srgbClr val="99CCFF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99CC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00002591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99CCFF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99CCFF"/>
                </a:solidFill>
              </a:rPr>
              <a:t>Robert Jackson Marks II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571521F-0F49-4067-9DF6-58CD90C4E087}" type="slidenum">
              <a:rPr lang="en-US">
                <a:solidFill>
                  <a:srgbClr val="99CCFF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99CC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98407343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15100" y="609600"/>
            <a:ext cx="1943100" cy="5486400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85800" y="609600"/>
            <a:ext cx="5676900" cy="5486400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99CCFF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99CCFF"/>
                </a:solidFill>
              </a:rPr>
              <a:t>Robert Jackson Marks II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A8A57F5-0C18-4C1D-8B04-75D52BDBE641}" type="slidenum">
              <a:rPr lang="en-US">
                <a:solidFill>
                  <a:srgbClr val="99CCFF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99CC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39362942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_e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850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ktangel 13"/>
          <p:cNvSpPr/>
          <p:nvPr userDrawn="1"/>
        </p:nvSpPr>
        <p:spPr bwMode="gray">
          <a:xfrm>
            <a:off x="0" y="3613150"/>
            <a:ext cx="9144000" cy="32448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en-GB" sz="1800">
              <a:solidFill>
                <a:prstClr val="white"/>
              </a:solidFill>
            </a:endParaRPr>
          </a:p>
        </p:txBody>
      </p:sp>
      <p:sp>
        <p:nvSpPr>
          <p:cNvPr id="2" name="Rubrik 1"/>
          <p:cNvSpPr>
            <a:spLocks noGrp="1"/>
          </p:cNvSpPr>
          <p:nvPr>
            <p:ph type="ctrTitle"/>
          </p:nvPr>
        </p:nvSpPr>
        <p:spPr bwMode="gray">
          <a:xfrm>
            <a:off x="1568185" y="1161181"/>
            <a:ext cx="6984337" cy="1043684"/>
          </a:xfrm>
        </p:spPr>
        <p:txBody>
          <a:bodyPr>
            <a:normAutofit/>
          </a:bodyPr>
          <a:lstStyle>
            <a:lvl1pPr algn="l">
              <a:lnSpc>
                <a:spcPts val="3800"/>
              </a:lnSpc>
              <a:defRPr sz="3600" b="1"/>
            </a:lvl1pPr>
          </a:lstStyle>
          <a:p>
            <a:r>
              <a:rPr lang="sv-SE" smtClean="0"/>
              <a:t>Klicka här för att ändra format</a:t>
            </a:r>
            <a:endParaRPr lang="en-GB" dirty="0"/>
          </a:p>
        </p:txBody>
      </p:sp>
      <p:sp>
        <p:nvSpPr>
          <p:cNvPr id="3" name="Underrubrik 2"/>
          <p:cNvSpPr>
            <a:spLocks noGrp="1"/>
          </p:cNvSpPr>
          <p:nvPr>
            <p:ph type="subTitle" idx="1"/>
          </p:nvPr>
        </p:nvSpPr>
        <p:spPr bwMode="gray">
          <a:xfrm>
            <a:off x="1567963" y="2276872"/>
            <a:ext cx="6987075" cy="936104"/>
          </a:xfrm>
        </p:spPr>
        <p:txBody>
          <a:bodyPr>
            <a:normAutofit/>
          </a:bodyPr>
          <a:lstStyle>
            <a:lvl1pPr marL="0" indent="0" algn="l">
              <a:lnSpc>
                <a:spcPts val="2800"/>
              </a:lnSpc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sv-SE" smtClean="0"/>
              <a:t>Klicka här för att ändra format på underrubrik i bakgrunden</a:t>
            </a:r>
            <a:endParaRPr lang="en-GB" dirty="0"/>
          </a:p>
        </p:txBody>
      </p:sp>
      <p:pic>
        <p:nvPicPr>
          <p:cNvPr id="1026" name="Picture 2" descr="http://intra.kth.se/polopoly_fs/1.383275!/image/KTH_pngs.png"/>
          <p:cNvPicPr>
            <a:picLocks noChangeAspect="1" noChangeArrowheads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469" b="7207"/>
          <a:stretch/>
        </p:blipFill>
        <p:spPr bwMode="gray">
          <a:xfrm>
            <a:off x="347663" y="344488"/>
            <a:ext cx="803938" cy="8032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Line 6"/>
          <p:cNvSpPr>
            <a:spLocks noChangeShapeType="1"/>
          </p:cNvSpPr>
          <p:nvPr userDrawn="1"/>
        </p:nvSpPr>
        <p:spPr bwMode="gray">
          <a:xfrm>
            <a:off x="-1375645" y="5596697"/>
            <a:ext cx="0" cy="0"/>
          </a:xfrm>
          <a:prstGeom prst="line">
            <a:avLst/>
          </a:prstGeom>
          <a:noFill/>
          <a:ln w="3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endParaRPr lang="en-US" sz="1800">
              <a:solidFill>
                <a:prstClr val="black"/>
              </a:solidFill>
              <a:latin typeface="Arial"/>
            </a:endParaRPr>
          </a:p>
        </p:txBody>
      </p:sp>
      <p:sp>
        <p:nvSpPr>
          <p:cNvPr id="9" name="Freeform 7"/>
          <p:cNvSpPr>
            <a:spLocks/>
          </p:cNvSpPr>
          <p:nvPr userDrawn="1"/>
        </p:nvSpPr>
        <p:spPr bwMode="gray">
          <a:xfrm>
            <a:off x="-3236" y="4049403"/>
            <a:ext cx="9150869" cy="1215998"/>
          </a:xfrm>
          <a:custGeom>
            <a:avLst/>
            <a:gdLst>
              <a:gd name="T0" fmla="*/ 0 w 8479"/>
              <a:gd name="T1" fmla="*/ 356 h 535"/>
              <a:gd name="T2" fmla="*/ 597 w 8479"/>
              <a:gd name="T3" fmla="*/ 356 h 535"/>
              <a:gd name="T4" fmla="*/ 625 w 8479"/>
              <a:gd name="T5" fmla="*/ 328 h 535"/>
              <a:gd name="T6" fmla="*/ 625 w 8479"/>
              <a:gd name="T7" fmla="*/ 28 h 535"/>
              <a:gd name="T8" fmla="*/ 653 w 8479"/>
              <a:gd name="T9" fmla="*/ 0 h 535"/>
              <a:gd name="T10" fmla="*/ 954 w 8479"/>
              <a:gd name="T11" fmla="*/ 0 h 535"/>
              <a:gd name="T12" fmla="*/ 982 w 8479"/>
              <a:gd name="T13" fmla="*/ 28 h 535"/>
              <a:gd name="T14" fmla="*/ 982 w 8479"/>
              <a:gd name="T15" fmla="*/ 507 h 535"/>
              <a:gd name="T16" fmla="*/ 1010 w 8479"/>
              <a:gd name="T17" fmla="*/ 535 h 535"/>
              <a:gd name="T18" fmla="*/ 1545 w 8479"/>
              <a:gd name="T19" fmla="*/ 535 h 535"/>
              <a:gd name="T20" fmla="*/ 1573 w 8479"/>
              <a:gd name="T21" fmla="*/ 507 h 535"/>
              <a:gd name="T22" fmla="*/ 1573 w 8479"/>
              <a:gd name="T23" fmla="*/ 328 h 535"/>
              <a:gd name="T24" fmla="*/ 1601 w 8479"/>
              <a:gd name="T25" fmla="*/ 300 h 535"/>
              <a:gd name="T26" fmla="*/ 2497 w 8479"/>
              <a:gd name="T27" fmla="*/ 300 h 535"/>
              <a:gd name="T28" fmla="*/ 2524 w 8479"/>
              <a:gd name="T29" fmla="*/ 328 h 535"/>
              <a:gd name="T30" fmla="*/ 2524 w 8479"/>
              <a:gd name="T31" fmla="*/ 507 h 535"/>
              <a:gd name="T32" fmla="*/ 2552 w 8479"/>
              <a:gd name="T33" fmla="*/ 535 h 535"/>
              <a:gd name="T34" fmla="*/ 2797 w 8479"/>
              <a:gd name="T35" fmla="*/ 535 h 535"/>
              <a:gd name="T36" fmla="*/ 2825 w 8479"/>
              <a:gd name="T37" fmla="*/ 507 h 535"/>
              <a:gd name="T38" fmla="*/ 2825 w 8479"/>
              <a:gd name="T39" fmla="*/ 384 h 535"/>
              <a:gd name="T40" fmla="*/ 2852 w 8479"/>
              <a:gd name="T41" fmla="*/ 356 h 535"/>
              <a:gd name="T42" fmla="*/ 3153 w 8479"/>
              <a:gd name="T43" fmla="*/ 356 h 535"/>
              <a:gd name="T44" fmla="*/ 3181 w 8479"/>
              <a:gd name="T45" fmla="*/ 384 h 535"/>
              <a:gd name="T46" fmla="*/ 3181 w 8479"/>
              <a:gd name="T47" fmla="*/ 450 h 535"/>
              <a:gd name="T48" fmla="*/ 3209 w 8479"/>
              <a:gd name="T49" fmla="*/ 478 h 535"/>
              <a:gd name="T50" fmla="*/ 5290 w 8479"/>
              <a:gd name="T51" fmla="*/ 478 h 535"/>
              <a:gd name="T52" fmla="*/ 5317 w 8479"/>
              <a:gd name="T53" fmla="*/ 450 h 535"/>
              <a:gd name="T54" fmla="*/ 5317 w 8479"/>
              <a:gd name="T55" fmla="*/ 28 h 535"/>
              <a:gd name="T56" fmla="*/ 5345 w 8479"/>
              <a:gd name="T57" fmla="*/ 0 h 535"/>
              <a:gd name="T58" fmla="*/ 6031 w 8479"/>
              <a:gd name="T59" fmla="*/ 0 h 535"/>
              <a:gd name="T60" fmla="*/ 6059 w 8479"/>
              <a:gd name="T61" fmla="*/ 28 h 535"/>
              <a:gd name="T62" fmla="*/ 6059 w 8479"/>
              <a:gd name="T63" fmla="*/ 383 h 535"/>
              <a:gd name="T64" fmla="*/ 6087 w 8479"/>
              <a:gd name="T65" fmla="*/ 411 h 535"/>
              <a:gd name="T66" fmla="*/ 7130 w 8479"/>
              <a:gd name="T67" fmla="*/ 411 h 535"/>
              <a:gd name="T68" fmla="*/ 7158 w 8479"/>
              <a:gd name="T69" fmla="*/ 383 h 535"/>
              <a:gd name="T70" fmla="*/ 7158 w 8479"/>
              <a:gd name="T71" fmla="*/ 111 h 535"/>
              <a:gd name="T72" fmla="*/ 7186 w 8479"/>
              <a:gd name="T73" fmla="*/ 83 h 535"/>
              <a:gd name="T74" fmla="*/ 8479 w 8479"/>
              <a:gd name="T75" fmla="*/ 83 h 535"/>
              <a:gd name="connsiteX0" fmla="*/ 0 w 9296"/>
              <a:gd name="connsiteY0" fmla="*/ 6654 h 10000"/>
              <a:gd name="connsiteX1" fmla="*/ 33 w 9296"/>
              <a:gd name="connsiteY1" fmla="*/ 6131 h 10000"/>
              <a:gd name="connsiteX2" fmla="*/ 33 w 9296"/>
              <a:gd name="connsiteY2" fmla="*/ 523 h 10000"/>
              <a:gd name="connsiteX3" fmla="*/ 66 w 9296"/>
              <a:gd name="connsiteY3" fmla="*/ 0 h 10000"/>
              <a:gd name="connsiteX4" fmla="*/ 421 w 9296"/>
              <a:gd name="connsiteY4" fmla="*/ 0 h 10000"/>
              <a:gd name="connsiteX5" fmla="*/ 454 w 9296"/>
              <a:gd name="connsiteY5" fmla="*/ 523 h 10000"/>
              <a:gd name="connsiteX6" fmla="*/ 454 w 9296"/>
              <a:gd name="connsiteY6" fmla="*/ 9477 h 10000"/>
              <a:gd name="connsiteX7" fmla="*/ 487 w 9296"/>
              <a:gd name="connsiteY7" fmla="*/ 10000 h 10000"/>
              <a:gd name="connsiteX8" fmla="*/ 1118 w 9296"/>
              <a:gd name="connsiteY8" fmla="*/ 10000 h 10000"/>
              <a:gd name="connsiteX9" fmla="*/ 1151 w 9296"/>
              <a:gd name="connsiteY9" fmla="*/ 9477 h 10000"/>
              <a:gd name="connsiteX10" fmla="*/ 1151 w 9296"/>
              <a:gd name="connsiteY10" fmla="*/ 6131 h 10000"/>
              <a:gd name="connsiteX11" fmla="*/ 1184 w 9296"/>
              <a:gd name="connsiteY11" fmla="*/ 5607 h 10000"/>
              <a:gd name="connsiteX12" fmla="*/ 2241 w 9296"/>
              <a:gd name="connsiteY12" fmla="*/ 5607 h 10000"/>
              <a:gd name="connsiteX13" fmla="*/ 2273 w 9296"/>
              <a:gd name="connsiteY13" fmla="*/ 6131 h 10000"/>
              <a:gd name="connsiteX14" fmla="*/ 2273 w 9296"/>
              <a:gd name="connsiteY14" fmla="*/ 9477 h 10000"/>
              <a:gd name="connsiteX15" fmla="*/ 2306 w 9296"/>
              <a:gd name="connsiteY15" fmla="*/ 10000 h 10000"/>
              <a:gd name="connsiteX16" fmla="*/ 2595 w 9296"/>
              <a:gd name="connsiteY16" fmla="*/ 10000 h 10000"/>
              <a:gd name="connsiteX17" fmla="*/ 2628 w 9296"/>
              <a:gd name="connsiteY17" fmla="*/ 9477 h 10000"/>
              <a:gd name="connsiteX18" fmla="*/ 2628 w 9296"/>
              <a:gd name="connsiteY18" fmla="*/ 7178 h 10000"/>
              <a:gd name="connsiteX19" fmla="*/ 2660 w 9296"/>
              <a:gd name="connsiteY19" fmla="*/ 6654 h 10000"/>
              <a:gd name="connsiteX20" fmla="*/ 3015 w 9296"/>
              <a:gd name="connsiteY20" fmla="*/ 6654 h 10000"/>
              <a:gd name="connsiteX21" fmla="*/ 3048 w 9296"/>
              <a:gd name="connsiteY21" fmla="*/ 7178 h 10000"/>
              <a:gd name="connsiteX22" fmla="*/ 3048 w 9296"/>
              <a:gd name="connsiteY22" fmla="*/ 8411 h 10000"/>
              <a:gd name="connsiteX23" fmla="*/ 3081 w 9296"/>
              <a:gd name="connsiteY23" fmla="*/ 8935 h 10000"/>
              <a:gd name="connsiteX24" fmla="*/ 5535 w 9296"/>
              <a:gd name="connsiteY24" fmla="*/ 8935 h 10000"/>
              <a:gd name="connsiteX25" fmla="*/ 5567 w 9296"/>
              <a:gd name="connsiteY25" fmla="*/ 8411 h 10000"/>
              <a:gd name="connsiteX26" fmla="*/ 5567 w 9296"/>
              <a:gd name="connsiteY26" fmla="*/ 523 h 10000"/>
              <a:gd name="connsiteX27" fmla="*/ 5600 w 9296"/>
              <a:gd name="connsiteY27" fmla="*/ 0 h 10000"/>
              <a:gd name="connsiteX28" fmla="*/ 6409 w 9296"/>
              <a:gd name="connsiteY28" fmla="*/ 0 h 10000"/>
              <a:gd name="connsiteX29" fmla="*/ 6442 w 9296"/>
              <a:gd name="connsiteY29" fmla="*/ 523 h 10000"/>
              <a:gd name="connsiteX30" fmla="*/ 6442 w 9296"/>
              <a:gd name="connsiteY30" fmla="*/ 7159 h 10000"/>
              <a:gd name="connsiteX31" fmla="*/ 6475 w 9296"/>
              <a:gd name="connsiteY31" fmla="*/ 7682 h 10000"/>
              <a:gd name="connsiteX32" fmla="*/ 7705 w 9296"/>
              <a:gd name="connsiteY32" fmla="*/ 7682 h 10000"/>
              <a:gd name="connsiteX33" fmla="*/ 7738 w 9296"/>
              <a:gd name="connsiteY33" fmla="*/ 7159 h 10000"/>
              <a:gd name="connsiteX34" fmla="*/ 7738 w 9296"/>
              <a:gd name="connsiteY34" fmla="*/ 2075 h 10000"/>
              <a:gd name="connsiteX35" fmla="*/ 7771 w 9296"/>
              <a:gd name="connsiteY35" fmla="*/ 1551 h 10000"/>
              <a:gd name="connsiteX36" fmla="*/ 9296 w 9296"/>
              <a:gd name="connsiteY36" fmla="*/ 1551 h 10000"/>
              <a:gd name="connsiteX0" fmla="*/ 0 w 9965"/>
              <a:gd name="connsiteY0" fmla="*/ 6131 h 10000"/>
              <a:gd name="connsiteX1" fmla="*/ 0 w 9965"/>
              <a:gd name="connsiteY1" fmla="*/ 523 h 10000"/>
              <a:gd name="connsiteX2" fmla="*/ 36 w 9965"/>
              <a:gd name="connsiteY2" fmla="*/ 0 h 10000"/>
              <a:gd name="connsiteX3" fmla="*/ 418 w 9965"/>
              <a:gd name="connsiteY3" fmla="*/ 0 h 10000"/>
              <a:gd name="connsiteX4" fmla="*/ 453 w 9965"/>
              <a:gd name="connsiteY4" fmla="*/ 523 h 10000"/>
              <a:gd name="connsiteX5" fmla="*/ 453 w 9965"/>
              <a:gd name="connsiteY5" fmla="*/ 9477 h 10000"/>
              <a:gd name="connsiteX6" fmla="*/ 489 w 9965"/>
              <a:gd name="connsiteY6" fmla="*/ 10000 h 10000"/>
              <a:gd name="connsiteX7" fmla="*/ 1168 w 9965"/>
              <a:gd name="connsiteY7" fmla="*/ 10000 h 10000"/>
              <a:gd name="connsiteX8" fmla="*/ 1203 w 9965"/>
              <a:gd name="connsiteY8" fmla="*/ 9477 h 10000"/>
              <a:gd name="connsiteX9" fmla="*/ 1203 w 9965"/>
              <a:gd name="connsiteY9" fmla="*/ 6131 h 10000"/>
              <a:gd name="connsiteX10" fmla="*/ 1239 w 9965"/>
              <a:gd name="connsiteY10" fmla="*/ 5607 h 10000"/>
              <a:gd name="connsiteX11" fmla="*/ 2376 w 9965"/>
              <a:gd name="connsiteY11" fmla="*/ 5607 h 10000"/>
              <a:gd name="connsiteX12" fmla="*/ 2410 w 9965"/>
              <a:gd name="connsiteY12" fmla="*/ 6131 h 10000"/>
              <a:gd name="connsiteX13" fmla="*/ 2410 w 9965"/>
              <a:gd name="connsiteY13" fmla="*/ 9477 h 10000"/>
              <a:gd name="connsiteX14" fmla="*/ 2446 w 9965"/>
              <a:gd name="connsiteY14" fmla="*/ 10000 h 10000"/>
              <a:gd name="connsiteX15" fmla="*/ 2757 w 9965"/>
              <a:gd name="connsiteY15" fmla="*/ 10000 h 10000"/>
              <a:gd name="connsiteX16" fmla="*/ 2792 w 9965"/>
              <a:gd name="connsiteY16" fmla="*/ 9477 h 10000"/>
              <a:gd name="connsiteX17" fmla="*/ 2792 w 9965"/>
              <a:gd name="connsiteY17" fmla="*/ 7178 h 10000"/>
              <a:gd name="connsiteX18" fmla="*/ 2826 w 9965"/>
              <a:gd name="connsiteY18" fmla="*/ 6654 h 10000"/>
              <a:gd name="connsiteX19" fmla="*/ 3208 w 9965"/>
              <a:gd name="connsiteY19" fmla="*/ 6654 h 10000"/>
              <a:gd name="connsiteX20" fmla="*/ 3244 w 9965"/>
              <a:gd name="connsiteY20" fmla="*/ 7178 h 10000"/>
              <a:gd name="connsiteX21" fmla="*/ 3244 w 9965"/>
              <a:gd name="connsiteY21" fmla="*/ 8411 h 10000"/>
              <a:gd name="connsiteX22" fmla="*/ 3279 w 9965"/>
              <a:gd name="connsiteY22" fmla="*/ 8935 h 10000"/>
              <a:gd name="connsiteX23" fmla="*/ 5919 w 9965"/>
              <a:gd name="connsiteY23" fmla="*/ 8935 h 10000"/>
              <a:gd name="connsiteX24" fmla="*/ 5954 w 9965"/>
              <a:gd name="connsiteY24" fmla="*/ 8411 h 10000"/>
              <a:gd name="connsiteX25" fmla="*/ 5954 w 9965"/>
              <a:gd name="connsiteY25" fmla="*/ 523 h 10000"/>
              <a:gd name="connsiteX26" fmla="*/ 5989 w 9965"/>
              <a:gd name="connsiteY26" fmla="*/ 0 h 10000"/>
              <a:gd name="connsiteX27" fmla="*/ 6859 w 9965"/>
              <a:gd name="connsiteY27" fmla="*/ 0 h 10000"/>
              <a:gd name="connsiteX28" fmla="*/ 6895 w 9965"/>
              <a:gd name="connsiteY28" fmla="*/ 523 h 10000"/>
              <a:gd name="connsiteX29" fmla="*/ 6895 w 9965"/>
              <a:gd name="connsiteY29" fmla="*/ 7159 h 10000"/>
              <a:gd name="connsiteX30" fmla="*/ 6930 w 9965"/>
              <a:gd name="connsiteY30" fmla="*/ 7682 h 10000"/>
              <a:gd name="connsiteX31" fmla="*/ 8254 w 9965"/>
              <a:gd name="connsiteY31" fmla="*/ 7682 h 10000"/>
              <a:gd name="connsiteX32" fmla="*/ 8289 w 9965"/>
              <a:gd name="connsiteY32" fmla="*/ 7159 h 10000"/>
              <a:gd name="connsiteX33" fmla="*/ 8289 w 9965"/>
              <a:gd name="connsiteY33" fmla="*/ 2075 h 10000"/>
              <a:gd name="connsiteX34" fmla="*/ 8325 w 9965"/>
              <a:gd name="connsiteY34" fmla="*/ 1551 h 10000"/>
              <a:gd name="connsiteX35" fmla="*/ 9965 w 9965"/>
              <a:gd name="connsiteY35" fmla="*/ 1551 h 10000"/>
              <a:gd name="connsiteX0" fmla="*/ 0 w 10000"/>
              <a:gd name="connsiteY0" fmla="*/ 523 h 10000"/>
              <a:gd name="connsiteX1" fmla="*/ 36 w 10000"/>
              <a:gd name="connsiteY1" fmla="*/ 0 h 10000"/>
              <a:gd name="connsiteX2" fmla="*/ 419 w 10000"/>
              <a:gd name="connsiteY2" fmla="*/ 0 h 10000"/>
              <a:gd name="connsiteX3" fmla="*/ 455 w 10000"/>
              <a:gd name="connsiteY3" fmla="*/ 523 h 10000"/>
              <a:gd name="connsiteX4" fmla="*/ 455 w 10000"/>
              <a:gd name="connsiteY4" fmla="*/ 9477 h 10000"/>
              <a:gd name="connsiteX5" fmla="*/ 491 w 10000"/>
              <a:gd name="connsiteY5" fmla="*/ 10000 h 10000"/>
              <a:gd name="connsiteX6" fmla="*/ 1172 w 10000"/>
              <a:gd name="connsiteY6" fmla="*/ 10000 h 10000"/>
              <a:gd name="connsiteX7" fmla="*/ 1207 w 10000"/>
              <a:gd name="connsiteY7" fmla="*/ 9477 h 10000"/>
              <a:gd name="connsiteX8" fmla="*/ 1207 w 10000"/>
              <a:gd name="connsiteY8" fmla="*/ 6131 h 10000"/>
              <a:gd name="connsiteX9" fmla="*/ 1243 w 10000"/>
              <a:gd name="connsiteY9" fmla="*/ 5607 h 10000"/>
              <a:gd name="connsiteX10" fmla="*/ 2384 w 10000"/>
              <a:gd name="connsiteY10" fmla="*/ 5607 h 10000"/>
              <a:gd name="connsiteX11" fmla="*/ 2418 w 10000"/>
              <a:gd name="connsiteY11" fmla="*/ 6131 h 10000"/>
              <a:gd name="connsiteX12" fmla="*/ 2418 w 10000"/>
              <a:gd name="connsiteY12" fmla="*/ 9477 h 10000"/>
              <a:gd name="connsiteX13" fmla="*/ 2455 w 10000"/>
              <a:gd name="connsiteY13" fmla="*/ 10000 h 10000"/>
              <a:gd name="connsiteX14" fmla="*/ 2767 w 10000"/>
              <a:gd name="connsiteY14" fmla="*/ 10000 h 10000"/>
              <a:gd name="connsiteX15" fmla="*/ 2802 w 10000"/>
              <a:gd name="connsiteY15" fmla="*/ 9477 h 10000"/>
              <a:gd name="connsiteX16" fmla="*/ 2802 w 10000"/>
              <a:gd name="connsiteY16" fmla="*/ 7178 h 10000"/>
              <a:gd name="connsiteX17" fmla="*/ 2836 w 10000"/>
              <a:gd name="connsiteY17" fmla="*/ 6654 h 10000"/>
              <a:gd name="connsiteX18" fmla="*/ 3219 w 10000"/>
              <a:gd name="connsiteY18" fmla="*/ 6654 h 10000"/>
              <a:gd name="connsiteX19" fmla="*/ 3255 w 10000"/>
              <a:gd name="connsiteY19" fmla="*/ 7178 h 10000"/>
              <a:gd name="connsiteX20" fmla="*/ 3255 w 10000"/>
              <a:gd name="connsiteY20" fmla="*/ 8411 h 10000"/>
              <a:gd name="connsiteX21" fmla="*/ 3291 w 10000"/>
              <a:gd name="connsiteY21" fmla="*/ 8935 h 10000"/>
              <a:gd name="connsiteX22" fmla="*/ 5940 w 10000"/>
              <a:gd name="connsiteY22" fmla="*/ 8935 h 10000"/>
              <a:gd name="connsiteX23" fmla="*/ 5975 w 10000"/>
              <a:gd name="connsiteY23" fmla="*/ 8411 h 10000"/>
              <a:gd name="connsiteX24" fmla="*/ 5975 w 10000"/>
              <a:gd name="connsiteY24" fmla="*/ 523 h 10000"/>
              <a:gd name="connsiteX25" fmla="*/ 6010 w 10000"/>
              <a:gd name="connsiteY25" fmla="*/ 0 h 10000"/>
              <a:gd name="connsiteX26" fmla="*/ 6883 w 10000"/>
              <a:gd name="connsiteY26" fmla="*/ 0 h 10000"/>
              <a:gd name="connsiteX27" fmla="*/ 6919 w 10000"/>
              <a:gd name="connsiteY27" fmla="*/ 523 h 10000"/>
              <a:gd name="connsiteX28" fmla="*/ 6919 w 10000"/>
              <a:gd name="connsiteY28" fmla="*/ 7159 h 10000"/>
              <a:gd name="connsiteX29" fmla="*/ 6954 w 10000"/>
              <a:gd name="connsiteY29" fmla="*/ 7682 h 10000"/>
              <a:gd name="connsiteX30" fmla="*/ 8283 w 10000"/>
              <a:gd name="connsiteY30" fmla="*/ 7682 h 10000"/>
              <a:gd name="connsiteX31" fmla="*/ 8318 w 10000"/>
              <a:gd name="connsiteY31" fmla="*/ 7159 h 10000"/>
              <a:gd name="connsiteX32" fmla="*/ 8318 w 10000"/>
              <a:gd name="connsiteY32" fmla="*/ 2075 h 10000"/>
              <a:gd name="connsiteX33" fmla="*/ 8354 w 10000"/>
              <a:gd name="connsiteY33" fmla="*/ 1551 h 10000"/>
              <a:gd name="connsiteX34" fmla="*/ 10000 w 10000"/>
              <a:gd name="connsiteY34" fmla="*/ 1551 h 10000"/>
              <a:gd name="connsiteX0" fmla="*/ 0 w 9964"/>
              <a:gd name="connsiteY0" fmla="*/ 0 h 10000"/>
              <a:gd name="connsiteX1" fmla="*/ 383 w 9964"/>
              <a:gd name="connsiteY1" fmla="*/ 0 h 10000"/>
              <a:gd name="connsiteX2" fmla="*/ 419 w 9964"/>
              <a:gd name="connsiteY2" fmla="*/ 523 h 10000"/>
              <a:gd name="connsiteX3" fmla="*/ 419 w 9964"/>
              <a:gd name="connsiteY3" fmla="*/ 9477 h 10000"/>
              <a:gd name="connsiteX4" fmla="*/ 455 w 9964"/>
              <a:gd name="connsiteY4" fmla="*/ 10000 h 10000"/>
              <a:gd name="connsiteX5" fmla="*/ 1136 w 9964"/>
              <a:gd name="connsiteY5" fmla="*/ 10000 h 10000"/>
              <a:gd name="connsiteX6" fmla="*/ 1171 w 9964"/>
              <a:gd name="connsiteY6" fmla="*/ 9477 h 10000"/>
              <a:gd name="connsiteX7" fmla="*/ 1171 w 9964"/>
              <a:gd name="connsiteY7" fmla="*/ 6131 h 10000"/>
              <a:gd name="connsiteX8" fmla="*/ 1207 w 9964"/>
              <a:gd name="connsiteY8" fmla="*/ 5607 h 10000"/>
              <a:gd name="connsiteX9" fmla="*/ 2348 w 9964"/>
              <a:gd name="connsiteY9" fmla="*/ 5607 h 10000"/>
              <a:gd name="connsiteX10" fmla="*/ 2382 w 9964"/>
              <a:gd name="connsiteY10" fmla="*/ 6131 h 10000"/>
              <a:gd name="connsiteX11" fmla="*/ 2382 w 9964"/>
              <a:gd name="connsiteY11" fmla="*/ 9477 h 10000"/>
              <a:gd name="connsiteX12" fmla="*/ 2419 w 9964"/>
              <a:gd name="connsiteY12" fmla="*/ 10000 h 10000"/>
              <a:gd name="connsiteX13" fmla="*/ 2731 w 9964"/>
              <a:gd name="connsiteY13" fmla="*/ 10000 h 10000"/>
              <a:gd name="connsiteX14" fmla="*/ 2766 w 9964"/>
              <a:gd name="connsiteY14" fmla="*/ 9477 h 10000"/>
              <a:gd name="connsiteX15" fmla="*/ 2766 w 9964"/>
              <a:gd name="connsiteY15" fmla="*/ 7178 h 10000"/>
              <a:gd name="connsiteX16" fmla="*/ 2800 w 9964"/>
              <a:gd name="connsiteY16" fmla="*/ 6654 h 10000"/>
              <a:gd name="connsiteX17" fmla="*/ 3183 w 9964"/>
              <a:gd name="connsiteY17" fmla="*/ 6654 h 10000"/>
              <a:gd name="connsiteX18" fmla="*/ 3219 w 9964"/>
              <a:gd name="connsiteY18" fmla="*/ 7178 h 10000"/>
              <a:gd name="connsiteX19" fmla="*/ 3219 w 9964"/>
              <a:gd name="connsiteY19" fmla="*/ 8411 h 10000"/>
              <a:gd name="connsiteX20" fmla="*/ 3255 w 9964"/>
              <a:gd name="connsiteY20" fmla="*/ 8935 h 10000"/>
              <a:gd name="connsiteX21" fmla="*/ 5904 w 9964"/>
              <a:gd name="connsiteY21" fmla="*/ 8935 h 10000"/>
              <a:gd name="connsiteX22" fmla="*/ 5939 w 9964"/>
              <a:gd name="connsiteY22" fmla="*/ 8411 h 10000"/>
              <a:gd name="connsiteX23" fmla="*/ 5939 w 9964"/>
              <a:gd name="connsiteY23" fmla="*/ 523 h 10000"/>
              <a:gd name="connsiteX24" fmla="*/ 5974 w 9964"/>
              <a:gd name="connsiteY24" fmla="*/ 0 h 10000"/>
              <a:gd name="connsiteX25" fmla="*/ 6847 w 9964"/>
              <a:gd name="connsiteY25" fmla="*/ 0 h 10000"/>
              <a:gd name="connsiteX26" fmla="*/ 6883 w 9964"/>
              <a:gd name="connsiteY26" fmla="*/ 523 h 10000"/>
              <a:gd name="connsiteX27" fmla="*/ 6883 w 9964"/>
              <a:gd name="connsiteY27" fmla="*/ 7159 h 10000"/>
              <a:gd name="connsiteX28" fmla="*/ 6918 w 9964"/>
              <a:gd name="connsiteY28" fmla="*/ 7682 h 10000"/>
              <a:gd name="connsiteX29" fmla="*/ 8247 w 9964"/>
              <a:gd name="connsiteY29" fmla="*/ 7682 h 10000"/>
              <a:gd name="connsiteX30" fmla="*/ 8282 w 9964"/>
              <a:gd name="connsiteY30" fmla="*/ 7159 h 10000"/>
              <a:gd name="connsiteX31" fmla="*/ 8282 w 9964"/>
              <a:gd name="connsiteY31" fmla="*/ 2075 h 10000"/>
              <a:gd name="connsiteX32" fmla="*/ 8318 w 9964"/>
              <a:gd name="connsiteY32" fmla="*/ 1551 h 10000"/>
              <a:gd name="connsiteX33" fmla="*/ 9964 w 9964"/>
              <a:gd name="connsiteY33" fmla="*/ 1551 h 10000"/>
              <a:gd name="connsiteX0" fmla="*/ 0 w 9616"/>
              <a:gd name="connsiteY0" fmla="*/ 0 h 10000"/>
              <a:gd name="connsiteX1" fmla="*/ 37 w 9616"/>
              <a:gd name="connsiteY1" fmla="*/ 523 h 10000"/>
              <a:gd name="connsiteX2" fmla="*/ 37 w 9616"/>
              <a:gd name="connsiteY2" fmla="*/ 9477 h 10000"/>
              <a:gd name="connsiteX3" fmla="*/ 73 w 9616"/>
              <a:gd name="connsiteY3" fmla="*/ 10000 h 10000"/>
              <a:gd name="connsiteX4" fmla="*/ 756 w 9616"/>
              <a:gd name="connsiteY4" fmla="*/ 10000 h 10000"/>
              <a:gd name="connsiteX5" fmla="*/ 791 w 9616"/>
              <a:gd name="connsiteY5" fmla="*/ 9477 h 10000"/>
              <a:gd name="connsiteX6" fmla="*/ 791 w 9616"/>
              <a:gd name="connsiteY6" fmla="*/ 6131 h 10000"/>
              <a:gd name="connsiteX7" fmla="*/ 827 w 9616"/>
              <a:gd name="connsiteY7" fmla="*/ 5607 h 10000"/>
              <a:gd name="connsiteX8" fmla="*/ 1972 w 9616"/>
              <a:gd name="connsiteY8" fmla="*/ 5607 h 10000"/>
              <a:gd name="connsiteX9" fmla="*/ 2007 w 9616"/>
              <a:gd name="connsiteY9" fmla="*/ 6131 h 10000"/>
              <a:gd name="connsiteX10" fmla="*/ 2007 w 9616"/>
              <a:gd name="connsiteY10" fmla="*/ 9477 h 10000"/>
              <a:gd name="connsiteX11" fmla="*/ 2044 w 9616"/>
              <a:gd name="connsiteY11" fmla="*/ 10000 h 10000"/>
              <a:gd name="connsiteX12" fmla="*/ 2357 w 9616"/>
              <a:gd name="connsiteY12" fmla="*/ 10000 h 10000"/>
              <a:gd name="connsiteX13" fmla="*/ 2392 w 9616"/>
              <a:gd name="connsiteY13" fmla="*/ 9477 h 10000"/>
              <a:gd name="connsiteX14" fmla="*/ 2392 w 9616"/>
              <a:gd name="connsiteY14" fmla="*/ 7178 h 10000"/>
              <a:gd name="connsiteX15" fmla="*/ 2426 w 9616"/>
              <a:gd name="connsiteY15" fmla="*/ 6654 h 10000"/>
              <a:gd name="connsiteX16" fmla="*/ 2811 w 9616"/>
              <a:gd name="connsiteY16" fmla="*/ 6654 h 10000"/>
              <a:gd name="connsiteX17" fmla="*/ 2847 w 9616"/>
              <a:gd name="connsiteY17" fmla="*/ 7178 h 10000"/>
              <a:gd name="connsiteX18" fmla="*/ 2847 w 9616"/>
              <a:gd name="connsiteY18" fmla="*/ 8411 h 10000"/>
              <a:gd name="connsiteX19" fmla="*/ 2883 w 9616"/>
              <a:gd name="connsiteY19" fmla="*/ 8935 h 10000"/>
              <a:gd name="connsiteX20" fmla="*/ 5541 w 9616"/>
              <a:gd name="connsiteY20" fmla="*/ 8935 h 10000"/>
              <a:gd name="connsiteX21" fmla="*/ 5576 w 9616"/>
              <a:gd name="connsiteY21" fmla="*/ 8411 h 10000"/>
              <a:gd name="connsiteX22" fmla="*/ 5576 w 9616"/>
              <a:gd name="connsiteY22" fmla="*/ 523 h 10000"/>
              <a:gd name="connsiteX23" fmla="*/ 5612 w 9616"/>
              <a:gd name="connsiteY23" fmla="*/ 0 h 10000"/>
              <a:gd name="connsiteX24" fmla="*/ 6488 w 9616"/>
              <a:gd name="connsiteY24" fmla="*/ 0 h 10000"/>
              <a:gd name="connsiteX25" fmla="*/ 6524 w 9616"/>
              <a:gd name="connsiteY25" fmla="*/ 523 h 10000"/>
              <a:gd name="connsiteX26" fmla="*/ 6524 w 9616"/>
              <a:gd name="connsiteY26" fmla="*/ 7159 h 10000"/>
              <a:gd name="connsiteX27" fmla="*/ 6559 w 9616"/>
              <a:gd name="connsiteY27" fmla="*/ 7682 h 10000"/>
              <a:gd name="connsiteX28" fmla="*/ 7893 w 9616"/>
              <a:gd name="connsiteY28" fmla="*/ 7682 h 10000"/>
              <a:gd name="connsiteX29" fmla="*/ 7928 w 9616"/>
              <a:gd name="connsiteY29" fmla="*/ 7159 h 10000"/>
              <a:gd name="connsiteX30" fmla="*/ 7928 w 9616"/>
              <a:gd name="connsiteY30" fmla="*/ 2075 h 10000"/>
              <a:gd name="connsiteX31" fmla="*/ 7964 w 9616"/>
              <a:gd name="connsiteY31" fmla="*/ 1551 h 10000"/>
              <a:gd name="connsiteX32" fmla="*/ 9616 w 9616"/>
              <a:gd name="connsiteY32" fmla="*/ 1551 h 10000"/>
              <a:gd name="connsiteX0" fmla="*/ 0 w 9962"/>
              <a:gd name="connsiteY0" fmla="*/ 523 h 10000"/>
              <a:gd name="connsiteX1" fmla="*/ 0 w 9962"/>
              <a:gd name="connsiteY1" fmla="*/ 9477 h 10000"/>
              <a:gd name="connsiteX2" fmla="*/ 38 w 9962"/>
              <a:gd name="connsiteY2" fmla="*/ 10000 h 10000"/>
              <a:gd name="connsiteX3" fmla="*/ 748 w 9962"/>
              <a:gd name="connsiteY3" fmla="*/ 10000 h 10000"/>
              <a:gd name="connsiteX4" fmla="*/ 785 w 9962"/>
              <a:gd name="connsiteY4" fmla="*/ 9477 h 10000"/>
              <a:gd name="connsiteX5" fmla="*/ 785 w 9962"/>
              <a:gd name="connsiteY5" fmla="*/ 6131 h 10000"/>
              <a:gd name="connsiteX6" fmla="*/ 822 w 9962"/>
              <a:gd name="connsiteY6" fmla="*/ 5607 h 10000"/>
              <a:gd name="connsiteX7" fmla="*/ 2013 w 9962"/>
              <a:gd name="connsiteY7" fmla="*/ 5607 h 10000"/>
              <a:gd name="connsiteX8" fmla="*/ 2049 w 9962"/>
              <a:gd name="connsiteY8" fmla="*/ 6131 h 10000"/>
              <a:gd name="connsiteX9" fmla="*/ 2049 w 9962"/>
              <a:gd name="connsiteY9" fmla="*/ 9477 h 10000"/>
              <a:gd name="connsiteX10" fmla="*/ 2088 w 9962"/>
              <a:gd name="connsiteY10" fmla="*/ 10000 h 10000"/>
              <a:gd name="connsiteX11" fmla="*/ 2413 w 9962"/>
              <a:gd name="connsiteY11" fmla="*/ 10000 h 10000"/>
              <a:gd name="connsiteX12" fmla="*/ 2450 w 9962"/>
              <a:gd name="connsiteY12" fmla="*/ 9477 h 10000"/>
              <a:gd name="connsiteX13" fmla="*/ 2450 w 9962"/>
              <a:gd name="connsiteY13" fmla="*/ 7178 h 10000"/>
              <a:gd name="connsiteX14" fmla="*/ 2485 w 9962"/>
              <a:gd name="connsiteY14" fmla="*/ 6654 h 10000"/>
              <a:gd name="connsiteX15" fmla="*/ 2885 w 9962"/>
              <a:gd name="connsiteY15" fmla="*/ 6654 h 10000"/>
              <a:gd name="connsiteX16" fmla="*/ 2923 w 9962"/>
              <a:gd name="connsiteY16" fmla="*/ 7178 h 10000"/>
              <a:gd name="connsiteX17" fmla="*/ 2923 w 9962"/>
              <a:gd name="connsiteY17" fmla="*/ 8411 h 10000"/>
              <a:gd name="connsiteX18" fmla="*/ 2960 w 9962"/>
              <a:gd name="connsiteY18" fmla="*/ 8935 h 10000"/>
              <a:gd name="connsiteX19" fmla="*/ 5724 w 9962"/>
              <a:gd name="connsiteY19" fmla="*/ 8935 h 10000"/>
              <a:gd name="connsiteX20" fmla="*/ 5761 w 9962"/>
              <a:gd name="connsiteY20" fmla="*/ 8411 h 10000"/>
              <a:gd name="connsiteX21" fmla="*/ 5761 w 9962"/>
              <a:gd name="connsiteY21" fmla="*/ 523 h 10000"/>
              <a:gd name="connsiteX22" fmla="*/ 5798 w 9962"/>
              <a:gd name="connsiteY22" fmla="*/ 0 h 10000"/>
              <a:gd name="connsiteX23" fmla="*/ 6709 w 9962"/>
              <a:gd name="connsiteY23" fmla="*/ 0 h 10000"/>
              <a:gd name="connsiteX24" fmla="*/ 6747 w 9962"/>
              <a:gd name="connsiteY24" fmla="*/ 523 h 10000"/>
              <a:gd name="connsiteX25" fmla="*/ 6747 w 9962"/>
              <a:gd name="connsiteY25" fmla="*/ 7159 h 10000"/>
              <a:gd name="connsiteX26" fmla="*/ 6783 w 9962"/>
              <a:gd name="connsiteY26" fmla="*/ 7682 h 10000"/>
              <a:gd name="connsiteX27" fmla="*/ 8170 w 9962"/>
              <a:gd name="connsiteY27" fmla="*/ 7682 h 10000"/>
              <a:gd name="connsiteX28" fmla="*/ 8207 w 9962"/>
              <a:gd name="connsiteY28" fmla="*/ 7159 h 10000"/>
              <a:gd name="connsiteX29" fmla="*/ 8207 w 9962"/>
              <a:gd name="connsiteY29" fmla="*/ 2075 h 10000"/>
              <a:gd name="connsiteX30" fmla="*/ 8244 w 9962"/>
              <a:gd name="connsiteY30" fmla="*/ 1551 h 10000"/>
              <a:gd name="connsiteX31" fmla="*/ 9962 w 9962"/>
              <a:gd name="connsiteY31" fmla="*/ 1551 h 10000"/>
              <a:gd name="connsiteX0" fmla="*/ 0 w 10000"/>
              <a:gd name="connsiteY0" fmla="*/ 9477 h 10000"/>
              <a:gd name="connsiteX1" fmla="*/ 38 w 10000"/>
              <a:gd name="connsiteY1" fmla="*/ 10000 h 10000"/>
              <a:gd name="connsiteX2" fmla="*/ 751 w 10000"/>
              <a:gd name="connsiteY2" fmla="*/ 10000 h 10000"/>
              <a:gd name="connsiteX3" fmla="*/ 788 w 10000"/>
              <a:gd name="connsiteY3" fmla="*/ 9477 h 10000"/>
              <a:gd name="connsiteX4" fmla="*/ 788 w 10000"/>
              <a:gd name="connsiteY4" fmla="*/ 6131 h 10000"/>
              <a:gd name="connsiteX5" fmla="*/ 825 w 10000"/>
              <a:gd name="connsiteY5" fmla="*/ 5607 h 10000"/>
              <a:gd name="connsiteX6" fmla="*/ 2021 w 10000"/>
              <a:gd name="connsiteY6" fmla="*/ 5607 h 10000"/>
              <a:gd name="connsiteX7" fmla="*/ 2057 w 10000"/>
              <a:gd name="connsiteY7" fmla="*/ 6131 h 10000"/>
              <a:gd name="connsiteX8" fmla="*/ 2057 w 10000"/>
              <a:gd name="connsiteY8" fmla="*/ 9477 h 10000"/>
              <a:gd name="connsiteX9" fmla="*/ 2096 w 10000"/>
              <a:gd name="connsiteY9" fmla="*/ 10000 h 10000"/>
              <a:gd name="connsiteX10" fmla="*/ 2422 w 10000"/>
              <a:gd name="connsiteY10" fmla="*/ 10000 h 10000"/>
              <a:gd name="connsiteX11" fmla="*/ 2459 w 10000"/>
              <a:gd name="connsiteY11" fmla="*/ 9477 h 10000"/>
              <a:gd name="connsiteX12" fmla="*/ 2459 w 10000"/>
              <a:gd name="connsiteY12" fmla="*/ 7178 h 10000"/>
              <a:gd name="connsiteX13" fmla="*/ 2494 w 10000"/>
              <a:gd name="connsiteY13" fmla="*/ 6654 h 10000"/>
              <a:gd name="connsiteX14" fmla="*/ 2896 w 10000"/>
              <a:gd name="connsiteY14" fmla="*/ 6654 h 10000"/>
              <a:gd name="connsiteX15" fmla="*/ 2934 w 10000"/>
              <a:gd name="connsiteY15" fmla="*/ 7178 h 10000"/>
              <a:gd name="connsiteX16" fmla="*/ 2934 w 10000"/>
              <a:gd name="connsiteY16" fmla="*/ 8411 h 10000"/>
              <a:gd name="connsiteX17" fmla="*/ 2971 w 10000"/>
              <a:gd name="connsiteY17" fmla="*/ 8935 h 10000"/>
              <a:gd name="connsiteX18" fmla="*/ 5746 w 10000"/>
              <a:gd name="connsiteY18" fmla="*/ 8935 h 10000"/>
              <a:gd name="connsiteX19" fmla="*/ 5783 w 10000"/>
              <a:gd name="connsiteY19" fmla="*/ 8411 h 10000"/>
              <a:gd name="connsiteX20" fmla="*/ 5783 w 10000"/>
              <a:gd name="connsiteY20" fmla="*/ 523 h 10000"/>
              <a:gd name="connsiteX21" fmla="*/ 5820 w 10000"/>
              <a:gd name="connsiteY21" fmla="*/ 0 h 10000"/>
              <a:gd name="connsiteX22" fmla="*/ 6735 w 10000"/>
              <a:gd name="connsiteY22" fmla="*/ 0 h 10000"/>
              <a:gd name="connsiteX23" fmla="*/ 6773 w 10000"/>
              <a:gd name="connsiteY23" fmla="*/ 523 h 10000"/>
              <a:gd name="connsiteX24" fmla="*/ 6773 w 10000"/>
              <a:gd name="connsiteY24" fmla="*/ 7159 h 10000"/>
              <a:gd name="connsiteX25" fmla="*/ 6809 w 10000"/>
              <a:gd name="connsiteY25" fmla="*/ 7682 h 10000"/>
              <a:gd name="connsiteX26" fmla="*/ 8201 w 10000"/>
              <a:gd name="connsiteY26" fmla="*/ 7682 h 10000"/>
              <a:gd name="connsiteX27" fmla="*/ 8238 w 10000"/>
              <a:gd name="connsiteY27" fmla="*/ 7159 h 10000"/>
              <a:gd name="connsiteX28" fmla="*/ 8238 w 10000"/>
              <a:gd name="connsiteY28" fmla="*/ 2075 h 10000"/>
              <a:gd name="connsiteX29" fmla="*/ 8275 w 10000"/>
              <a:gd name="connsiteY29" fmla="*/ 1551 h 10000"/>
              <a:gd name="connsiteX30" fmla="*/ 10000 w 10000"/>
              <a:gd name="connsiteY30" fmla="*/ 1551 h 10000"/>
              <a:gd name="connsiteX0" fmla="*/ 0 w 9962"/>
              <a:gd name="connsiteY0" fmla="*/ 10000 h 10000"/>
              <a:gd name="connsiteX1" fmla="*/ 713 w 9962"/>
              <a:gd name="connsiteY1" fmla="*/ 10000 h 10000"/>
              <a:gd name="connsiteX2" fmla="*/ 750 w 9962"/>
              <a:gd name="connsiteY2" fmla="*/ 9477 h 10000"/>
              <a:gd name="connsiteX3" fmla="*/ 750 w 9962"/>
              <a:gd name="connsiteY3" fmla="*/ 6131 h 10000"/>
              <a:gd name="connsiteX4" fmla="*/ 787 w 9962"/>
              <a:gd name="connsiteY4" fmla="*/ 5607 h 10000"/>
              <a:gd name="connsiteX5" fmla="*/ 1983 w 9962"/>
              <a:gd name="connsiteY5" fmla="*/ 5607 h 10000"/>
              <a:gd name="connsiteX6" fmla="*/ 2019 w 9962"/>
              <a:gd name="connsiteY6" fmla="*/ 6131 h 10000"/>
              <a:gd name="connsiteX7" fmla="*/ 2019 w 9962"/>
              <a:gd name="connsiteY7" fmla="*/ 9477 h 10000"/>
              <a:gd name="connsiteX8" fmla="*/ 2058 w 9962"/>
              <a:gd name="connsiteY8" fmla="*/ 10000 h 10000"/>
              <a:gd name="connsiteX9" fmla="*/ 2384 w 9962"/>
              <a:gd name="connsiteY9" fmla="*/ 10000 h 10000"/>
              <a:gd name="connsiteX10" fmla="*/ 2421 w 9962"/>
              <a:gd name="connsiteY10" fmla="*/ 9477 h 10000"/>
              <a:gd name="connsiteX11" fmla="*/ 2421 w 9962"/>
              <a:gd name="connsiteY11" fmla="*/ 7178 h 10000"/>
              <a:gd name="connsiteX12" fmla="*/ 2456 w 9962"/>
              <a:gd name="connsiteY12" fmla="*/ 6654 h 10000"/>
              <a:gd name="connsiteX13" fmla="*/ 2858 w 9962"/>
              <a:gd name="connsiteY13" fmla="*/ 6654 h 10000"/>
              <a:gd name="connsiteX14" fmla="*/ 2896 w 9962"/>
              <a:gd name="connsiteY14" fmla="*/ 7178 h 10000"/>
              <a:gd name="connsiteX15" fmla="*/ 2896 w 9962"/>
              <a:gd name="connsiteY15" fmla="*/ 8411 h 10000"/>
              <a:gd name="connsiteX16" fmla="*/ 2933 w 9962"/>
              <a:gd name="connsiteY16" fmla="*/ 8935 h 10000"/>
              <a:gd name="connsiteX17" fmla="*/ 5708 w 9962"/>
              <a:gd name="connsiteY17" fmla="*/ 8935 h 10000"/>
              <a:gd name="connsiteX18" fmla="*/ 5745 w 9962"/>
              <a:gd name="connsiteY18" fmla="*/ 8411 h 10000"/>
              <a:gd name="connsiteX19" fmla="*/ 5745 w 9962"/>
              <a:gd name="connsiteY19" fmla="*/ 523 h 10000"/>
              <a:gd name="connsiteX20" fmla="*/ 5782 w 9962"/>
              <a:gd name="connsiteY20" fmla="*/ 0 h 10000"/>
              <a:gd name="connsiteX21" fmla="*/ 6697 w 9962"/>
              <a:gd name="connsiteY21" fmla="*/ 0 h 10000"/>
              <a:gd name="connsiteX22" fmla="*/ 6735 w 9962"/>
              <a:gd name="connsiteY22" fmla="*/ 523 h 10000"/>
              <a:gd name="connsiteX23" fmla="*/ 6735 w 9962"/>
              <a:gd name="connsiteY23" fmla="*/ 7159 h 10000"/>
              <a:gd name="connsiteX24" fmla="*/ 6771 w 9962"/>
              <a:gd name="connsiteY24" fmla="*/ 7682 h 10000"/>
              <a:gd name="connsiteX25" fmla="*/ 8163 w 9962"/>
              <a:gd name="connsiteY25" fmla="*/ 7682 h 10000"/>
              <a:gd name="connsiteX26" fmla="*/ 8200 w 9962"/>
              <a:gd name="connsiteY26" fmla="*/ 7159 h 10000"/>
              <a:gd name="connsiteX27" fmla="*/ 8200 w 9962"/>
              <a:gd name="connsiteY27" fmla="*/ 2075 h 10000"/>
              <a:gd name="connsiteX28" fmla="*/ 8237 w 9962"/>
              <a:gd name="connsiteY28" fmla="*/ 1551 h 10000"/>
              <a:gd name="connsiteX29" fmla="*/ 9962 w 9962"/>
              <a:gd name="connsiteY29" fmla="*/ 1551 h 10000"/>
              <a:gd name="connsiteX0" fmla="*/ 0 w 9284"/>
              <a:gd name="connsiteY0" fmla="*/ 10000 h 10000"/>
              <a:gd name="connsiteX1" fmla="*/ 37 w 9284"/>
              <a:gd name="connsiteY1" fmla="*/ 9477 h 10000"/>
              <a:gd name="connsiteX2" fmla="*/ 37 w 9284"/>
              <a:gd name="connsiteY2" fmla="*/ 6131 h 10000"/>
              <a:gd name="connsiteX3" fmla="*/ 74 w 9284"/>
              <a:gd name="connsiteY3" fmla="*/ 5607 h 10000"/>
              <a:gd name="connsiteX4" fmla="*/ 1275 w 9284"/>
              <a:gd name="connsiteY4" fmla="*/ 5607 h 10000"/>
              <a:gd name="connsiteX5" fmla="*/ 1311 w 9284"/>
              <a:gd name="connsiteY5" fmla="*/ 6131 h 10000"/>
              <a:gd name="connsiteX6" fmla="*/ 1311 w 9284"/>
              <a:gd name="connsiteY6" fmla="*/ 9477 h 10000"/>
              <a:gd name="connsiteX7" fmla="*/ 1350 w 9284"/>
              <a:gd name="connsiteY7" fmla="*/ 10000 h 10000"/>
              <a:gd name="connsiteX8" fmla="*/ 1677 w 9284"/>
              <a:gd name="connsiteY8" fmla="*/ 10000 h 10000"/>
              <a:gd name="connsiteX9" fmla="*/ 1714 w 9284"/>
              <a:gd name="connsiteY9" fmla="*/ 9477 h 10000"/>
              <a:gd name="connsiteX10" fmla="*/ 1714 w 9284"/>
              <a:gd name="connsiteY10" fmla="*/ 7178 h 10000"/>
              <a:gd name="connsiteX11" fmla="*/ 1749 w 9284"/>
              <a:gd name="connsiteY11" fmla="*/ 6654 h 10000"/>
              <a:gd name="connsiteX12" fmla="*/ 2153 w 9284"/>
              <a:gd name="connsiteY12" fmla="*/ 6654 h 10000"/>
              <a:gd name="connsiteX13" fmla="*/ 2191 w 9284"/>
              <a:gd name="connsiteY13" fmla="*/ 7178 h 10000"/>
              <a:gd name="connsiteX14" fmla="*/ 2191 w 9284"/>
              <a:gd name="connsiteY14" fmla="*/ 8411 h 10000"/>
              <a:gd name="connsiteX15" fmla="*/ 2228 w 9284"/>
              <a:gd name="connsiteY15" fmla="*/ 8935 h 10000"/>
              <a:gd name="connsiteX16" fmla="*/ 5014 w 9284"/>
              <a:gd name="connsiteY16" fmla="*/ 8935 h 10000"/>
              <a:gd name="connsiteX17" fmla="*/ 5051 w 9284"/>
              <a:gd name="connsiteY17" fmla="*/ 8411 h 10000"/>
              <a:gd name="connsiteX18" fmla="*/ 5051 w 9284"/>
              <a:gd name="connsiteY18" fmla="*/ 523 h 10000"/>
              <a:gd name="connsiteX19" fmla="*/ 5088 w 9284"/>
              <a:gd name="connsiteY19" fmla="*/ 0 h 10000"/>
              <a:gd name="connsiteX20" fmla="*/ 6007 w 9284"/>
              <a:gd name="connsiteY20" fmla="*/ 0 h 10000"/>
              <a:gd name="connsiteX21" fmla="*/ 6045 w 9284"/>
              <a:gd name="connsiteY21" fmla="*/ 523 h 10000"/>
              <a:gd name="connsiteX22" fmla="*/ 6045 w 9284"/>
              <a:gd name="connsiteY22" fmla="*/ 7159 h 10000"/>
              <a:gd name="connsiteX23" fmla="*/ 6081 w 9284"/>
              <a:gd name="connsiteY23" fmla="*/ 7682 h 10000"/>
              <a:gd name="connsiteX24" fmla="*/ 7478 w 9284"/>
              <a:gd name="connsiteY24" fmla="*/ 7682 h 10000"/>
              <a:gd name="connsiteX25" fmla="*/ 7515 w 9284"/>
              <a:gd name="connsiteY25" fmla="*/ 7159 h 10000"/>
              <a:gd name="connsiteX26" fmla="*/ 7515 w 9284"/>
              <a:gd name="connsiteY26" fmla="*/ 2075 h 10000"/>
              <a:gd name="connsiteX27" fmla="*/ 7552 w 9284"/>
              <a:gd name="connsiteY27" fmla="*/ 1551 h 10000"/>
              <a:gd name="connsiteX28" fmla="*/ 9284 w 9284"/>
              <a:gd name="connsiteY28" fmla="*/ 1551 h 10000"/>
              <a:gd name="connsiteX0" fmla="*/ 0 w 9960"/>
              <a:gd name="connsiteY0" fmla="*/ 9477 h 10000"/>
              <a:gd name="connsiteX1" fmla="*/ 0 w 9960"/>
              <a:gd name="connsiteY1" fmla="*/ 6131 h 10000"/>
              <a:gd name="connsiteX2" fmla="*/ 40 w 9960"/>
              <a:gd name="connsiteY2" fmla="*/ 5607 h 10000"/>
              <a:gd name="connsiteX3" fmla="*/ 1333 w 9960"/>
              <a:gd name="connsiteY3" fmla="*/ 5607 h 10000"/>
              <a:gd name="connsiteX4" fmla="*/ 1372 w 9960"/>
              <a:gd name="connsiteY4" fmla="*/ 6131 h 10000"/>
              <a:gd name="connsiteX5" fmla="*/ 1372 w 9960"/>
              <a:gd name="connsiteY5" fmla="*/ 9477 h 10000"/>
              <a:gd name="connsiteX6" fmla="*/ 1414 w 9960"/>
              <a:gd name="connsiteY6" fmla="*/ 10000 h 10000"/>
              <a:gd name="connsiteX7" fmla="*/ 1766 w 9960"/>
              <a:gd name="connsiteY7" fmla="*/ 10000 h 10000"/>
              <a:gd name="connsiteX8" fmla="*/ 1806 w 9960"/>
              <a:gd name="connsiteY8" fmla="*/ 9477 h 10000"/>
              <a:gd name="connsiteX9" fmla="*/ 1806 w 9960"/>
              <a:gd name="connsiteY9" fmla="*/ 7178 h 10000"/>
              <a:gd name="connsiteX10" fmla="*/ 1844 w 9960"/>
              <a:gd name="connsiteY10" fmla="*/ 6654 h 10000"/>
              <a:gd name="connsiteX11" fmla="*/ 2279 w 9960"/>
              <a:gd name="connsiteY11" fmla="*/ 6654 h 10000"/>
              <a:gd name="connsiteX12" fmla="*/ 2320 w 9960"/>
              <a:gd name="connsiteY12" fmla="*/ 7178 h 10000"/>
              <a:gd name="connsiteX13" fmla="*/ 2320 w 9960"/>
              <a:gd name="connsiteY13" fmla="*/ 8411 h 10000"/>
              <a:gd name="connsiteX14" fmla="*/ 2360 w 9960"/>
              <a:gd name="connsiteY14" fmla="*/ 8935 h 10000"/>
              <a:gd name="connsiteX15" fmla="*/ 5361 w 9960"/>
              <a:gd name="connsiteY15" fmla="*/ 8935 h 10000"/>
              <a:gd name="connsiteX16" fmla="*/ 5401 w 9960"/>
              <a:gd name="connsiteY16" fmla="*/ 8411 h 10000"/>
              <a:gd name="connsiteX17" fmla="*/ 5401 w 9960"/>
              <a:gd name="connsiteY17" fmla="*/ 523 h 10000"/>
              <a:gd name="connsiteX18" fmla="*/ 5440 w 9960"/>
              <a:gd name="connsiteY18" fmla="*/ 0 h 10000"/>
              <a:gd name="connsiteX19" fmla="*/ 6430 w 9960"/>
              <a:gd name="connsiteY19" fmla="*/ 0 h 10000"/>
              <a:gd name="connsiteX20" fmla="*/ 6471 w 9960"/>
              <a:gd name="connsiteY20" fmla="*/ 523 h 10000"/>
              <a:gd name="connsiteX21" fmla="*/ 6471 w 9960"/>
              <a:gd name="connsiteY21" fmla="*/ 7159 h 10000"/>
              <a:gd name="connsiteX22" fmla="*/ 6510 w 9960"/>
              <a:gd name="connsiteY22" fmla="*/ 7682 h 10000"/>
              <a:gd name="connsiteX23" fmla="*/ 8015 w 9960"/>
              <a:gd name="connsiteY23" fmla="*/ 7682 h 10000"/>
              <a:gd name="connsiteX24" fmla="*/ 8055 w 9960"/>
              <a:gd name="connsiteY24" fmla="*/ 7159 h 10000"/>
              <a:gd name="connsiteX25" fmla="*/ 8055 w 9960"/>
              <a:gd name="connsiteY25" fmla="*/ 2075 h 10000"/>
              <a:gd name="connsiteX26" fmla="*/ 8094 w 9960"/>
              <a:gd name="connsiteY26" fmla="*/ 1551 h 10000"/>
              <a:gd name="connsiteX27" fmla="*/ 9960 w 9960"/>
              <a:gd name="connsiteY27" fmla="*/ 1551 h 10000"/>
              <a:gd name="connsiteX0" fmla="*/ 0 w 10000"/>
              <a:gd name="connsiteY0" fmla="*/ 6131 h 10000"/>
              <a:gd name="connsiteX1" fmla="*/ 40 w 10000"/>
              <a:gd name="connsiteY1" fmla="*/ 5607 h 10000"/>
              <a:gd name="connsiteX2" fmla="*/ 1338 w 10000"/>
              <a:gd name="connsiteY2" fmla="*/ 5607 h 10000"/>
              <a:gd name="connsiteX3" fmla="*/ 1378 w 10000"/>
              <a:gd name="connsiteY3" fmla="*/ 6131 h 10000"/>
              <a:gd name="connsiteX4" fmla="*/ 1378 w 10000"/>
              <a:gd name="connsiteY4" fmla="*/ 9477 h 10000"/>
              <a:gd name="connsiteX5" fmla="*/ 1420 w 10000"/>
              <a:gd name="connsiteY5" fmla="*/ 10000 h 10000"/>
              <a:gd name="connsiteX6" fmla="*/ 1773 w 10000"/>
              <a:gd name="connsiteY6" fmla="*/ 10000 h 10000"/>
              <a:gd name="connsiteX7" fmla="*/ 1813 w 10000"/>
              <a:gd name="connsiteY7" fmla="*/ 9477 h 10000"/>
              <a:gd name="connsiteX8" fmla="*/ 1813 w 10000"/>
              <a:gd name="connsiteY8" fmla="*/ 7178 h 10000"/>
              <a:gd name="connsiteX9" fmla="*/ 1851 w 10000"/>
              <a:gd name="connsiteY9" fmla="*/ 6654 h 10000"/>
              <a:gd name="connsiteX10" fmla="*/ 2288 w 10000"/>
              <a:gd name="connsiteY10" fmla="*/ 6654 h 10000"/>
              <a:gd name="connsiteX11" fmla="*/ 2329 w 10000"/>
              <a:gd name="connsiteY11" fmla="*/ 7178 h 10000"/>
              <a:gd name="connsiteX12" fmla="*/ 2329 w 10000"/>
              <a:gd name="connsiteY12" fmla="*/ 8411 h 10000"/>
              <a:gd name="connsiteX13" fmla="*/ 2369 w 10000"/>
              <a:gd name="connsiteY13" fmla="*/ 8935 h 10000"/>
              <a:gd name="connsiteX14" fmla="*/ 5383 w 10000"/>
              <a:gd name="connsiteY14" fmla="*/ 8935 h 10000"/>
              <a:gd name="connsiteX15" fmla="*/ 5423 w 10000"/>
              <a:gd name="connsiteY15" fmla="*/ 8411 h 10000"/>
              <a:gd name="connsiteX16" fmla="*/ 5423 w 10000"/>
              <a:gd name="connsiteY16" fmla="*/ 523 h 10000"/>
              <a:gd name="connsiteX17" fmla="*/ 5462 w 10000"/>
              <a:gd name="connsiteY17" fmla="*/ 0 h 10000"/>
              <a:gd name="connsiteX18" fmla="*/ 6456 w 10000"/>
              <a:gd name="connsiteY18" fmla="*/ 0 h 10000"/>
              <a:gd name="connsiteX19" fmla="*/ 6497 w 10000"/>
              <a:gd name="connsiteY19" fmla="*/ 523 h 10000"/>
              <a:gd name="connsiteX20" fmla="*/ 6497 w 10000"/>
              <a:gd name="connsiteY20" fmla="*/ 7159 h 10000"/>
              <a:gd name="connsiteX21" fmla="*/ 6536 w 10000"/>
              <a:gd name="connsiteY21" fmla="*/ 7682 h 10000"/>
              <a:gd name="connsiteX22" fmla="*/ 8047 w 10000"/>
              <a:gd name="connsiteY22" fmla="*/ 7682 h 10000"/>
              <a:gd name="connsiteX23" fmla="*/ 8087 w 10000"/>
              <a:gd name="connsiteY23" fmla="*/ 7159 h 10000"/>
              <a:gd name="connsiteX24" fmla="*/ 8087 w 10000"/>
              <a:gd name="connsiteY24" fmla="*/ 2075 h 10000"/>
              <a:gd name="connsiteX25" fmla="*/ 8127 w 10000"/>
              <a:gd name="connsiteY25" fmla="*/ 1551 h 10000"/>
              <a:gd name="connsiteX26" fmla="*/ 10000 w 10000"/>
              <a:gd name="connsiteY26" fmla="*/ 1551 h 10000"/>
              <a:gd name="connsiteX0" fmla="*/ 0 w 8127"/>
              <a:gd name="connsiteY0" fmla="*/ 6131 h 10000"/>
              <a:gd name="connsiteX1" fmla="*/ 40 w 8127"/>
              <a:gd name="connsiteY1" fmla="*/ 5607 h 10000"/>
              <a:gd name="connsiteX2" fmla="*/ 1338 w 8127"/>
              <a:gd name="connsiteY2" fmla="*/ 5607 h 10000"/>
              <a:gd name="connsiteX3" fmla="*/ 1378 w 8127"/>
              <a:gd name="connsiteY3" fmla="*/ 6131 h 10000"/>
              <a:gd name="connsiteX4" fmla="*/ 1378 w 8127"/>
              <a:gd name="connsiteY4" fmla="*/ 9477 h 10000"/>
              <a:gd name="connsiteX5" fmla="*/ 1420 w 8127"/>
              <a:gd name="connsiteY5" fmla="*/ 10000 h 10000"/>
              <a:gd name="connsiteX6" fmla="*/ 1773 w 8127"/>
              <a:gd name="connsiteY6" fmla="*/ 10000 h 10000"/>
              <a:gd name="connsiteX7" fmla="*/ 1813 w 8127"/>
              <a:gd name="connsiteY7" fmla="*/ 9477 h 10000"/>
              <a:gd name="connsiteX8" fmla="*/ 1813 w 8127"/>
              <a:gd name="connsiteY8" fmla="*/ 7178 h 10000"/>
              <a:gd name="connsiteX9" fmla="*/ 1851 w 8127"/>
              <a:gd name="connsiteY9" fmla="*/ 6654 h 10000"/>
              <a:gd name="connsiteX10" fmla="*/ 2288 w 8127"/>
              <a:gd name="connsiteY10" fmla="*/ 6654 h 10000"/>
              <a:gd name="connsiteX11" fmla="*/ 2329 w 8127"/>
              <a:gd name="connsiteY11" fmla="*/ 7178 h 10000"/>
              <a:gd name="connsiteX12" fmla="*/ 2329 w 8127"/>
              <a:gd name="connsiteY12" fmla="*/ 8411 h 10000"/>
              <a:gd name="connsiteX13" fmla="*/ 2369 w 8127"/>
              <a:gd name="connsiteY13" fmla="*/ 8935 h 10000"/>
              <a:gd name="connsiteX14" fmla="*/ 5383 w 8127"/>
              <a:gd name="connsiteY14" fmla="*/ 8935 h 10000"/>
              <a:gd name="connsiteX15" fmla="*/ 5423 w 8127"/>
              <a:gd name="connsiteY15" fmla="*/ 8411 h 10000"/>
              <a:gd name="connsiteX16" fmla="*/ 5423 w 8127"/>
              <a:gd name="connsiteY16" fmla="*/ 523 h 10000"/>
              <a:gd name="connsiteX17" fmla="*/ 5462 w 8127"/>
              <a:gd name="connsiteY17" fmla="*/ 0 h 10000"/>
              <a:gd name="connsiteX18" fmla="*/ 6456 w 8127"/>
              <a:gd name="connsiteY18" fmla="*/ 0 h 10000"/>
              <a:gd name="connsiteX19" fmla="*/ 6497 w 8127"/>
              <a:gd name="connsiteY19" fmla="*/ 523 h 10000"/>
              <a:gd name="connsiteX20" fmla="*/ 6497 w 8127"/>
              <a:gd name="connsiteY20" fmla="*/ 7159 h 10000"/>
              <a:gd name="connsiteX21" fmla="*/ 6536 w 8127"/>
              <a:gd name="connsiteY21" fmla="*/ 7682 h 10000"/>
              <a:gd name="connsiteX22" fmla="*/ 8047 w 8127"/>
              <a:gd name="connsiteY22" fmla="*/ 7682 h 10000"/>
              <a:gd name="connsiteX23" fmla="*/ 8087 w 8127"/>
              <a:gd name="connsiteY23" fmla="*/ 7159 h 10000"/>
              <a:gd name="connsiteX24" fmla="*/ 8087 w 8127"/>
              <a:gd name="connsiteY24" fmla="*/ 2075 h 10000"/>
              <a:gd name="connsiteX25" fmla="*/ 8127 w 8127"/>
              <a:gd name="connsiteY25" fmla="*/ 1551 h 10000"/>
              <a:gd name="connsiteX0" fmla="*/ 0 w 9951"/>
              <a:gd name="connsiteY0" fmla="*/ 6131 h 10000"/>
              <a:gd name="connsiteX1" fmla="*/ 49 w 9951"/>
              <a:gd name="connsiteY1" fmla="*/ 5607 h 10000"/>
              <a:gd name="connsiteX2" fmla="*/ 1646 w 9951"/>
              <a:gd name="connsiteY2" fmla="*/ 5607 h 10000"/>
              <a:gd name="connsiteX3" fmla="*/ 1696 w 9951"/>
              <a:gd name="connsiteY3" fmla="*/ 6131 h 10000"/>
              <a:gd name="connsiteX4" fmla="*/ 1696 w 9951"/>
              <a:gd name="connsiteY4" fmla="*/ 9477 h 10000"/>
              <a:gd name="connsiteX5" fmla="*/ 1747 w 9951"/>
              <a:gd name="connsiteY5" fmla="*/ 10000 h 10000"/>
              <a:gd name="connsiteX6" fmla="*/ 2182 w 9951"/>
              <a:gd name="connsiteY6" fmla="*/ 10000 h 10000"/>
              <a:gd name="connsiteX7" fmla="*/ 2231 w 9951"/>
              <a:gd name="connsiteY7" fmla="*/ 9477 h 10000"/>
              <a:gd name="connsiteX8" fmla="*/ 2231 w 9951"/>
              <a:gd name="connsiteY8" fmla="*/ 7178 h 10000"/>
              <a:gd name="connsiteX9" fmla="*/ 2278 w 9951"/>
              <a:gd name="connsiteY9" fmla="*/ 6654 h 10000"/>
              <a:gd name="connsiteX10" fmla="*/ 2815 w 9951"/>
              <a:gd name="connsiteY10" fmla="*/ 6654 h 10000"/>
              <a:gd name="connsiteX11" fmla="*/ 2866 w 9951"/>
              <a:gd name="connsiteY11" fmla="*/ 7178 h 10000"/>
              <a:gd name="connsiteX12" fmla="*/ 2866 w 9951"/>
              <a:gd name="connsiteY12" fmla="*/ 8411 h 10000"/>
              <a:gd name="connsiteX13" fmla="*/ 2915 w 9951"/>
              <a:gd name="connsiteY13" fmla="*/ 8935 h 10000"/>
              <a:gd name="connsiteX14" fmla="*/ 6624 w 9951"/>
              <a:gd name="connsiteY14" fmla="*/ 8935 h 10000"/>
              <a:gd name="connsiteX15" fmla="*/ 6673 w 9951"/>
              <a:gd name="connsiteY15" fmla="*/ 8411 h 10000"/>
              <a:gd name="connsiteX16" fmla="*/ 6673 w 9951"/>
              <a:gd name="connsiteY16" fmla="*/ 523 h 10000"/>
              <a:gd name="connsiteX17" fmla="*/ 6721 w 9951"/>
              <a:gd name="connsiteY17" fmla="*/ 0 h 10000"/>
              <a:gd name="connsiteX18" fmla="*/ 7944 w 9951"/>
              <a:gd name="connsiteY18" fmla="*/ 0 h 10000"/>
              <a:gd name="connsiteX19" fmla="*/ 7994 w 9951"/>
              <a:gd name="connsiteY19" fmla="*/ 523 h 10000"/>
              <a:gd name="connsiteX20" fmla="*/ 7994 w 9951"/>
              <a:gd name="connsiteY20" fmla="*/ 7159 h 10000"/>
              <a:gd name="connsiteX21" fmla="*/ 8042 w 9951"/>
              <a:gd name="connsiteY21" fmla="*/ 7682 h 10000"/>
              <a:gd name="connsiteX22" fmla="*/ 9902 w 9951"/>
              <a:gd name="connsiteY22" fmla="*/ 7682 h 10000"/>
              <a:gd name="connsiteX23" fmla="*/ 9951 w 9951"/>
              <a:gd name="connsiteY23" fmla="*/ 7159 h 10000"/>
              <a:gd name="connsiteX24" fmla="*/ 9951 w 9951"/>
              <a:gd name="connsiteY24" fmla="*/ 2075 h 10000"/>
              <a:gd name="connsiteX0" fmla="*/ 0 w 10000"/>
              <a:gd name="connsiteY0" fmla="*/ 6131 h 10000"/>
              <a:gd name="connsiteX1" fmla="*/ 49 w 10000"/>
              <a:gd name="connsiteY1" fmla="*/ 5607 h 10000"/>
              <a:gd name="connsiteX2" fmla="*/ 1654 w 10000"/>
              <a:gd name="connsiteY2" fmla="*/ 5607 h 10000"/>
              <a:gd name="connsiteX3" fmla="*/ 1704 w 10000"/>
              <a:gd name="connsiteY3" fmla="*/ 6131 h 10000"/>
              <a:gd name="connsiteX4" fmla="*/ 1704 w 10000"/>
              <a:gd name="connsiteY4" fmla="*/ 9477 h 10000"/>
              <a:gd name="connsiteX5" fmla="*/ 1756 w 10000"/>
              <a:gd name="connsiteY5" fmla="*/ 10000 h 10000"/>
              <a:gd name="connsiteX6" fmla="*/ 2193 w 10000"/>
              <a:gd name="connsiteY6" fmla="*/ 10000 h 10000"/>
              <a:gd name="connsiteX7" fmla="*/ 2242 w 10000"/>
              <a:gd name="connsiteY7" fmla="*/ 9477 h 10000"/>
              <a:gd name="connsiteX8" fmla="*/ 2242 w 10000"/>
              <a:gd name="connsiteY8" fmla="*/ 7178 h 10000"/>
              <a:gd name="connsiteX9" fmla="*/ 2289 w 10000"/>
              <a:gd name="connsiteY9" fmla="*/ 6654 h 10000"/>
              <a:gd name="connsiteX10" fmla="*/ 2829 w 10000"/>
              <a:gd name="connsiteY10" fmla="*/ 6654 h 10000"/>
              <a:gd name="connsiteX11" fmla="*/ 2880 w 10000"/>
              <a:gd name="connsiteY11" fmla="*/ 7178 h 10000"/>
              <a:gd name="connsiteX12" fmla="*/ 2880 w 10000"/>
              <a:gd name="connsiteY12" fmla="*/ 8411 h 10000"/>
              <a:gd name="connsiteX13" fmla="*/ 2929 w 10000"/>
              <a:gd name="connsiteY13" fmla="*/ 8935 h 10000"/>
              <a:gd name="connsiteX14" fmla="*/ 6657 w 10000"/>
              <a:gd name="connsiteY14" fmla="*/ 8935 h 10000"/>
              <a:gd name="connsiteX15" fmla="*/ 6706 w 10000"/>
              <a:gd name="connsiteY15" fmla="*/ 8411 h 10000"/>
              <a:gd name="connsiteX16" fmla="*/ 6706 w 10000"/>
              <a:gd name="connsiteY16" fmla="*/ 523 h 10000"/>
              <a:gd name="connsiteX17" fmla="*/ 6754 w 10000"/>
              <a:gd name="connsiteY17" fmla="*/ 0 h 10000"/>
              <a:gd name="connsiteX18" fmla="*/ 7983 w 10000"/>
              <a:gd name="connsiteY18" fmla="*/ 0 h 10000"/>
              <a:gd name="connsiteX19" fmla="*/ 8033 w 10000"/>
              <a:gd name="connsiteY19" fmla="*/ 523 h 10000"/>
              <a:gd name="connsiteX20" fmla="*/ 8033 w 10000"/>
              <a:gd name="connsiteY20" fmla="*/ 7159 h 10000"/>
              <a:gd name="connsiteX21" fmla="*/ 8082 w 10000"/>
              <a:gd name="connsiteY21" fmla="*/ 7682 h 10000"/>
              <a:gd name="connsiteX22" fmla="*/ 9951 w 10000"/>
              <a:gd name="connsiteY22" fmla="*/ 7682 h 10000"/>
              <a:gd name="connsiteX23" fmla="*/ 10000 w 10000"/>
              <a:gd name="connsiteY23" fmla="*/ 7159 h 10000"/>
              <a:gd name="connsiteX0" fmla="*/ 0 w 9951"/>
              <a:gd name="connsiteY0" fmla="*/ 6131 h 10000"/>
              <a:gd name="connsiteX1" fmla="*/ 49 w 9951"/>
              <a:gd name="connsiteY1" fmla="*/ 5607 h 10000"/>
              <a:gd name="connsiteX2" fmla="*/ 1654 w 9951"/>
              <a:gd name="connsiteY2" fmla="*/ 5607 h 10000"/>
              <a:gd name="connsiteX3" fmla="*/ 1704 w 9951"/>
              <a:gd name="connsiteY3" fmla="*/ 6131 h 10000"/>
              <a:gd name="connsiteX4" fmla="*/ 1704 w 9951"/>
              <a:gd name="connsiteY4" fmla="*/ 9477 h 10000"/>
              <a:gd name="connsiteX5" fmla="*/ 1756 w 9951"/>
              <a:gd name="connsiteY5" fmla="*/ 10000 h 10000"/>
              <a:gd name="connsiteX6" fmla="*/ 2193 w 9951"/>
              <a:gd name="connsiteY6" fmla="*/ 10000 h 10000"/>
              <a:gd name="connsiteX7" fmla="*/ 2242 w 9951"/>
              <a:gd name="connsiteY7" fmla="*/ 9477 h 10000"/>
              <a:gd name="connsiteX8" fmla="*/ 2242 w 9951"/>
              <a:gd name="connsiteY8" fmla="*/ 7178 h 10000"/>
              <a:gd name="connsiteX9" fmla="*/ 2289 w 9951"/>
              <a:gd name="connsiteY9" fmla="*/ 6654 h 10000"/>
              <a:gd name="connsiteX10" fmla="*/ 2829 w 9951"/>
              <a:gd name="connsiteY10" fmla="*/ 6654 h 10000"/>
              <a:gd name="connsiteX11" fmla="*/ 2880 w 9951"/>
              <a:gd name="connsiteY11" fmla="*/ 7178 h 10000"/>
              <a:gd name="connsiteX12" fmla="*/ 2880 w 9951"/>
              <a:gd name="connsiteY12" fmla="*/ 8411 h 10000"/>
              <a:gd name="connsiteX13" fmla="*/ 2929 w 9951"/>
              <a:gd name="connsiteY13" fmla="*/ 8935 h 10000"/>
              <a:gd name="connsiteX14" fmla="*/ 6657 w 9951"/>
              <a:gd name="connsiteY14" fmla="*/ 8935 h 10000"/>
              <a:gd name="connsiteX15" fmla="*/ 6706 w 9951"/>
              <a:gd name="connsiteY15" fmla="*/ 8411 h 10000"/>
              <a:gd name="connsiteX16" fmla="*/ 6706 w 9951"/>
              <a:gd name="connsiteY16" fmla="*/ 523 h 10000"/>
              <a:gd name="connsiteX17" fmla="*/ 6754 w 9951"/>
              <a:gd name="connsiteY17" fmla="*/ 0 h 10000"/>
              <a:gd name="connsiteX18" fmla="*/ 7983 w 9951"/>
              <a:gd name="connsiteY18" fmla="*/ 0 h 10000"/>
              <a:gd name="connsiteX19" fmla="*/ 8033 w 9951"/>
              <a:gd name="connsiteY19" fmla="*/ 523 h 10000"/>
              <a:gd name="connsiteX20" fmla="*/ 8033 w 9951"/>
              <a:gd name="connsiteY20" fmla="*/ 7159 h 10000"/>
              <a:gd name="connsiteX21" fmla="*/ 8082 w 9951"/>
              <a:gd name="connsiteY21" fmla="*/ 7682 h 10000"/>
              <a:gd name="connsiteX22" fmla="*/ 9951 w 9951"/>
              <a:gd name="connsiteY22" fmla="*/ 7682 h 10000"/>
              <a:gd name="connsiteX0" fmla="*/ 0 w 10000"/>
              <a:gd name="connsiteY0" fmla="*/ 6131 h 10000"/>
              <a:gd name="connsiteX1" fmla="*/ 1662 w 10000"/>
              <a:gd name="connsiteY1" fmla="*/ 5607 h 10000"/>
              <a:gd name="connsiteX2" fmla="*/ 1712 w 10000"/>
              <a:gd name="connsiteY2" fmla="*/ 6131 h 10000"/>
              <a:gd name="connsiteX3" fmla="*/ 1712 w 10000"/>
              <a:gd name="connsiteY3" fmla="*/ 9477 h 10000"/>
              <a:gd name="connsiteX4" fmla="*/ 1765 w 10000"/>
              <a:gd name="connsiteY4" fmla="*/ 10000 h 10000"/>
              <a:gd name="connsiteX5" fmla="*/ 2204 w 10000"/>
              <a:gd name="connsiteY5" fmla="*/ 10000 h 10000"/>
              <a:gd name="connsiteX6" fmla="*/ 2253 w 10000"/>
              <a:gd name="connsiteY6" fmla="*/ 9477 h 10000"/>
              <a:gd name="connsiteX7" fmla="*/ 2253 w 10000"/>
              <a:gd name="connsiteY7" fmla="*/ 7178 h 10000"/>
              <a:gd name="connsiteX8" fmla="*/ 2300 w 10000"/>
              <a:gd name="connsiteY8" fmla="*/ 6654 h 10000"/>
              <a:gd name="connsiteX9" fmla="*/ 2843 w 10000"/>
              <a:gd name="connsiteY9" fmla="*/ 6654 h 10000"/>
              <a:gd name="connsiteX10" fmla="*/ 2894 w 10000"/>
              <a:gd name="connsiteY10" fmla="*/ 7178 h 10000"/>
              <a:gd name="connsiteX11" fmla="*/ 2894 w 10000"/>
              <a:gd name="connsiteY11" fmla="*/ 8411 h 10000"/>
              <a:gd name="connsiteX12" fmla="*/ 2943 w 10000"/>
              <a:gd name="connsiteY12" fmla="*/ 8935 h 10000"/>
              <a:gd name="connsiteX13" fmla="*/ 6690 w 10000"/>
              <a:gd name="connsiteY13" fmla="*/ 8935 h 10000"/>
              <a:gd name="connsiteX14" fmla="*/ 6739 w 10000"/>
              <a:gd name="connsiteY14" fmla="*/ 8411 h 10000"/>
              <a:gd name="connsiteX15" fmla="*/ 6739 w 10000"/>
              <a:gd name="connsiteY15" fmla="*/ 523 h 10000"/>
              <a:gd name="connsiteX16" fmla="*/ 6787 w 10000"/>
              <a:gd name="connsiteY16" fmla="*/ 0 h 10000"/>
              <a:gd name="connsiteX17" fmla="*/ 8022 w 10000"/>
              <a:gd name="connsiteY17" fmla="*/ 0 h 10000"/>
              <a:gd name="connsiteX18" fmla="*/ 8073 w 10000"/>
              <a:gd name="connsiteY18" fmla="*/ 523 h 10000"/>
              <a:gd name="connsiteX19" fmla="*/ 8073 w 10000"/>
              <a:gd name="connsiteY19" fmla="*/ 7159 h 10000"/>
              <a:gd name="connsiteX20" fmla="*/ 8122 w 10000"/>
              <a:gd name="connsiteY20" fmla="*/ 7682 h 10000"/>
              <a:gd name="connsiteX21" fmla="*/ 10000 w 10000"/>
              <a:gd name="connsiteY21" fmla="*/ 7682 h 10000"/>
              <a:gd name="connsiteX0" fmla="*/ 0 w 8657"/>
              <a:gd name="connsiteY0" fmla="*/ 5687 h 10000"/>
              <a:gd name="connsiteX1" fmla="*/ 319 w 8657"/>
              <a:gd name="connsiteY1" fmla="*/ 5607 h 10000"/>
              <a:gd name="connsiteX2" fmla="*/ 369 w 8657"/>
              <a:gd name="connsiteY2" fmla="*/ 6131 h 10000"/>
              <a:gd name="connsiteX3" fmla="*/ 369 w 8657"/>
              <a:gd name="connsiteY3" fmla="*/ 9477 h 10000"/>
              <a:gd name="connsiteX4" fmla="*/ 422 w 8657"/>
              <a:gd name="connsiteY4" fmla="*/ 10000 h 10000"/>
              <a:gd name="connsiteX5" fmla="*/ 861 w 8657"/>
              <a:gd name="connsiteY5" fmla="*/ 10000 h 10000"/>
              <a:gd name="connsiteX6" fmla="*/ 910 w 8657"/>
              <a:gd name="connsiteY6" fmla="*/ 9477 h 10000"/>
              <a:gd name="connsiteX7" fmla="*/ 910 w 8657"/>
              <a:gd name="connsiteY7" fmla="*/ 7178 h 10000"/>
              <a:gd name="connsiteX8" fmla="*/ 957 w 8657"/>
              <a:gd name="connsiteY8" fmla="*/ 6654 h 10000"/>
              <a:gd name="connsiteX9" fmla="*/ 1500 w 8657"/>
              <a:gd name="connsiteY9" fmla="*/ 6654 h 10000"/>
              <a:gd name="connsiteX10" fmla="*/ 1551 w 8657"/>
              <a:gd name="connsiteY10" fmla="*/ 7178 h 10000"/>
              <a:gd name="connsiteX11" fmla="*/ 1551 w 8657"/>
              <a:gd name="connsiteY11" fmla="*/ 8411 h 10000"/>
              <a:gd name="connsiteX12" fmla="*/ 1600 w 8657"/>
              <a:gd name="connsiteY12" fmla="*/ 8935 h 10000"/>
              <a:gd name="connsiteX13" fmla="*/ 5347 w 8657"/>
              <a:gd name="connsiteY13" fmla="*/ 8935 h 10000"/>
              <a:gd name="connsiteX14" fmla="*/ 5396 w 8657"/>
              <a:gd name="connsiteY14" fmla="*/ 8411 h 10000"/>
              <a:gd name="connsiteX15" fmla="*/ 5396 w 8657"/>
              <a:gd name="connsiteY15" fmla="*/ 523 h 10000"/>
              <a:gd name="connsiteX16" fmla="*/ 5444 w 8657"/>
              <a:gd name="connsiteY16" fmla="*/ 0 h 10000"/>
              <a:gd name="connsiteX17" fmla="*/ 6679 w 8657"/>
              <a:gd name="connsiteY17" fmla="*/ 0 h 10000"/>
              <a:gd name="connsiteX18" fmla="*/ 6730 w 8657"/>
              <a:gd name="connsiteY18" fmla="*/ 523 h 10000"/>
              <a:gd name="connsiteX19" fmla="*/ 6730 w 8657"/>
              <a:gd name="connsiteY19" fmla="*/ 7159 h 10000"/>
              <a:gd name="connsiteX20" fmla="*/ 6779 w 8657"/>
              <a:gd name="connsiteY20" fmla="*/ 7682 h 10000"/>
              <a:gd name="connsiteX21" fmla="*/ 8657 w 8657"/>
              <a:gd name="connsiteY21" fmla="*/ 7682 h 10000"/>
              <a:gd name="connsiteX0" fmla="*/ 0 w 10000"/>
              <a:gd name="connsiteY0" fmla="*/ 5583 h 10000"/>
              <a:gd name="connsiteX1" fmla="*/ 368 w 10000"/>
              <a:gd name="connsiteY1" fmla="*/ 5607 h 10000"/>
              <a:gd name="connsiteX2" fmla="*/ 426 w 10000"/>
              <a:gd name="connsiteY2" fmla="*/ 6131 h 10000"/>
              <a:gd name="connsiteX3" fmla="*/ 426 w 10000"/>
              <a:gd name="connsiteY3" fmla="*/ 9477 h 10000"/>
              <a:gd name="connsiteX4" fmla="*/ 487 w 10000"/>
              <a:gd name="connsiteY4" fmla="*/ 10000 h 10000"/>
              <a:gd name="connsiteX5" fmla="*/ 995 w 10000"/>
              <a:gd name="connsiteY5" fmla="*/ 10000 h 10000"/>
              <a:gd name="connsiteX6" fmla="*/ 1051 w 10000"/>
              <a:gd name="connsiteY6" fmla="*/ 9477 h 10000"/>
              <a:gd name="connsiteX7" fmla="*/ 1051 w 10000"/>
              <a:gd name="connsiteY7" fmla="*/ 7178 h 10000"/>
              <a:gd name="connsiteX8" fmla="*/ 1105 w 10000"/>
              <a:gd name="connsiteY8" fmla="*/ 6654 h 10000"/>
              <a:gd name="connsiteX9" fmla="*/ 1733 w 10000"/>
              <a:gd name="connsiteY9" fmla="*/ 6654 h 10000"/>
              <a:gd name="connsiteX10" fmla="*/ 1792 w 10000"/>
              <a:gd name="connsiteY10" fmla="*/ 7178 h 10000"/>
              <a:gd name="connsiteX11" fmla="*/ 1792 w 10000"/>
              <a:gd name="connsiteY11" fmla="*/ 8411 h 10000"/>
              <a:gd name="connsiteX12" fmla="*/ 1848 w 10000"/>
              <a:gd name="connsiteY12" fmla="*/ 8935 h 10000"/>
              <a:gd name="connsiteX13" fmla="*/ 6177 w 10000"/>
              <a:gd name="connsiteY13" fmla="*/ 8935 h 10000"/>
              <a:gd name="connsiteX14" fmla="*/ 6233 w 10000"/>
              <a:gd name="connsiteY14" fmla="*/ 8411 h 10000"/>
              <a:gd name="connsiteX15" fmla="*/ 6233 w 10000"/>
              <a:gd name="connsiteY15" fmla="*/ 523 h 10000"/>
              <a:gd name="connsiteX16" fmla="*/ 6289 w 10000"/>
              <a:gd name="connsiteY16" fmla="*/ 0 h 10000"/>
              <a:gd name="connsiteX17" fmla="*/ 7715 w 10000"/>
              <a:gd name="connsiteY17" fmla="*/ 0 h 10000"/>
              <a:gd name="connsiteX18" fmla="*/ 7774 w 10000"/>
              <a:gd name="connsiteY18" fmla="*/ 523 h 10000"/>
              <a:gd name="connsiteX19" fmla="*/ 7774 w 10000"/>
              <a:gd name="connsiteY19" fmla="*/ 7159 h 10000"/>
              <a:gd name="connsiteX20" fmla="*/ 7831 w 10000"/>
              <a:gd name="connsiteY20" fmla="*/ 7682 h 10000"/>
              <a:gd name="connsiteX21" fmla="*/ 10000 w 10000"/>
              <a:gd name="connsiteY21" fmla="*/ 7682 h 10000"/>
              <a:gd name="connsiteX0" fmla="*/ 0 w 10000"/>
              <a:gd name="connsiteY0" fmla="*/ 5583 h 10000"/>
              <a:gd name="connsiteX1" fmla="*/ 368 w 10000"/>
              <a:gd name="connsiteY1" fmla="*/ 5607 h 10000"/>
              <a:gd name="connsiteX2" fmla="*/ 426 w 10000"/>
              <a:gd name="connsiteY2" fmla="*/ 6131 h 10000"/>
              <a:gd name="connsiteX3" fmla="*/ 426 w 10000"/>
              <a:gd name="connsiteY3" fmla="*/ 9477 h 10000"/>
              <a:gd name="connsiteX4" fmla="*/ 487 w 10000"/>
              <a:gd name="connsiteY4" fmla="*/ 10000 h 10000"/>
              <a:gd name="connsiteX5" fmla="*/ 995 w 10000"/>
              <a:gd name="connsiteY5" fmla="*/ 10000 h 10000"/>
              <a:gd name="connsiteX6" fmla="*/ 1051 w 10000"/>
              <a:gd name="connsiteY6" fmla="*/ 9477 h 10000"/>
              <a:gd name="connsiteX7" fmla="*/ 1051 w 10000"/>
              <a:gd name="connsiteY7" fmla="*/ 7178 h 10000"/>
              <a:gd name="connsiteX8" fmla="*/ 1105 w 10000"/>
              <a:gd name="connsiteY8" fmla="*/ 6654 h 10000"/>
              <a:gd name="connsiteX9" fmla="*/ 1733 w 10000"/>
              <a:gd name="connsiteY9" fmla="*/ 6654 h 10000"/>
              <a:gd name="connsiteX10" fmla="*/ 1792 w 10000"/>
              <a:gd name="connsiteY10" fmla="*/ 7178 h 10000"/>
              <a:gd name="connsiteX11" fmla="*/ 1792 w 10000"/>
              <a:gd name="connsiteY11" fmla="*/ 8411 h 10000"/>
              <a:gd name="connsiteX12" fmla="*/ 1848 w 10000"/>
              <a:gd name="connsiteY12" fmla="*/ 8935 h 10000"/>
              <a:gd name="connsiteX13" fmla="*/ 6177 w 10000"/>
              <a:gd name="connsiteY13" fmla="*/ 8935 h 10000"/>
              <a:gd name="connsiteX14" fmla="*/ 6233 w 10000"/>
              <a:gd name="connsiteY14" fmla="*/ 8411 h 10000"/>
              <a:gd name="connsiteX15" fmla="*/ 6233 w 10000"/>
              <a:gd name="connsiteY15" fmla="*/ 523 h 10000"/>
              <a:gd name="connsiteX16" fmla="*/ 6289 w 10000"/>
              <a:gd name="connsiteY16" fmla="*/ 0 h 10000"/>
              <a:gd name="connsiteX17" fmla="*/ 7715 w 10000"/>
              <a:gd name="connsiteY17" fmla="*/ 0 h 10000"/>
              <a:gd name="connsiteX18" fmla="*/ 7774 w 10000"/>
              <a:gd name="connsiteY18" fmla="*/ 523 h 10000"/>
              <a:gd name="connsiteX19" fmla="*/ 7774 w 10000"/>
              <a:gd name="connsiteY19" fmla="*/ 7159 h 10000"/>
              <a:gd name="connsiteX20" fmla="*/ 7831 w 10000"/>
              <a:gd name="connsiteY20" fmla="*/ 7682 h 10000"/>
              <a:gd name="connsiteX21" fmla="*/ 10000 w 10000"/>
              <a:gd name="connsiteY21" fmla="*/ 7682 h 10000"/>
              <a:gd name="connsiteX0" fmla="*/ 0 w 10000"/>
              <a:gd name="connsiteY0" fmla="*/ 5609 h 10000"/>
              <a:gd name="connsiteX1" fmla="*/ 368 w 10000"/>
              <a:gd name="connsiteY1" fmla="*/ 5607 h 10000"/>
              <a:gd name="connsiteX2" fmla="*/ 426 w 10000"/>
              <a:gd name="connsiteY2" fmla="*/ 6131 h 10000"/>
              <a:gd name="connsiteX3" fmla="*/ 426 w 10000"/>
              <a:gd name="connsiteY3" fmla="*/ 9477 h 10000"/>
              <a:gd name="connsiteX4" fmla="*/ 487 w 10000"/>
              <a:gd name="connsiteY4" fmla="*/ 10000 h 10000"/>
              <a:gd name="connsiteX5" fmla="*/ 995 w 10000"/>
              <a:gd name="connsiteY5" fmla="*/ 10000 h 10000"/>
              <a:gd name="connsiteX6" fmla="*/ 1051 w 10000"/>
              <a:gd name="connsiteY6" fmla="*/ 9477 h 10000"/>
              <a:gd name="connsiteX7" fmla="*/ 1051 w 10000"/>
              <a:gd name="connsiteY7" fmla="*/ 7178 h 10000"/>
              <a:gd name="connsiteX8" fmla="*/ 1105 w 10000"/>
              <a:gd name="connsiteY8" fmla="*/ 6654 h 10000"/>
              <a:gd name="connsiteX9" fmla="*/ 1733 w 10000"/>
              <a:gd name="connsiteY9" fmla="*/ 6654 h 10000"/>
              <a:gd name="connsiteX10" fmla="*/ 1792 w 10000"/>
              <a:gd name="connsiteY10" fmla="*/ 7178 h 10000"/>
              <a:gd name="connsiteX11" fmla="*/ 1792 w 10000"/>
              <a:gd name="connsiteY11" fmla="*/ 8411 h 10000"/>
              <a:gd name="connsiteX12" fmla="*/ 1848 w 10000"/>
              <a:gd name="connsiteY12" fmla="*/ 8935 h 10000"/>
              <a:gd name="connsiteX13" fmla="*/ 6177 w 10000"/>
              <a:gd name="connsiteY13" fmla="*/ 8935 h 10000"/>
              <a:gd name="connsiteX14" fmla="*/ 6233 w 10000"/>
              <a:gd name="connsiteY14" fmla="*/ 8411 h 10000"/>
              <a:gd name="connsiteX15" fmla="*/ 6233 w 10000"/>
              <a:gd name="connsiteY15" fmla="*/ 523 h 10000"/>
              <a:gd name="connsiteX16" fmla="*/ 6289 w 10000"/>
              <a:gd name="connsiteY16" fmla="*/ 0 h 10000"/>
              <a:gd name="connsiteX17" fmla="*/ 7715 w 10000"/>
              <a:gd name="connsiteY17" fmla="*/ 0 h 10000"/>
              <a:gd name="connsiteX18" fmla="*/ 7774 w 10000"/>
              <a:gd name="connsiteY18" fmla="*/ 523 h 10000"/>
              <a:gd name="connsiteX19" fmla="*/ 7774 w 10000"/>
              <a:gd name="connsiteY19" fmla="*/ 7159 h 10000"/>
              <a:gd name="connsiteX20" fmla="*/ 7831 w 10000"/>
              <a:gd name="connsiteY20" fmla="*/ 7682 h 10000"/>
              <a:gd name="connsiteX21" fmla="*/ 10000 w 10000"/>
              <a:gd name="connsiteY21" fmla="*/ 7682 h 10000"/>
              <a:gd name="connsiteX0" fmla="*/ 0 w 8282"/>
              <a:gd name="connsiteY0" fmla="*/ 5609 h 10000"/>
              <a:gd name="connsiteX1" fmla="*/ 368 w 8282"/>
              <a:gd name="connsiteY1" fmla="*/ 5607 h 10000"/>
              <a:gd name="connsiteX2" fmla="*/ 426 w 8282"/>
              <a:gd name="connsiteY2" fmla="*/ 6131 h 10000"/>
              <a:gd name="connsiteX3" fmla="*/ 426 w 8282"/>
              <a:gd name="connsiteY3" fmla="*/ 9477 h 10000"/>
              <a:gd name="connsiteX4" fmla="*/ 487 w 8282"/>
              <a:gd name="connsiteY4" fmla="*/ 10000 h 10000"/>
              <a:gd name="connsiteX5" fmla="*/ 995 w 8282"/>
              <a:gd name="connsiteY5" fmla="*/ 10000 h 10000"/>
              <a:gd name="connsiteX6" fmla="*/ 1051 w 8282"/>
              <a:gd name="connsiteY6" fmla="*/ 9477 h 10000"/>
              <a:gd name="connsiteX7" fmla="*/ 1051 w 8282"/>
              <a:gd name="connsiteY7" fmla="*/ 7178 h 10000"/>
              <a:gd name="connsiteX8" fmla="*/ 1105 w 8282"/>
              <a:gd name="connsiteY8" fmla="*/ 6654 h 10000"/>
              <a:gd name="connsiteX9" fmla="*/ 1733 w 8282"/>
              <a:gd name="connsiteY9" fmla="*/ 6654 h 10000"/>
              <a:gd name="connsiteX10" fmla="*/ 1792 w 8282"/>
              <a:gd name="connsiteY10" fmla="*/ 7178 h 10000"/>
              <a:gd name="connsiteX11" fmla="*/ 1792 w 8282"/>
              <a:gd name="connsiteY11" fmla="*/ 8411 h 10000"/>
              <a:gd name="connsiteX12" fmla="*/ 1848 w 8282"/>
              <a:gd name="connsiteY12" fmla="*/ 8935 h 10000"/>
              <a:gd name="connsiteX13" fmla="*/ 6177 w 8282"/>
              <a:gd name="connsiteY13" fmla="*/ 8935 h 10000"/>
              <a:gd name="connsiteX14" fmla="*/ 6233 w 8282"/>
              <a:gd name="connsiteY14" fmla="*/ 8411 h 10000"/>
              <a:gd name="connsiteX15" fmla="*/ 6233 w 8282"/>
              <a:gd name="connsiteY15" fmla="*/ 523 h 10000"/>
              <a:gd name="connsiteX16" fmla="*/ 6289 w 8282"/>
              <a:gd name="connsiteY16" fmla="*/ 0 h 10000"/>
              <a:gd name="connsiteX17" fmla="*/ 7715 w 8282"/>
              <a:gd name="connsiteY17" fmla="*/ 0 h 10000"/>
              <a:gd name="connsiteX18" fmla="*/ 7774 w 8282"/>
              <a:gd name="connsiteY18" fmla="*/ 523 h 10000"/>
              <a:gd name="connsiteX19" fmla="*/ 7774 w 8282"/>
              <a:gd name="connsiteY19" fmla="*/ 7159 h 10000"/>
              <a:gd name="connsiteX20" fmla="*/ 7831 w 8282"/>
              <a:gd name="connsiteY20" fmla="*/ 7682 h 10000"/>
              <a:gd name="connsiteX21" fmla="*/ 8282 w 8282"/>
              <a:gd name="connsiteY21" fmla="*/ 7682 h 10000"/>
              <a:gd name="connsiteX0" fmla="*/ 0 w 10017"/>
              <a:gd name="connsiteY0" fmla="*/ 5609 h 10000"/>
              <a:gd name="connsiteX1" fmla="*/ 444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44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44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44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44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36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36 w 10017"/>
              <a:gd name="connsiteY1" fmla="*/ 558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36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36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10017" h="10000">
                <a:moveTo>
                  <a:pt x="0" y="5609"/>
                </a:moveTo>
                <a:lnTo>
                  <a:pt x="436" y="5607"/>
                </a:lnTo>
                <a:cubicBezTo>
                  <a:pt x="477" y="5607"/>
                  <a:pt x="514" y="5832"/>
                  <a:pt x="514" y="6131"/>
                </a:cubicBezTo>
                <a:lnTo>
                  <a:pt x="514" y="9477"/>
                </a:lnTo>
                <a:cubicBezTo>
                  <a:pt x="514" y="9757"/>
                  <a:pt x="548" y="10000"/>
                  <a:pt x="588" y="10000"/>
                </a:cubicBezTo>
                <a:lnTo>
                  <a:pt x="1201" y="10000"/>
                </a:lnTo>
                <a:cubicBezTo>
                  <a:pt x="1235" y="10000"/>
                  <a:pt x="1269" y="9757"/>
                  <a:pt x="1269" y="9477"/>
                </a:cubicBezTo>
                <a:lnTo>
                  <a:pt x="1269" y="7178"/>
                </a:lnTo>
                <a:cubicBezTo>
                  <a:pt x="1269" y="6897"/>
                  <a:pt x="1297" y="6654"/>
                  <a:pt x="1334" y="6654"/>
                </a:cubicBezTo>
                <a:lnTo>
                  <a:pt x="2092" y="6654"/>
                </a:lnTo>
                <a:cubicBezTo>
                  <a:pt x="2132" y="6654"/>
                  <a:pt x="2164" y="6897"/>
                  <a:pt x="2164" y="7178"/>
                </a:cubicBezTo>
                <a:lnTo>
                  <a:pt x="2164" y="8411"/>
                </a:lnTo>
                <a:cubicBezTo>
                  <a:pt x="2164" y="8710"/>
                  <a:pt x="2193" y="8935"/>
                  <a:pt x="2231" y="8935"/>
                </a:cubicBezTo>
                <a:lnTo>
                  <a:pt x="7458" y="8935"/>
                </a:lnTo>
                <a:cubicBezTo>
                  <a:pt x="7496" y="8935"/>
                  <a:pt x="7526" y="8710"/>
                  <a:pt x="7526" y="8411"/>
                </a:cubicBezTo>
                <a:lnTo>
                  <a:pt x="7526" y="523"/>
                </a:lnTo>
                <a:cubicBezTo>
                  <a:pt x="7526" y="224"/>
                  <a:pt x="7557" y="0"/>
                  <a:pt x="7594" y="0"/>
                </a:cubicBezTo>
                <a:lnTo>
                  <a:pt x="9315" y="0"/>
                </a:lnTo>
                <a:cubicBezTo>
                  <a:pt x="9356" y="0"/>
                  <a:pt x="9387" y="224"/>
                  <a:pt x="9387" y="523"/>
                </a:cubicBezTo>
                <a:lnTo>
                  <a:pt x="9387" y="7159"/>
                </a:lnTo>
                <a:cubicBezTo>
                  <a:pt x="9387" y="7439"/>
                  <a:pt x="9416" y="7682"/>
                  <a:pt x="9455" y="7682"/>
                </a:cubicBezTo>
                <a:lnTo>
                  <a:pt x="10017" y="7682"/>
                </a:lnTo>
              </a:path>
            </a:pathLst>
          </a:custGeom>
          <a:noFill/>
          <a:ln w="12700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endParaRPr lang="en-US" sz="1800">
              <a:solidFill>
                <a:prstClr val="black"/>
              </a:solidFill>
              <a:latin typeface="Arial"/>
            </a:endParaRPr>
          </a:p>
        </p:txBody>
      </p:sp>
      <p:sp>
        <p:nvSpPr>
          <p:cNvPr id="11" name="Freeform 9"/>
          <p:cNvSpPr>
            <a:spLocks/>
          </p:cNvSpPr>
          <p:nvPr userDrawn="1"/>
        </p:nvSpPr>
        <p:spPr bwMode="gray">
          <a:xfrm>
            <a:off x="-7917" y="4480919"/>
            <a:ext cx="9161634" cy="1894152"/>
          </a:xfrm>
          <a:custGeom>
            <a:avLst/>
            <a:gdLst>
              <a:gd name="T0" fmla="*/ 0 w 8479"/>
              <a:gd name="T1" fmla="*/ 0 h 835"/>
              <a:gd name="T2" fmla="*/ 1311 w 8479"/>
              <a:gd name="T3" fmla="*/ 0 h 835"/>
              <a:gd name="T4" fmla="*/ 1339 w 8479"/>
              <a:gd name="T5" fmla="*/ 28 h 835"/>
              <a:gd name="T6" fmla="*/ 1339 w 8479"/>
              <a:gd name="T7" fmla="*/ 629 h 835"/>
              <a:gd name="T8" fmla="*/ 1366 w 8479"/>
              <a:gd name="T9" fmla="*/ 657 h 835"/>
              <a:gd name="T10" fmla="*/ 2615 w 8479"/>
              <a:gd name="T11" fmla="*/ 657 h 835"/>
              <a:gd name="T12" fmla="*/ 2643 w 8479"/>
              <a:gd name="T13" fmla="*/ 629 h 835"/>
              <a:gd name="T14" fmla="*/ 2643 w 8479"/>
              <a:gd name="T15" fmla="*/ 150 h 835"/>
              <a:gd name="T16" fmla="*/ 2671 w 8479"/>
              <a:gd name="T17" fmla="*/ 122 h 835"/>
              <a:gd name="T18" fmla="*/ 3930 w 8479"/>
              <a:gd name="T19" fmla="*/ 122 h 835"/>
              <a:gd name="T20" fmla="*/ 3958 w 8479"/>
              <a:gd name="T21" fmla="*/ 150 h 835"/>
              <a:gd name="T22" fmla="*/ 3958 w 8479"/>
              <a:gd name="T23" fmla="*/ 807 h 835"/>
              <a:gd name="T24" fmla="*/ 3986 w 8479"/>
              <a:gd name="T25" fmla="*/ 835 h 835"/>
              <a:gd name="T26" fmla="*/ 4855 w 8479"/>
              <a:gd name="T27" fmla="*/ 835 h 835"/>
              <a:gd name="T28" fmla="*/ 4883 w 8479"/>
              <a:gd name="T29" fmla="*/ 807 h 835"/>
              <a:gd name="T30" fmla="*/ 4883 w 8479"/>
              <a:gd name="T31" fmla="*/ 28 h 835"/>
              <a:gd name="T32" fmla="*/ 4911 w 8479"/>
              <a:gd name="T33" fmla="*/ 0 h 835"/>
              <a:gd name="T34" fmla="*/ 5536 w 8479"/>
              <a:gd name="T35" fmla="*/ 0 h 835"/>
              <a:gd name="T36" fmla="*/ 5564 w 8479"/>
              <a:gd name="T37" fmla="*/ 28 h 835"/>
              <a:gd name="T38" fmla="*/ 5564 w 8479"/>
              <a:gd name="T39" fmla="*/ 716 h 835"/>
              <a:gd name="T40" fmla="*/ 5592 w 8479"/>
              <a:gd name="T41" fmla="*/ 744 h 835"/>
              <a:gd name="T42" fmla="*/ 6859 w 8479"/>
              <a:gd name="T43" fmla="*/ 744 h 835"/>
              <a:gd name="T44" fmla="*/ 6887 w 8479"/>
              <a:gd name="T45" fmla="*/ 716 h 835"/>
              <a:gd name="T46" fmla="*/ 6887 w 8479"/>
              <a:gd name="T47" fmla="*/ 148 h 835"/>
              <a:gd name="T48" fmla="*/ 6915 w 8479"/>
              <a:gd name="T49" fmla="*/ 120 h 835"/>
              <a:gd name="T50" fmla="*/ 7337 w 8479"/>
              <a:gd name="T51" fmla="*/ 120 h 835"/>
              <a:gd name="T52" fmla="*/ 7364 w 8479"/>
              <a:gd name="T53" fmla="*/ 148 h 835"/>
              <a:gd name="T54" fmla="*/ 7364 w 8479"/>
              <a:gd name="T55" fmla="*/ 269 h 835"/>
              <a:gd name="T56" fmla="*/ 7392 w 8479"/>
              <a:gd name="T57" fmla="*/ 297 h 835"/>
              <a:gd name="T58" fmla="*/ 8479 w 8479"/>
              <a:gd name="T59" fmla="*/ 297 h 835"/>
              <a:gd name="connsiteX0" fmla="*/ 0 w 8454"/>
              <a:gd name="connsiteY0" fmla="*/ 0 h 10000"/>
              <a:gd name="connsiteX1" fmla="*/ 33 w 8454"/>
              <a:gd name="connsiteY1" fmla="*/ 335 h 10000"/>
              <a:gd name="connsiteX2" fmla="*/ 33 w 8454"/>
              <a:gd name="connsiteY2" fmla="*/ 7533 h 10000"/>
              <a:gd name="connsiteX3" fmla="*/ 65 w 8454"/>
              <a:gd name="connsiteY3" fmla="*/ 7868 h 10000"/>
              <a:gd name="connsiteX4" fmla="*/ 1538 w 8454"/>
              <a:gd name="connsiteY4" fmla="*/ 7868 h 10000"/>
              <a:gd name="connsiteX5" fmla="*/ 1571 w 8454"/>
              <a:gd name="connsiteY5" fmla="*/ 7533 h 10000"/>
              <a:gd name="connsiteX6" fmla="*/ 1571 w 8454"/>
              <a:gd name="connsiteY6" fmla="*/ 1796 h 10000"/>
              <a:gd name="connsiteX7" fmla="*/ 1604 w 8454"/>
              <a:gd name="connsiteY7" fmla="*/ 1461 h 10000"/>
              <a:gd name="connsiteX8" fmla="*/ 3089 w 8454"/>
              <a:gd name="connsiteY8" fmla="*/ 1461 h 10000"/>
              <a:gd name="connsiteX9" fmla="*/ 3122 w 8454"/>
              <a:gd name="connsiteY9" fmla="*/ 1796 h 10000"/>
              <a:gd name="connsiteX10" fmla="*/ 3122 w 8454"/>
              <a:gd name="connsiteY10" fmla="*/ 9665 h 10000"/>
              <a:gd name="connsiteX11" fmla="*/ 3155 w 8454"/>
              <a:gd name="connsiteY11" fmla="*/ 10000 h 10000"/>
              <a:gd name="connsiteX12" fmla="*/ 4180 w 8454"/>
              <a:gd name="connsiteY12" fmla="*/ 10000 h 10000"/>
              <a:gd name="connsiteX13" fmla="*/ 4213 w 8454"/>
              <a:gd name="connsiteY13" fmla="*/ 9665 h 10000"/>
              <a:gd name="connsiteX14" fmla="*/ 4213 w 8454"/>
              <a:gd name="connsiteY14" fmla="*/ 335 h 10000"/>
              <a:gd name="connsiteX15" fmla="*/ 4246 w 8454"/>
              <a:gd name="connsiteY15" fmla="*/ 0 h 10000"/>
              <a:gd name="connsiteX16" fmla="*/ 4983 w 8454"/>
              <a:gd name="connsiteY16" fmla="*/ 0 h 10000"/>
              <a:gd name="connsiteX17" fmla="*/ 5016 w 8454"/>
              <a:gd name="connsiteY17" fmla="*/ 335 h 10000"/>
              <a:gd name="connsiteX18" fmla="*/ 5016 w 8454"/>
              <a:gd name="connsiteY18" fmla="*/ 8575 h 10000"/>
              <a:gd name="connsiteX19" fmla="*/ 5049 w 8454"/>
              <a:gd name="connsiteY19" fmla="*/ 8910 h 10000"/>
              <a:gd name="connsiteX20" fmla="*/ 6543 w 8454"/>
              <a:gd name="connsiteY20" fmla="*/ 8910 h 10000"/>
              <a:gd name="connsiteX21" fmla="*/ 6576 w 8454"/>
              <a:gd name="connsiteY21" fmla="*/ 8575 h 10000"/>
              <a:gd name="connsiteX22" fmla="*/ 6576 w 8454"/>
              <a:gd name="connsiteY22" fmla="*/ 1772 h 10000"/>
              <a:gd name="connsiteX23" fmla="*/ 6609 w 8454"/>
              <a:gd name="connsiteY23" fmla="*/ 1437 h 10000"/>
              <a:gd name="connsiteX24" fmla="*/ 7107 w 8454"/>
              <a:gd name="connsiteY24" fmla="*/ 1437 h 10000"/>
              <a:gd name="connsiteX25" fmla="*/ 7139 w 8454"/>
              <a:gd name="connsiteY25" fmla="*/ 1772 h 10000"/>
              <a:gd name="connsiteX26" fmla="*/ 7139 w 8454"/>
              <a:gd name="connsiteY26" fmla="*/ 3222 h 10000"/>
              <a:gd name="connsiteX27" fmla="*/ 7172 w 8454"/>
              <a:gd name="connsiteY27" fmla="*/ 3557 h 10000"/>
              <a:gd name="connsiteX28" fmla="*/ 8454 w 8454"/>
              <a:gd name="connsiteY28" fmla="*/ 3557 h 10000"/>
              <a:gd name="connsiteX0" fmla="*/ 0 w 9961"/>
              <a:gd name="connsiteY0" fmla="*/ 335 h 10000"/>
              <a:gd name="connsiteX1" fmla="*/ 0 w 9961"/>
              <a:gd name="connsiteY1" fmla="*/ 7533 h 10000"/>
              <a:gd name="connsiteX2" fmla="*/ 38 w 9961"/>
              <a:gd name="connsiteY2" fmla="*/ 7868 h 10000"/>
              <a:gd name="connsiteX3" fmla="*/ 1780 w 9961"/>
              <a:gd name="connsiteY3" fmla="*/ 7868 h 10000"/>
              <a:gd name="connsiteX4" fmla="*/ 1819 w 9961"/>
              <a:gd name="connsiteY4" fmla="*/ 7533 h 10000"/>
              <a:gd name="connsiteX5" fmla="*/ 1819 w 9961"/>
              <a:gd name="connsiteY5" fmla="*/ 1796 h 10000"/>
              <a:gd name="connsiteX6" fmla="*/ 1858 w 9961"/>
              <a:gd name="connsiteY6" fmla="*/ 1461 h 10000"/>
              <a:gd name="connsiteX7" fmla="*/ 3615 w 9961"/>
              <a:gd name="connsiteY7" fmla="*/ 1461 h 10000"/>
              <a:gd name="connsiteX8" fmla="*/ 3654 w 9961"/>
              <a:gd name="connsiteY8" fmla="*/ 1796 h 10000"/>
              <a:gd name="connsiteX9" fmla="*/ 3654 w 9961"/>
              <a:gd name="connsiteY9" fmla="*/ 9665 h 10000"/>
              <a:gd name="connsiteX10" fmla="*/ 3693 w 9961"/>
              <a:gd name="connsiteY10" fmla="*/ 10000 h 10000"/>
              <a:gd name="connsiteX11" fmla="*/ 4905 w 9961"/>
              <a:gd name="connsiteY11" fmla="*/ 10000 h 10000"/>
              <a:gd name="connsiteX12" fmla="*/ 4944 w 9961"/>
              <a:gd name="connsiteY12" fmla="*/ 9665 h 10000"/>
              <a:gd name="connsiteX13" fmla="*/ 4944 w 9961"/>
              <a:gd name="connsiteY13" fmla="*/ 335 h 10000"/>
              <a:gd name="connsiteX14" fmla="*/ 4983 w 9961"/>
              <a:gd name="connsiteY14" fmla="*/ 0 h 10000"/>
              <a:gd name="connsiteX15" fmla="*/ 5855 w 9961"/>
              <a:gd name="connsiteY15" fmla="*/ 0 h 10000"/>
              <a:gd name="connsiteX16" fmla="*/ 5894 w 9961"/>
              <a:gd name="connsiteY16" fmla="*/ 335 h 10000"/>
              <a:gd name="connsiteX17" fmla="*/ 5894 w 9961"/>
              <a:gd name="connsiteY17" fmla="*/ 8575 h 10000"/>
              <a:gd name="connsiteX18" fmla="*/ 5933 w 9961"/>
              <a:gd name="connsiteY18" fmla="*/ 8910 h 10000"/>
              <a:gd name="connsiteX19" fmla="*/ 7701 w 9961"/>
              <a:gd name="connsiteY19" fmla="*/ 8910 h 10000"/>
              <a:gd name="connsiteX20" fmla="*/ 7740 w 9961"/>
              <a:gd name="connsiteY20" fmla="*/ 8575 h 10000"/>
              <a:gd name="connsiteX21" fmla="*/ 7740 w 9961"/>
              <a:gd name="connsiteY21" fmla="*/ 1772 h 10000"/>
              <a:gd name="connsiteX22" fmla="*/ 7779 w 9961"/>
              <a:gd name="connsiteY22" fmla="*/ 1437 h 10000"/>
              <a:gd name="connsiteX23" fmla="*/ 8368 w 9961"/>
              <a:gd name="connsiteY23" fmla="*/ 1437 h 10000"/>
              <a:gd name="connsiteX24" fmla="*/ 8406 w 9961"/>
              <a:gd name="connsiteY24" fmla="*/ 1772 h 10000"/>
              <a:gd name="connsiteX25" fmla="*/ 8406 w 9961"/>
              <a:gd name="connsiteY25" fmla="*/ 3222 h 10000"/>
              <a:gd name="connsiteX26" fmla="*/ 8445 w 9961"/>
              <a:gd name="connsiteY26" fmla="*/ 3557 h 10000"/>
              <a:gd name="connsiteX27" fmla="*/ 9961 w 9961"/>
              <a:gd name="connsiteY27" fmla="*/ 3557 h 10000"/>
              <a:gd name="connsiteX0" fmla="*/ 0 w 10000"/>
              <a:gd name="connsiteY0" fmla="*/ 7533 h 10000"/>
              <a:gd name="connsiteX1" fmla="*/ 38 w 10000"/>
              <a:gd name="connsiteY1" fmla="*/ 7868 h 10000"/>
              <a:gd name="connsiteX2" fmla="*/ 1787 w 10000"/>
              <a:gd name="connsiteY2" fmla="*/ 7868 h 10000"/>
              <a:gd name="connsiteX3" fmla="*/ 1826 w 10000"/>
              <a:gd name="connsiteY3" fmla="*/ 7533 h 10000"/>
              <a:gd name="connsiteX4" fmla="*/ 1826 w 10000"/>
              <a:gd name="connsiteY4" fmla="*/ 1796 h 10000"/>
              <a:gd name="connsiteX5" fmla="*/ 1865 w 10000"/>
              <a:gd name="connsiteY5" fmla="*/ 1461 h 10000"/>
              <a:gd name="connsiteX6" fmla="*/ 3629 w 10000"/>
              <a:gd name="connsiteY6" fmla="*/ 1461 h 10000"/>
              <a:gd name="connsiteX7" fmla="*/ 3668 w 10000"/>
              <a:gd name="connsiteY7" fmla="*/ 1796 h 10000"/>
              <a:gd name="connsiteX8" fmla="*/ 3668 w 10000"/>
              <a:gd name="connsiteY8" fmla="*/ 9665 h 10000"/>
              <a:gd name="connsiteX9" fmla="*/ 3707 w 10000"/>
              <a:gd name="connsiteY9" fmla="*/ 10000 h 10000"/>
              <a:gd name="connsiteX10" fmla="*/ 4924 w 10000"/>
              <a:gd name="connsiteY10" fmla="*/ 10000 h 10000"/>
              <a:gd name="connsiteX11" fmla="*/ 4963 w 10000"/>
              <a:gd name="connsiteY11" fmla="*/ 9665 h 10000"/>
              <a:gd name="connsiteX12" fmla="*/ 4963 w 10000"/>
              <a:gd name="connsiteY12" fmla="*/ 335 h 10000"/>
              <a:gd name="connsiteX13" fmla="*/ 5003 w 10000"/>
              <a:gd name="connsiteY13" fmla="*/ 0 h 10000"/>
              <a:gd name="connsiteX14" fmla="*/ 5878 w 10000"/>
              <a:gd name="connsiteY14" fmla="*/ 0 h 10000"/>
              <a:gd name="connsiteX15" fmla="*/ 5917 w 10000"/>
              <a:gd name="connsiteY15" fmla="*/ 335 h 10000"/>
              <a:gd name="connsiteX16" fmla="*/ 5917 w 10000"/>
              <a:gd name="connsiteY16" fmla="*/ 8575 h 10000"/>
              <a:gd name="connsiteX17" fmla="*/ 5956 w 10000"/>
              <a:gd name="connsiteY17" fmla="*/ 8910 h 10000"/>
              <a:gd name="connsiteX18" fmla="*/ 7731 w 10000"/>
              <a:gd name="connsiteY18" fmla="*/ 8910 h 10000"/>
              <a:gd name="connsiteX19" fmla="*/ 7770 w 10000"/>
              <a:gd name="connsiteY19" fmla="*/ 8575 h 10000"/>
              <a:gd name="connsiteX20" fmla="*/ 7770 w 10000"/>
              <a:gd name="connsiteY20" fmla="*/ 1772 h 10000"/>
              <a:gd name="connsiteX21" fmla="*/ 7809 w 10000"/>
              <a:gd name="connsiteY21" fmla="*/ 1437 h 10000"/>
              <a:gd name="connsiteX22" fmla="*/ 8401 w 10000"/>
              <a:gd name="connsiteY22" fmla="*/ 1437 h 10000"/>
              <a:gd name="connsiteX23" fmla="*/ 8439 w 10000"/>
              <a:gd name="connsiteY23" fmla="*/ 1772 h 10000"/>
              <a:gd name="connsiteX24" fmla="*/ 8439 w 10000"/>
              <a:gd name="connsiteY24" fmla="*/ 3222 h 10000"/>
              <a:gd name="connsiteX25" fmla="*/ 8478 w 10000"/>
              <a:gd name="connsiteY25" fmla="*/ 3557 h 10000"/>
              <a:gd name="connsiteX26" fmla="*/ 10000 w 10000"/>
              <a:gd name="connsiteY26" fmla="*/ 3557 h 10000"/>
              <a:gd name="connsiteX0" fmla="*/ 0 w 9962"/>
              <a:gd name="connsiteY0" fmla="*/ 7868 h 10000"/>
              <a:gd name="connsiteX1" fmla="*/ 1749 w 9962"/>
              <a:gd name="connsiteY1" fmla="*/ 7868 h 10000"/>
              <a:gd name="connsiteX2" fmla="*/ 1788 w 9962"/>
              <a:gd name="connsiteY2" fmla="*/ 7533 h 10000"/>
              <a:gd name="connsiteX3" fmla="*/ 1788 w 9962"/>
              <a:gd name="connsiteY3" fmla="*/ 1796 h 10000"/>
              <a:gd name="connsiteX4" fmla="*/ 1827 w 9962"/>
              <a:gd name="connsiteY4" fmla="*/ 1461 h 10000"/>
              <a:gd name="connsiteX5" fmla="*/ 3591 w 9962"/>
              <a:gd name="connsiteY5" fmla="*/ 1461 h 10000"/>
              <a:gd name="connsiteX6" fmla="*/ 3630 w 9962"/>
              <a:gd name="connsiteY6" fmla="*/ 1796 h 10000"/>
              <a:gd name="connsiteX7" fmla="*/ 3630 w 9962"/>
              <a:gd name="connsiteY7" fmla="*/ 9665 h 10000"/>
              <a:gd name="connsiteX8" fmla="*/ 3669 w 9962"/>
              <a:gd name="connsiteY8" fmla="*/ 10000 h 10000"/>
              <a:gd name="connsiteX9" fmla="*/ 4886 w 9962"/>
              <a:gd name="connsiteY9" fmla="*/ 10000 h 10000"/>
              <a:gd name="connsiteX10" fmla="*/ 4925 w 9962"/>
              <a:gd name="connsiteY10" fmla="*/ 9665 h 10000"/>
              <a:gd name="connsiteX11" fmla="*/ 4925 w 9962"/>
              <a:gd name="connsiteY11" fmla="*/ 335 h 10000"/>
              <a:gd name="connsiteX12" fmla="*/ 4965 w 9962"/>
              <a:gd name="connsiteY12" fmla="*/ 0 h 10000"/>
              <a:gd name="connsiteX13" fmla="*/ 5840 w 9962"/>
              <a:gd name="connsiteY13" fmla="*/ 0 h 10000"/>
              <a:gd name="connsiteX14" fmla="*/ 5879 w 9962"/>
              <a:gd name="connsiteY14" fmla="*/ 335 h 10000"/>
              <a:gd name="connsiteX15" fmla="*/ 5879 w 9962"/>
              <a:gd name="connsiteY15" fmla="*/ 8575 h 10000"/>
              <a:gd name="connsiteX16" fmla="*/ 5918 w 9962"/>
              <a:gd name="connsiteY16" fmla="*/ 8910 h 10000"/>
              <a:gd name="connsiteX17" fmla="*/ 7693 w 9962"/>
              <a:gd name="connsiteY17" fmla="*/ 8910 h 10000"/>
              <a:gd name="connsiteX18" fmla="*/ 7732 w 9962"/>
              <a:gd name="connsiteY18" fmla="*/ 8575 h 10000"/>
              <a:gd name="connsiteX19" fmla="*/ 7732 w 9962"/>
              <a:gd name="connsiteY19" fmla="*/ 1772 h 10000"/>
              <a:gd name="connsiteX20" fmla="*/ 7771 w 9962"/>
              <a:gd name="connsiteY20" fmla="*/ 1437 h 10000"/>
              <a:gd name="connsiteX21" fmla="*/ 8363 w 9962"/>
              <a:gd name="connsiteY21" fmla="*/ 1437 h 10000"/>
              <a:gd name="connsiteX22" fmla="*/ 8401 w 9962"/>
              <a:gd name="connsiteY22" fmla="*/ 1772 h 10000"/>
              <a:gd name="connsiteX23" fmla="*/ 8401 w 9962"/>
              <a:gd name="connsiteY23" fmla="*/ 3222 h 10000"/>
              <a:gd name="connsiteX24" fmla="*/ 8440 w 9962"/>
              <a:gd name="connsiteY24" fmla="*/ 3557 h 10000"/>
              <a:gd name="connsiteX25" fmla="*/ 9962 w 9962"/>
              <a:gd name="connsiteY25" fmla="*/ 3557 h 10000"/>
              <a:gd name="connsiteX0" fmla="*/ 0 w 8472"/>
              <a:gd name="connsiteY0" fmla="*/ 7868 h 10000"/>
              <a:gd name="connsiteX1" fmla="*/ 1756 w 8472"/>
              <a:gd name="connsiteY1" fmla="*/ 7868 h 10000"/>
              <a:gd name="connsiteX2" fmla="*/ 1795 w 8472"/>
              <a:gd name="connsiteY2" fmla="*/ 7533 h 10000"/>
              <a:gd name="connsiteX3" fmla="*/ 1795 w 8472"/>
              <a:gd name="connsiteY3" fmla="*/ 1796 h 10000"/>
              <a:gd name="connsiteX4" fmla="*/ 1834 w 8472"/>
              <a:gd name="connsiteY4" fmla="*/ 1461 h 10000"/>
              <a:gd name="connsiteX5" fmla="*/ 3605 w 8472"/>
              <a:gd name="connsiteY5" fmla="*/ 1461 h 10000"/>
              <a:gd name="connsiteX6" fmla="*/ 3644 w 8472"/>
              <a:gd name="connsiteY6" fmla="*/ 1796 h 10000"/>
              <a:gd name="connsiteX7" fmla="*/ 3644 w 8472"/>
              <a:gd name="connsiteY7" fmla="*/ 9665 h 10000"/>
              <a:gd name="connsiteX8" fmla="*/ 3683 w 8472"/>
              <a:gd name="connsiteY8" fmla="*/ 10000 h 10000"/>
              <a:gd name="connsiteX9" fmla="*/ 4905 w 8472"/>
              <a:gd name="connsiteY9" fmla="*/ 10000 h 10000"/>
              <a:gd name="connsiteX10" fmla="*/ 4944 w 8472"/>
              <a:gd name="connsiteY10" fmla="*/ 9665 h 10000"/>
              <a:gd name="connsiteX11" fmla="*/ 4944 w 8472"/>
              <a:gd name="connsiteY11" fmla="*/ 335 h 10000"/>
              <a:gd name="connsiteX12" fmla="*/ 4984 w 8472"/>
              <a:gd name="connsiteY12" fmla="*/ 0 h 10000"/>
              <a:gd name="connsiteX13" fmla="*/ 5862 w 8472"/>
              <a:gd name="connsiteY13" fmla="*/ 0 h 10000"/>
              <a:gd name="connsiteX14" fmla="*/ 5901 w 8472"/>
              <a:gd name="connsiteY14" fmla="*/ 335 h 10000"/>
              <a:gd name="connsiteX15" fmla="*/ 5901 w 8472"/>
              <a:gd name="connsiteY15" fmla="*/ 8575 h 10000"/>
              <a:gd name="connsiteX16" fmla="*/ 5941 w 8472"/>
              <a:gd name="connsiteY16" fmla="*/ 8910 h 10000"/>
              <a:gd name="connsiteX17" fmla="*/ 7722 w 8472"/>
              <a:gd name="connsiteY17" fmla="*/ 8910 h 10000"/>
              <a:gd name="connsiteX18" fmla="*/ 7761 w 8472"/>
              <a:gd name="connsiteY18" fmla="*/ 8575 h 10000"/>
              <a:gd name="connsiteX19" fmla="*/ 7761 w 8472"/>
              <a:gd name="connsiteY19" fmla="*/ 1772 h 10000"/>
              <a:gd name="connsiteX20" fmla="*/ 7801 w 8472"/>
              <a:gd name="connsiteY20" fmla="*/ 1437 h 10000"/>
              <a:gd name="connsiteX21" fmla="*/ 8395 w 8472"/>
              <a:gd name="connsiteY21" fmla="*/ 1437 h 10000"/>
              <a:gd name="connsiteX22" fmla="*/ 8433 w 8472"/>
              <a:gd name="connsiteY22" fmla="*/ 1772 h 10000"/>
              <a:gd name="connsiteX23" fmla="*/ 8433 w 8472"/>
              <a:gd name="connsiteY23" fmla="*/ 3222 h 10000"/>
              <a:gd name="connsiteX24" fmla="*/ 8472 w 8472"/>
              <a:gd name="connsiteY24" fmla="*/ 3557 h 10000"/>
              <a:gd name="connsiteX0" fmla="*/ 0 w 9954"/>
              <a:gd name="connsiteY0" fmla="*/ 7868 h 10000"/>
              <a:gd name="connsiteX1" fmla="*/ 2073 w 9954"/>
              <a:gd name="connsiteY1" fmla="*/ 7868 h 10000"/>
              <a:gd name="connsiteX2" fmla="*/ 2119 w 9954"/>
              <a:gd name="connsiteY2" fmla="*/ 7533 h 10000"/>
              <a:gd name="connsiteX3" fmla="*/ 2119 w 9954"/>
              <a:gd name="connsiteY3" fmla="*/ 1796 h 10000"/>
              <a:gd name="connsiteX4" fmla="*/ 2165 w 9954"/>
              <a:gd name="connsiteY4" fmla="*/ 1461 h 10000"/>
              <a:gd name="connsiteX5" fmla="*/ 4255 w 9954"/>
              <a:gd name="connsiteY5" fmla="*/ 1461 h 10000"/>
              <a:gd name="connsiteX6" fmla="*/ 4301 w 9954"/>
              <a:gd name="connsiteY6" fmla="*/ 1796 h 10000"/>
              <a:gd name="connsiteX7" fmla="*/ 4301 w 9954"/>
              <a:gd name="connsiteY7" fmla="*/ 9665 h 10000"/>
              <a:gd name="connsiteX8" fmla="*/ 4347 w 9954"/>
              <a:gd name="connsiteY8" fmla="*/ 10000 h 10000"/>
              <a:gd name="connsiteX9" fmla="*/ 5790 w 9954"/>
              <a:gd name="connsiteY9" fmla="*/ 10000 h 10000"/>
              <a:gd name="connsiteX10" fmla="*/ 5836 w 9954"/>
              <a:gd name="connsiteY10" fmla="*/ 9665 h 10000"/>
              <a:gd name="connsiteX11" fmla="*/ 5836 w 9954"/>
              <a:gd name="connsiteY11" fmla="*/ 335 h 10000"/>
              <a:gd name="connsiteX12" fmla="*/ 5883 w 9954"/>
              <a:gd name="connsiteY12" fmla="*/ 0 h 10000"/>
              <a:gd name="connsiteX13" fmla="*/ 6919 w 9954"/>
              <a:gd name="connsiteY13" fmla="*/ 0 h 10000"/>
              <a:gd name="connsiteX14" fmla="*/ 6965 w 9954"/>
              <a:gd name="connsiteY14" fmla="*/ 335 h 10000"/>
              <a:gd name="connsiteX15" fmla="*/ 6965 w 9954"/>
              <a:gd name="connsiteY15" fmla="*/ 8575 h 10000"/>
              <a:gd name="connsiteX16" fmla="*/ 7013 w 9954"/>
              <a:gd name="connsiteY16" fmla="*/ 8910 h 10000"/>
              <a:gd name="connsiteX17" fmla="*/ 9115 w 9954"/>
              <a:gd name="connsiteY17" fmla="*/ 8910 h 10000"/>
              <a:gd name="connsiteX18" fmla="*/ 9161 w 9954"/>
              <a:gd name="connsiteY18" fmla="*/ 8575 h 10000"/>
              <a:gd name="connsiteX19" fmla="*/ 9161 w 9954"/>
              <a:gd name="connsiteY19" fmla="*/ 1772 h 10000"/>
              <a:gd name="connsiteX20" fmla="*/ 9208 w 9954"/>
              <a:gd name="connsiteY20" fmla="*/ 1437 h 10000"/>
              <a:gd name="connsiteX21" fmla="*/ 9909 w 9954"/>
              <a:gd name="connsiteY21" fmla="*/ 1437 h 10000"/>
              <a:gd name="connsiteX22" fmla="*/ 9954 w 9954"/>
              <a:gd name="connsiteY22" fmla="*/ 1772 h 10000"/>
              <a:gd name="connsiteX23" fmla="*/ 9954 w 9954"/>
              <a:gd name="connsiteY23" fmla="*/ 3222 h 10000"/>
              <a:gd name="connsiteX0" fmla="*/ 0 w 10000"/>
              <a:gd name="connsiteY0" fmla="*/ 7868 h 10000"/>
              <a:gd name="connsiteX1" fmla="*/ 2083 w 10000"/>
              <a:gd name="connsiteY1" fmla="*/ 7868 h 10000"/>
              <a:gd name="connsiteX2" fmla="*/ 2129 w 10000"/>
              <a:gd name="connsiteY2" fmla="*/ 7533 h 10000"/>
              <a:gd name="connsiteX3" fmla="*/ 2129 w 10000"/>
              <a:gd name="connsiteY3" fmla="*/ 1796 h 10000"/>
              <a:gd name="connsiteX4" fmla="*/ 2175 w 10000"/>
              <a:gd name="connsiteY4" fmla="*/ 1461 h 10000"/>
              <a:gd name="connsiteX5" fmla="*/ 4275 w 10000"/>
              <a:gd name="connsiteY5" fmla="*/ 1461 h 10000"/>
              <a:gd name="connsiteX6" fmla="*/ 4321 w 10000"/>
              <a:gd name="connsiteY6" fmla="*/ 1796 h 10000"/>
              <a:gd name="connsiteX7" fmla="*/ 4321 w 10000"/>
              <a:gd name="connsiteY7" fmla="*/ 9665 h 10000"/>
              <a:gd name="connsiteX8" fmla="*/ 4367 w 10000"/>
              <a:gd name="connsiteY8" fmla="*/ 10000 h 10000"/>
              <a:gd name="connsiteX9" fmla="*/ 5817 w 10000"/>
              <a:gd name="connsiteY9" fmla="*/ 10000 h 10000"/>
              <a:gd name="connsiteX10" fmla="*/ 5863 w 10000"/>
              <a:gd name="connsiteY10" fmla="*/ 9665 h 10000"/>
              <a:gd name="connsiteX11" fmla="*/ 5863 w 10000"/>
              <a:gd name="connsiteY11" fmla="*/ 335 h 10000"/>
              <a:gd name="connsiteX12" fmla="*/ 5910 w 10000"/>
              <a:gd name="connsiteY12" fmla="*/ 0 h 10000"/>
              <a:gd name="connsiteX13" fmla="*/ 6951 w 10000"/>
              <a:gd name="connsiteY13" fmla="*/ 0 h 10000"/>
              <a:gd name="connsiteX14" fmla="*/ 6997 w 10000"/>
              <a:gd name="connsiteY14" fmla="*/ 335 h 10000"/>
              <a:gd name="connsiteX15" fmla="*/ 6997 w 10000"/>
              <a:gd name="connsiteY15" fmla="*/ 8575 h 10000"/>
              <a:gd name="connsiteX16" fmla="*/ 7045 w 10000"/>
              <a:gd name="connsiteY16" fmla="*/ 8910 h 10000"/>
              <a:gd name="connsiteX17" fmla="*/ 9157 w 10000"/>
              <a:gd name="connsiteY17" fmla="*/ 8910 h 10000"/>
              <a:gd name="connsiteX18" fmla="*/ 9203 w 10000"/>
              <a:gd name="connsiteY18" fmla="*/ 8575 h 10000"/>
              <a:gd name="connsiteX19" fmla="*/ 9203 w 10000"/>
              <a:gd name="connsiteY19" fmla="*/ 1772 h 10000"/>
              <a:gd name="connsiteX20" fmla="*/ 9251 w 10000"/>
              <a:gd name="connsiteY20" fmla="*/ 1437 h 10000"/>
              <a:gd name="connsiteX21" fmla="*/ 9955 w 10000"/>
              <a:gd name="connsiteY21" fmla="*/ 1437 h 10000"/>
              <a:gd name="connsiteX22" fmla="*/ 10000 w 10000"/>
              <a:gd name="connsiteY22" fmla="*/ 1772 h 10000"/>
              <a:gd name="connsiteX0" fmla="*/ 0 w 9955"/>
              <a:gd name="connsiteY0" fmla="*/ 7868 h 10000"/>
              <a:gd name="connsiteX1" fmla="*/ 2083 w 9955"/>
              <a:gd name="connsiteY1" fmla="*/ 7868 h 10000"/>
              <a:gd name="connsiteX2" fmla="*/ 2129 w 9955"/>
              <a:gd name="connsiteY2" fmla="*/ 7533 h 10000"/>
              <a:gd name="connsiteX3" fmla="*/ 2129 w 9955"/>
              <a:gd name="connsiteY3" fmla="*/ 1796 h 10000"/>
              <a:gd name="connsiteX4" fmla="*/ 2175 w 9955"/>
              <a:gd name="connsiteY4" fmla="*/ 1461 h 10000"/>
              <a:gd name="connsiteX5" fmla="*/ 4275 w 9955"/>
              <a:gd name="connsiteY5" fmla="*/ 1461 h 10000"/>
              <a:gd name="connsiteX6" fmla="*/ 4321 w 9955"/>
              <a:gd name="connsiteY6" fmla="*/ 1796 h 10000"/>
              <a:gd name="connsiteX7" fmla="*/ 4321 w 9955"/>
              <a:gd name="connsiteY7" fmla="*/ 9665 h 10000"/>
              <a:gd name="connsiteX8" fmla="*/ 4367 w 9955"/>
              <a:gd name="connsiteY8" fmla="*/ 10000 h 10000"/>
              <a:gd name="connsiteX9" fmla="*/ 5817 w 9955"/>
              <a:gd name="connsiteY9" fmla="*/ 10000 h 10000"/>
              <a:gd name="connsiteX10" fmla="*/ 5863 w 9955"/>
              <a:gd name="connsiteY10" fmla="*/ 9665 h 10000"/>
              <a:gd name="connsiteX11" fmla="*/ 5863 w 9955"/>
              <a:gd name="connsiteY11" fmla="*/ 335 h 10000"/>
              <a:gd name="connsiteX12" fmla="*/ 5910 w 9955"/>
              <a:gd name="connsiteY12" fmla="*/ 0 h 10000"/>
              <a:gd name="connsiteX13" fmla="*/ 6951 w 9955"/>
              <a:gd name="connsiteY13" fmla="*/ 0 h 10000"/>
              <a:gd name="connsiteX14" fmla="*/ 6997 w 9955"/>
              <a:gd name="connsiteY14" fmla="*/ 335 h 10000"/>
              <a:gd name="connsiteX15" fmla="*/ 6997 w 9955"/>
              <a:gd name="connsiteY15" fmla="*/ 8575 h 10000"/>
              <a:gd name="connsiteX16" fmla="*/ 7045 w 9955"/>
              <a:gd name="connsiteY16" fmla="*/ 8910 h 10000"/>
              <a:gd name="connsiteX17" fmla="*/ 9157 w 9955"/>
              <a:gd name="connsiteY17" fmla="*/ 8910 h 10000"/>
              <a:gd name="connsiteX18" fmla="*/ 9203 w 9955"/>
              <a:gd name="connsiteY18" fmla="*/ 8575 h 10000"/>
              <a:gd name="connsiteX19" fmla="*/ 9203 w 9955"/>
              <a:gd name="connsiteY19" fmla="*/ 1772 h 10000"/>
              <a:gd name="connsiteX20" fmla="*/ 9251 w 9955"/>
              <a:gd name="connsiteY20" fmla="*/ 1437 h 10000"/>
              <a:gd name="connsiteX21" fmla="*/ 9955 w 9955"/>
              <a:gd name="connsiteY21" fmla="*/ 1437 h 10000"/>
              <a:gd name="connsiteX0" fmla="*/ 0 w 9293"/>
              <a:gd name="connsiteY0" fmla="*/ 7868 h 10000"/>
              <a:gd name="connsiteX1" fmla="*/ 2092 w 9293"/>
              <a:gd name="connsiteY1" fmla="*/ 7868 h 10000"/>
              <a:gd name="connsiteX2" fmla="*/ 2139 w 9293"/>
              <a:gd name="connsiteY2" fmla="*/ 7533 h 10000"/>
              <a:gd name="connsiteX3" fmla="*/ 2139 w 9293"/>
              <a:gd name="connsiteY3" fmla="*/ 1796 h 10000"/>
              <a:gd name="connsiteX4" fmla="*/ 2185 w 9293"/>
              <a:gd name="connsiteY4" fmla="*/ 1461 h 10000"/>
              <a:gd name="connsiteX5" fmla="*/ 4294 w 9293"/>
              <a:gd name="connsiteY5" fmla="*/ 1461 h 10000"/>
              <a:gd name="connsiteX6" fmla="*/ 4341 w 9293"/>
              <a:gd name="connsiteY6" fmla="*/ 1796 h 10000"/>
              <a:gd name="connsiteX7" fmla="*/ 4341 w 9293"/>
              <a:gd name="connsiteY7" fmla="*/ 9665 h 10000"/>
              <a:gd name="connsiteX8" fmla="*/ 4387 w 9293"/>
              <a:gd name="connsiteY8" fmla="*/ 10000 h 10000"/>
              <a:gd name="connsiteX9" fmla="*/ 5843 w 9293"/>
              <a:gd name="connsiteY9" fmla="*/ 10000 h 10000"/>
              <a:gd name="connsiteX10" fmla="*/ 5890 w 9293"/>
              <a:gd name="connsiteY10" fmla="*/ 9665 h 10000"/>
              <a:gd name="connsiteX11" fmla="*/ 5890 w 9293"/>
              <a:gd name="connsiteY11" fmla="*/ 335 h 10000"/>
              <a:gd name="connsiteX12" fmla="*/ 5937 w 9293"/>
              <a:gd name="connsiteY12" fmla="*/ 0 h 10000"/>
              <a:gd name="connsiteX13" fmla="*/ 6982 w 9293"/>
              <a:gd name="connsiteY13" fmla="*/ 0 h 10000"/>
              <a:gd name="connsiteX14" fmla="*/ 7029 w 9293"/>
              <a:gd name="connsiteY14" fmla="*/ 335 h 10000"/>
              <a:gd name="connsiteX15" fmla="*/ 7029 w 9293"/>
              <a:gd name="connsiteY15" fmla="*/ 8575 h 10000"/>
              <a:gd name="connsiteX16" fmla="*/ 7077 w 9293"/>
              <a:gd name="connsiteY16" fmla="*/ 8910 h 10000"/>
              <a:gd name="connsiteX17" fmla="*/ 9198 w 9293"/>
              <a:gd name="connsiteY17" fmla="*/ 8910 h 10000"/>
              <a:gd name="connsiteX18" fmla="*/ 9245 w 9293"/>
              <a:gd name="connsiteY18" fmla="*/ 8575 h 10000"/>
              <a:gd name="connsiteX19" fmla="*/ 9245 w 9293"/>
              <a:gd name="connsiteY19" fmla="*/ 1772 h 10000"/>
              <a:gd name="connsiteX20" fmla="*/ 9293 w 9293"/>
              <a:gd name="connsiteY20" fmla="*/ 1437 h 10000"/>
              <a:gd name="connsiteX0" fmla="*/ 0 w 9948"/>
              <a:gd name="connsiteY0" fmla="*/ 7868 h 10000"/>
              <a:gd name="connsiteX1" fmla="*/ 2251 w 9948"/>
              <a:gd name="connsiteY1" fmla="*/ 7868 h 10000"/>
              <a:gd name="connsiteX2" fmla="*/ 2302 w 9948"/>
              <a:gd name="connsiteY2" fmla="*/ 7533 h 10000"/>
              <a:gd name="connsiteX3" fmla="*/ 2302 w 9948"/>
              <a:gd name="connsiteY3" fmla="*/ 1796 h 10000"/>
              <a:gd name="connsiteX4" fmla="*/ 2351 w 9948"/>
              <a:gd name="connsiteY4" fmla="*/ 1461 h 10000"/>
              <a:gd name="connsiteX5" fmla="*/ 4621 w 9948"/>
              <a:gd name="connsiteY5" fmla="*/ 1461 h 10000"/>
              <a:gd name="connsiteX6" fmla="*/ 4671 w 9948"/>
              <a:gd name="connsiteY6" fmla="*/ 1796 h 10000"/>
              <a:gd name="connsiteX7" fmla="*/ 4671 w 9948"/>
              <a:gd name="connsiteY7" fmla="*/ 9665 h 10000"/>
              <a:gd name="connsiteX8" fmla="*/ 4721 w 9948"/>
              <a:gd name="connsiteY8" fmla="*/ 10000 h 10000"/>
              <a:gd name="connsiteX9" fmla="*/ 6288 w 9948"/>
              <a:gd name="connsiteY9" fmla="*/ 10000 h 10000"/>
              <a:gd name="connsiteX10" fmla="*/ 6338 w 9948"/>
              <a:gd name="connsiteY10" fmla="*/ 9665 h 10000"/>
              <a:gd name="connsiteX11" fmla="*/ 6338 w 9948"/>
              <a:gd name="connsiteY11" fmla="*/ 335 h 10000"/>
              <a:gd name="connsiteX12" fmla="*/ 6389 w 9948"/>
              <a:gd name="connsiteY12" fmla="*/ 0 h 10000"/>
              <a:gd name="connsiteX13" fmla="*/ 7513 w 9948"/>
              <a:gd name="connsiteY13" fmla="*/ 0 h 10000"/>
              <a:gd name="connsiteX14" fmla="*/ 7564 w 9948"/>
              <a:gd name="connsiteY14" fmla="*/ 335 h 10000"/>
              <a:gd name="connsiteX15" fmla="*/ 7564 w 9948"/>
              <a:gd name="connsiteY15" fmla="*/ 8575 h 10000"/>
              <a:gd name="connsiteX16" fmla="*/ 7615 w 9948"/>
              <a:gd name="connsiteY16" fmla="*/ 8910 h 10000"/>
              <a:gd name="connsiteX17" fmla="*/ 9898 w 9948"/>
              <a:gd name="connsiteY17" fmla="*/ 8910 h 10000"/>
              <a:gd name="connsiteX18" fmla="*/ 9948 w 9948"/>
              <a:gd name="connsiteY18" fmla="*/ 8575 h 10000"/>
              <a:gd name="connsiteX19" fmla="*/ 9948 w 9948"/>
              <a:gd name="connsiteY19" fmla="*/ 1772 h 10000"/>
              <a:gd name="connsiteX0" fmla="*/ 0 w 10000"/>
              <a:gd name="connsiteY0" fmla="*/ 7868 h 10000"/>
              <a:gd name="connsiteX1" fmla="*/ 2263 w 10000"/>
              <a:gd name="connsiteY1" fmla="*/ 7868 h 10000"/>
              <a:gd name="connsiteX2" fmla="*/ 2314 w 10000"/>
              <a:gd name="connsiteY2" fmla="*/ 7533 h 10000"/>
              <a:gd name="connsiteX3" fmla="*/ 2314 w 10000"/>
              <a:gd name="connsiteY3" fmla="*/ 1796 h 10000"/>
              <a:gd name="connsiteX4" fmla="*/ 2363 w 10000"/>
              <a:gd name="connsiteY4" fmla="*/ 1461 h 10000"/>
              <a:gd name="connsiteX5" fmla="*/ 4645 w 10000"/>
              <a:gd name="connsiteY5" fmla="*/ 1461 h 10000"/>
              <a:gd name="connsiteX6" fmla="*/ 4695 w 10000"/>
              <a:gd name="connsiteY6" fmla="*/ 1796 h 10000"/>
              <a:gd name="connsiteX7" fmla="*/ 4695 w 10000"/>
              <a:gd name="connsiteY7" fmla="*/ 9665 h 10000"/>
              <a:gd name="connsiteX8" fmla="*/ 4746 w 10000"/>
              <a:gd name="connsiteY8" fmla="*/ 10000 h 10000"/>
              <a:gd name="connsiteX9" fmla="*/ 6321 w 10000"/>
              <a:gd name="connsiteY9" fmla="*/ 10000 h 10000"/>
              <a:gd name="connsiteX10" fmla="*/ 6371 w 10000"/>
              <a:gd name="connsiteY10" fmla="*/ 9665 h 10000"/>
              <a:gd name="connsiteX11" fmla="*/ 6371 w 10000"/>
              <a:gd name="connsiteY11" fmla="*/ 335 h 10000"/>
              <a:gd name="connsiteX12" fmla="*/ 6422 w 10000"/>
              <a:gd name="connsiteY12" fmla="*/ 0 h 10000"/>
              <a:gd name="connsiteX13" fmla="*/ 7552 w 10000"/>
              <a:gd name="connsiteY13" fmla="*/ 0 h 10000"/>
              <a:gd name="connsiteX14" fmla="*/ 7604 w 10000"/>
              <a:gd name="connsiteY14" fmla="*/ 335 h 10000"/>
              <a:gd name="connsiteX15" fmla="*/ 7604 w 10000"/>
              <a:gd name="connsiteY15" fmla="*/ 8575 h 10000"/>
              <a:gd name="connsiteX16" fmla="*/ 7655 w 10000"/>
              <a:gd name="connsiteY16" fmla="*/ 8910 h 10000"/>
              <a:gd name="connsiteX17" fmla="*/ 9950 w 10000"/>
              <a:gd name="connsiteY17" fmla="*/ 8910 h 10000"/>
              <a:gd name="connsiteX18" fmla="*/ 10000 w 10000"/>
              <a:gd name="connsiteY18" fmla="*/ 8575 h 10000"/>
              <a:gd name="connsiteX0" fmla="*/ 0 w 8266"/>
              <a:gd name="connsiteY0" fmla="*/ 7916 h 10000"/>
              <a:gd name="connsiteX1" fmla="*/ 529 w 8266"/>
              <a:gd name="connsiteY1" fmla="*/ 7868 h 10000"/>
              <a:gd name="connsiteX2" fmla="*/ 580 w 8266"/>
              <a:gd name="connsiteY2" fmla="*/ 7533 h 10000"/>
              <a:gd name="connsiteX3" fmla="*/ 580 w 8266"/>
              <a:gd name="connsiteY3" fmla="*/ 1796 h 10000"/>
              <a:gd name="connsiteX4" fmla="*/ 629 w 8266"/>
              <a:gd name="connsiteY4" fmla="*/ 1461 h 10000"/>
              <a:gd name="connsiteX5" fmla="*/ 2911 w 8266"/>
              <a:gd name="connsiteY5" fmla="*/ 1461 h 10000"/>
              <a:gd name="connsiteX6" fmla="*/ 2961 w 8266"/>
              <a:gd name="connsiteY6" fmla="*/ 1796 h 10000"/>
              <a:gd name="connsiteX7" fmla="*/ 2961 w 8266"/>
              <a:gd name="connsiteY7" fmla="*/ 9665 h 10000"/>
              <a:gd name="connsiteX8" fmla="*/ 3012 w 8266"/>
              <a:gd name="connsiteY8" fmla="*/ 10000 h 10000"/>
              <a:gd name="connsiteX9" fmla="*/ 4587 w 8266"/>
              <a:gd name="connsiteY9" fmla="*/ 10000 h 10000"/>
              <a:gd name="connsiteX10" fmla="*/ 4637 w 8266"/>
              <a:gd name="connsiteY10" fmla="*/ 9665 h 10000"/>
              <a:gd name="connsiteX11" fmla="*/ 4637 w 8266"/>
              <a:gd name="connsiteY11" fmla="*/ 335 h 10000"/>
              <a:gd name="connsiteX12" fmla="*/ 4688 w 8266"/>
              <a:gd name="connsiteY12" fmla="*/ 0 h 10000"/>
              <a:gd name="connsiteX13" fmla="*/ 5818 w 8266"/>
              <a:gd name="connsiteY13" fmla="*/ 0 h 10000"/>
              <a:gd name="connsiteX14" fmla="*/ 5870 w 8266"/>
              <a:gd name="connsiteY14" fmla="*/ 335 h 10000"/>
              <a:gd name="connsiteX15" fmla="*/ 5870 w 8266"/>
              <a:gd name="connsiteY15" fmla="*/ 8575 h 10000"/>
              <a:gd name="connsiteX16" fmla="*/ 5921 w 8266"/>
              <a:gd name="connsiteY16" fmla="*/ 8910 h 10000"/>
              <a:gd name="connsiteX17" fmla="*/ 8216 w 8266"/>
              <a:gd name="connsiteY17" fmla="*/ 8910 h 10000"/>
              <a:gd name="connsiteX18" fmla="*/ 8266 w 8266"/>
              <a:gd name="connsiteY18" fmla="*/ 8575 h 10000"/>
              <a:gd name="connsiteX0" fmla="*/ 0 w 10000"/>
              <a:gd name="connsiteY0" fmla="*/ 7916 h 10000"/>
              <a:gd name="connsiteX1" fmla="*/ 640 w 10000"/>
              <a:gd name="connsiteY1" fmla="*/ 7868 h 10000"/>
              <a:gd name="connsiteX2" fmla="*/ 702 w 10000"/>
              <a:gd name="connsiteY2" fmla="*/ 7533 h 10000"/>
              <a:gd name="connsiteX3" fmla="*/ 702 w 10000"/>
              <a:gd name="connsiteY3" fmla="*/ 1796 h 10000"/>
              <a:gd name="connsiteX4" fmla="*/ 761 w 10000"/>
              <a:gd name="connsiteY4" fmla="*/ 1461 h 10000"/>
              <a:gd name="connsiteX5" fmla="*/ 3522 w 10000"/>
              <a:gd name="connsiteY5" fmla="*/ 1461 h 10000"/>
              <a:gd name="connsiteX6" fmla="*/ 3582 w 10000"/>
              <a:gd name="connsiteY6" fmla="*/ 1796 h 10000"/>
              <a:gd name="connsiteX7" fmla="*/ 3582 w 10000"/>
              <a:gd name="connsiteY7" fmla="*/ 9665 h 10000"/>
              <a:gd name="connsiteX8" fmla="*/ 3644 w 10000"/>
              <a:gd name="connsiteY8" fmla="*/ 10000 h 10000"/>
              <a:gd name="connsiteX9" fmla="*/ 5549 w 10000"/>
              <a:gd name="connsiteY9" fmla="*/ 10000 h 10000"/>
              <a:gd name="connsiteX10" fmla="*/ 5610 w 10000"/>
              <a:gd name="connsiteY10" fmla="*/ 9665 h 10000"/>
              <a:gd name="connsiteX11" fmla="*/ 5610 w 10000"/>
              <a:gd name="connsiteY11" fmla="*/ 335 h 10000"/>
              <a:gd name="connsiteX12" fmla="*/ 5671 w 10000"/>
              <a:gd name="connsiteY12" fmla="*/ 0 h 10000"/>
              <a:gd name="connsiteX13" fmla="*/ 7038 w 10000"/>
              <a:gd name="connsiteY13" fmla="*/ 0 h 10000"/>
              <a:gd name="connsiteX14" fmla="*/ 7101 w 10000"/>
              <a:gd name="connsiteY14" fmla="*/ 335 h 10000"/>
              <a:gd name="connsiteX15" fmla="*/ 7101 w 10000"/>
              <a:gd name="connsiteY15" fmla="*/ 8575 h 10000"/>
              <a:gd name="connsiteX16" fmla="*/ 7163 w 10000"/>
              <a:gd name="connsiteY16" fmla="*/ 8910 h 10000"/>
              <a:gd name="connsiteX17" fmla="*/ 9940 w 10000"/>
              <a:gd name="connsiteY17" fmla="*/ 8910 h 10000"/>
              <a:gd name="connsiteX18" fmla="*/ 10000 w 10000"/>
              <a:gd name="connsiteY18" fmla="*/ 8575 h 10000"/>
              <a:gd name="connsiteX0" fmla="*/ 0 w 9964"/>
              <a:gd name="connsiteY0" fmla="*/ 7882 h 10000"/>
              <a:gd name="connsiteX1" fmla="*/ 604 w 9964"/>
              <a:gd name="connsiteY1" fmla="*/ 7868 h 10000"/>
              <a:gd name="connsiteX2" fmla="*/ 666 w 9964"/>
              <a:gd name="connsiteY2" fmla="*/ 7533 h 10000"/>
              <a:gd name="connsiteX3" fmla="*/ 666 w 9964"/>
              <a:gd name="connsiteY3" fmla="*/ 1796 h 10000"/>
              <a:gd name="connsiteX4" fmla="*/ 725 w 9964"/>
              <a:gd name="connsiteY4" fmla="*/ 1461 h 10000"/>
              <a:gd name="connsiteX5" fmla="*/ 3486 w 9964"/>
              <a:gd name="connsiteY5" fmla="*/ 1461 h 10000"/>
              <a:gd name="connsiteX6" fmla="*/ 3546 w 9964"/>
              <a:gd name="connsiteY6" fmla="*/ 1796 h 10000"/>
              <a:gd name="connsiteX7" fmla="*/ 3546 w 9964"/>
              <a:gd name="connsiteY7" fmla="*/ 9665 h 10000"/>
              <a:gd name="connsiteX8" fmla="*/ 3608 w 9964"/>
              <a:gd name="connsiteY8" fmla="*/ 10000 h 10000"/>
              <a:gd name="connsiteX9" fmla="*/ 5513 w 9964"/>
              <a:gd name="connsiteY9" fmla="*/ 10000 h 10000"/>
              <a:gd name="connsiteX10" fmla="*/ 5574 w 9964"/>
              <a:gd name="connsiteY10" fmla="*/ 9665 h 10000"/>
              <a:gd name="connsiteX11" fmla="*/ 5574 w 9964"/>
              <a:gd name="connsiteY11" fmla="*/ 335 h 10000"/>
              <a:gd name="connsiteX12" fmla="*/ 5635 w 9964"/>
              <a:gd name="connsiteY12" fmla="*/ 0 h 10000"/>
              <a:gd name="connsiteX13" fmla="*/ 7002 w 9964"/>
              <a:gd name="connsiteY13" fmla="*/ 0 h 10000"/>
              <a:gd name="connsiteX14" fmla="*/ 7065 w 9964"/>
              <a:gd name="connsiteY14" fmla="*/ 335 h 10000"/>
              <a:gd name="connsiteX15" fmla="*/ 7065 w 9964"/>
              <a:gd name="connsiteY15" fmla="*/ 8575 h 10000"/>
              <a:gd name="connsiteX16" fmla="*/ 7127 w 9964"/>
              <a:gd name="connsiteY16" fmla="*/ 8910 h 10000"/>
              <a:gd name="connsiteX17" fmla="*/ 9904 w 9964"/>
              <a:gd name="connsiteY17" fmla="*/ 8910 h 10000"/>
              <a:gd name="connsiteX18" fmla="*/ 9964 w 9964"/>
              <a:gd name="connsiteY18" fmla="*/ 8575 h 10000"/>
              <a:gd name="connsiteX0" fmla="*/ 0 w 10018"/>
              <a:gd name="connsiteY0" fmla="*/ 7882 h 10000"/>
              <a:gd name="connsiteX1" fmla="*/ 624 w 10018"/>
              <a:gd name="connsiteY1" fmla="*/ 7868 h 10000"/>
              <a:gd name="connsiteX2" fmla="*/ 686 w 10018"/>
              <a:gd name="connsiteY2" fmla="*/ 7533 h 10000"/>
              <a:gd name="connsiteX3" fmla="*/ 686 w 10018"/>
              <a:gd name="connsiteY3" fmla="*/ 1796 h 10000"/>
              <a:gd name="connsiteX4" fmla="*/ 746 w 10018"/>
              <a:gd name="connsiteY4" fmla="*/ 1461 h 10000"/>
              <a:gd name="connsiteX5" fmla="*/ 3517 w 10018"/>
              <a:gd name="connsiteY5" fmla="*/ 1461 h 10000"/>
              <a:gd name="connsiteX6" fmla="*/ 3577 w 10018"/>
              <a:gd name="connsiteY6" fmla="*/ 1796 h 10000"/>
              <a:gd name="connsiteX7" fmla="*/ 3577 w 10018"/>
              <a:gd name="connsiteY7" fmla="*/ 9665 h 10000"/>
              <a:gd name="connsiteX8" fmla="*/ 3639 w 10018"/>
              <a:gd name="connsiteY8" fmla="*/ 10000 h 10000"/>
              <a:gd name="connsiteX9" fmla="*/ 5551 w 10018"/>
              <a:gd name="connsiteY9" fmla="*/ 10000 h 10000"/>
              <a:gd name="connsiteX10" fmla="*/ 5612 w 10018"/>
              <a:gd name="connsiteY10" fmla="*/ 9665 h 10000"/>
              <a:gd name="connsiteX11" fmla="*/ 5612 w 10018"/>
              <a:gd name="connsiteY11" fmla="*/ 335 h 10000"/>
              <a:gd name="connsiteX12" fmla="*/ 5673 w 10018"/>
              <a:gd name="connsiteY12" fmla="*/ 0 h 10000"/>
              <a:gd name="connsiteX13" fmla="*/ 7045 w 10018"/>
              <a:gd name="connsiteY13" fmla="*/ 0 h 10000"/>
              <a:gd name="connsiteX14" fmla="*/ 7109 w 10018"/>
              <a:gd name="connsiteY14" fmla="*/ 335 h 10000"/>
              <a:gd name="connsiteX15" fmla="*/ 7109 w 10018"/>
              <a:gd name="connsiteY15" fmla="*/ 8575 h 10000"/>
              <a:gd name="connsiteX16" fmla="*/ 7171 w 10018"/>
              <a:gd name="connsiteY16" fmla="*/ 8910 h 10000"/>
              <a:gd name="connsiteX17" fmla="*/ 9958 w 10018"/>
              <a:gd name="connsiteY17" fmla="*/ 8910 h 10000"/>
              <a:gd name="connsiteX18" fmla="*/ 10018 w 10018"/>
              <a:gd name="connsiteY18" fmla="*/ 8575 h 10000"/>
              <a:gd name="connsiteX0" fmla="*/ 0 w 10023"/>
              <a:gd name="connsiteY0" fmla="*/ 7857 h 10000"/>
              <a:gd name="connsiteX1" fmla="*/ 629 w 10023"/>
              <a:gd name="connsiteY1" fmla="*/ 7868 h 10000"/>
              <a:gd name="connsiteX2" fmla="*/ 691 w 10023"/>
              <a:gd name="connsiteY2" fmla="*/ 7533 h 10000"/>
              <a:gd name="connsiteX3" fmla="*/ 691 w 10023"/>
              <a:gd name="connsiteY3" fmla="*/ 1796 h 10000"/>
              <a:gd name="connsiteX4" fmla="*/ 751 w 10023"/>
              <a:gd name="connsiteY4" fmla="*/ 1461 h 10000"/>
              <a:gd name="connsiteX5" fmla="*/ 3522 w 10023"/>
              <a:gd name="connsiteY5" fmla="*/ 1461 h 10000"/>
              <a:gd name="connsiteX6" fmla="*/ 3582 w 10023"/>
              <a:gd name="connsiteY6" fmla="*/ 1796 h 10000"/>
              <a:gd name="connsiteX7" fmla="*/ 3582 w 10023"/>
              <a:gd name="connsiteY7" fmla="*/ 9665 h 10000"/>
              <a:gd name="connsiteX8" fmla="*/ 3644 w 10023"/>
              <a:gd name="connsiteY8" fmla="*/ 10000 h 10000"/>
              <a:gd name="connsiteX9" fmla="*/ 5556 w 10023"/>
              <a:gd name="connsiteY9" fmla="*/ 10000 h 10000"/>
              <a:gd name="connsiteX10" fmla="*/ 5617 w 10023"/>
              <a:gd name="connsiteY10" fmla="*/ 9665 h 10000"/>
              <a:gd name="connsiteX11" fmla="*/ 5617 w 10023"/>
              <a:gd name="connsiteY11" fmla="*/ 335 h 10000"/>
              <a:gd name="connsiteX12" fmla="*/ 5678 w 10023"/>
              <a:gd name="connsiteY12" fmla="*/ 0 h 10000"/>
              <a:gd name="connsiteX13" fmla="*/ 7050 w 10023"/>
              <a:gd name="connsiteY13" fmla="*/ 0 h 10000"/>
              <a:gd name="connsiteX14" fmla="*/ 7114 w 10023"/>
              <a:gd name="connsiteY14" fmla="*/ 335 h 10000"/>
              <a:gd name="connsiteX15" fmla="*/ 7114 w 10023"/>
              <a:gd name="connsiteY15" fmla="*/ 8575 h 10000"/>
              <a:gd name="connsiteX16" fmla="*/ 7176 w 10023"/>
              <a:gd name="connsiteY16" fmla="*/ 8910 h 10000"/>
              <a:gd name="connsiteX17" fmla="*/ 9963 w 10023"/>
              <a:gd name="connsiteY17" fmla="*/ 8910 h 10000"/>
              <a:gd name="connsiteX18" fmla="*/ 10023 w 10023"/>
              <a:gd name="connsiteY18" fmla="*/ 8575 h 10000"/>
              <a:gd name="connsiteX0" fmla="*/ 0 w 10023"/>
              <a:gd name="connsiteY0" fmla="*/ 7857 h 10000"/>
              <a:gd name="connsiteX1" fmla="*/ 629 w 10023"/>
              <a:gd name="connsiteY1" fmla="*/ 7868 h 10000"/>
              <a:gd name="connsiteX2" fmla="*/ 691 w 10023"/>
              <a:gd name="connsiteY2" fmla="*/ 7533 h 10000"/>
              <a:gd name="connsiteX3" fmla="*/ 691 w 10023"/>
              <a:gd name="connsiteY3" fmla="*/ 1796 h 10000"/>
              <a:gd name="connsiteX4" fmla="*/ 751 w 10023"/>
              <a:gd name="connsiteY4" fmla="*/ 1461 h 10000"/>
              <a:gd name="connsiteX5" fmla="*/ 3522 w 10023"/>
              <a:gd name="connsiteY5" fmla="*/ 1461 h 10000"/>
              <a:gd name="connsiteX6" fmla="*/ 3582 w 10023"/>
              <a:gd name="connsiteY6" fmla="*/ 1796 h 10000"/>
              <a:gd name="connsiteX7" fmla="*/ 3582 w 10023"/>
              <a:gd name="connsiteY7" fmla="*/ 9665 h 10000"/>
              <a:gd name="connsiteX8" fmla="*/ 3644 w 10023"/>
              <a:gd name="connsiteY8" fmla="*/ 10000 h 10000"/>
              <a:gd name="connsiteX9" fmla="*/ 5556 w 10023"/>
              <a:gd name="connsiteY9" fmla="*/ 10000 h 10000"/>
              <a:gd name="connsiteX10" fmla="*/ 5617 w 10023"/>
              <a:gd name="connsiteY10" fmla="*/ 9665 h 10000"/>
              <a:gd name="connsiteX11" fmla="*/ 5617 w 10023"/>
              <a:gd name="connsiteY11" fmla="*/ 335 h 10000"/>
              <a:gd name="connsiteX12" fmla="*/ 5678 w 10023"/>
              <a:gd name="connsiteY12" fmla="*/ 0 h 10000"/>
              <a:gd name="connsiteX13" fmla="*/ 7050 w 10023"/>
              <a:gd name="connsiteY13" fmla="*/ 0 h 10000"/>
              <a:gd name="connsiteX14" fmla="*/ 7114 w 10023"/>
              <a:gd name="connsiteY14" fmla="*/ 335 h 10000"/>
              <a:gd name="connsiteX15" fmla="*/ 7114 w 10023"/>
              <a:gd name="connsiteY15" fmla="*/ 8575 h 10000"/>
              <a:gd name="connsiteX16" fmla="*/ 7176 w 10023"/>
              <a:gd name="connsiteY16" fmla="*/ 8910 h 10000"/>
              <a:gd name="connsiteX17" fmla="*/ 10023 w 10023"/>
              <a:gd name="connsiteY17" fmla="*/ 8575 h 10000"/>
              <a:gd name="connsiteX0" fmla="*/ 0 w 8783"/>
              <a:gd name="connsiteY0" fmla="*/ 7857 h 10000"/>
              <a:gd name="connsiteX1" fmla="*/ 629 w 8783"/>
              <a:gd name="connsiteY1" fmla="*/ 7868 h 10000"/>
              <a:gd name="connsiteX2" fmla="*/ 691 w 8783"/>
              <a:gd name="connsiteY2" fmla="*/ 7533 h 10000"/>
              <a:gd name="connsiteX3" fmla="*/ 691 w 8783"/>
              <a:gd name="connsiteY3" fmla="*/ 1796 h 10000"/>
              <a:gd name="connsiteX4" fmla="*/ 751 w 8783"/>
              <a:gd name="connsiteY4" fmla="*/ 1461 h 10000"/>
              <a:gd name="connsiteX5" fmla="*/ 3522 w 8783"/>
              <a:gd name="connsiteY5" fmla="*/ 1461 h 10000"/>
              <a:gd name="connsiteX6" fmla="*/ 3582 w 8783"/>
              <a:gd name="connsiteY6" fmla="*/ 1796 h 10000"/>
              <a:gd name="connsiteX7" fmla="*/ 3582 w 8783"/>
              <a:gd name="connsiteY7" fmla="*/ 9665 h 10000"/>
              <a:gd name="connsiteX8" fmla="*/ 3644 w 8783"/>
              <a:gd name="connsiteY8" fmla="*/ 10000 h 10000"/>
              <a:gd name="connsiteX9" fmla="*/ 5556 w 8783"/>
              <a:gd name="connsiteY9" fmla="*/ 10000 h 10000"/>
              <a:gd name="connsiteX10" fmla="*/ 5617 w 8783"/>
              <a:gd name="connsiteY10" fmla="*/ 9665 h 10000"/>
              <a:gd name="connsiteX11" fmla="*/ 5617 w 8783"/>
              <a:gd name="connsiteY11" fmla="*/ 335 h 10000"/>
              <a:gd name="connsiteX12" fmla="*/ 5678 w 8783"/>
              <a:gd name="connsiteY12" fmla="*/ 0 h 10000"/>
              <a:gd name="connsiteX13" fmla="*/ 7050 w 8783"/>
              <a:gd name="connsiteY13" fmla="*/ 0 h 10000"/>
              <a:gd name="connsiteX14" fmla="*/ 7114 w 8783"/>
              <a:gd name="connsiteY14" fmla="*/ 335 h 10000"/>
              <a:gd name="connsiteX15" fmla="*/ 7114 w 8783"/>
              <a:gd name="connsiteY15" fmla="*/ 8575 h 10000"/>
              <a:gd name="connsiteX16" fmla="*/ 7176 w 8783"/>
              <a:gd name="connsiteY16" fmla="*/ 8910 h 10000"/>
              <a:gd name="connsiteX17" fmla="*/ 8783 w 8783"/>
              <a:gd name="connsiteY17" fmla="*/ 8893 h 10000"/>
              <a:gd name="connsiteX0" fmla="*/ 0 w 9997"/>
              <a:gd name="connsiteY0" fmla="*/ 7857 h 10000"/>
              <a:gd name="connsiteX1" fmla="*/ 716 w 9997"/>
              <a:gd name="connsiteY1" fmla="*/ 7868 h 10000"/>
              <a:gd name="connsiteX2" fmla="*/ 787 w 9997"/>
              <a:gd name="connsiteY2" fmla="*/ 7533 h 10000"/>
              <a:gd name="connsiteX3" fmla="*/ 787 w 9997"/>
              <a:gd name="connsiteY3" fmla="*/ 1796 h 10000"/>
              <a:gd name="connsiteX4" fmla="*/ 855 w 9997"/>
              <a:gd name="connsiteY4" fmla="*/ 1461 h 10000"/>
              <a:gd name="connsiteX5" fmla="*/ 4010 w 9997"/>
              <a:gd name="connsiteY5" fmla="*/ 1461 h 10000"/>
              <a:gd name="connsiteX6" fmla="*/ 4078 w 9997"/>
              <a:gd name="connsiteY6" fmla="*/ 1796 h 10000"/>
              <a:gd name="connsiteX7" fmla="*/ 4078 w 9997"/>
              <a:gd name="connsiteY7" fmla="*/ 9665 h 10000"/>
              <a:gd name="connsiteX8" fmla="*/ 4149 w 9997"/>
              <a:gd name="connsiteY8" fmla="*/ 10000 h 10000"/>
              <a:gd name="connsiteX9" fmla="*/ 6326 w 9997"/>
              <a:gd name="connsiteY9" fmla="*/ 10000 h 10000"/>
              <a:gd name="connsiteX10" fmla="*/ 6395 w 9997"/>
              <a:gd name="connsiteY10" fmla="*/ 9665 h 10000"/>
              <a:gd name="connsiteX11" fmla="*/ 6395 w 9997"/>
              <a:gd name="connsiteY11" fmla="*/ 335 h 10000"/>
              <a:gd name="connsiteX12" fmla="*/ 6465 w 9997"/>
              <a:gd name="connsiteY12" fmla="*/ 0 h 10000"/>
              <a:gd name="connsiteX13" fmla="*/ 8027 w 9997"/>
              <a:gd name="connsiteY13" fmla="*/ 0 h 10000"/>
              <a:gd name="connsiteX14" fmla="*/ 8100 w 9997"/>
              <a:gd name="connsiteY14" fmla="*/ 335 h 10000"/>
              <a:gd name="connsiteX15" fmla="*/ 8100 w 9997"/>
              <a:gd name="connsiteY15" fmla="*/ 8575 h 10000"/>
              <a:gd name="connsiteX16" fmla="*/ 8170 w 9997"/>
              <a:gd name="connsiteY16" fmla="*/ 8910 h 10000"/>
              <a:gd name="connsiteX17" fmla="*/ 9997 w 9997"/>
              <a:gd name="connsiteY17" fmla="*/ 8927 h 10000"/>
              <a:gd name="connsiteX0" fmla="*/ 0 w 10000"/>
              <a:gd name="connsiteY0" fmla="*/ 7857 h 10000"/>
              <a:gd name="connsiteX1" fmla="*/ 716 w 10000"/>
              <a:gd name="connsiteY1" fmla="*/ 7868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16 w 10000"/>
              <a:gd name="connsiteY1" fmla="*/ 7868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16 w 10000"/>
              <a:gd name="connsiteY1" fmla="*/ 7868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26 w 10000"/>
              <a:gd name="connsiteY1" fmla="*/ 7868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26 w 10000"/>
              <a:gd name="connsiteY1" fmla="*/ 7855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26 w 10000"/>
              <a:gd name="connsiteY1" fmla="*/ 7855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26 w 10000"/>
              <a:gd name="connsiteY1" fmla="*/ 7855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26 w 10000"/>
              <a:gd name="connsiteY1" fmla="*/ 7855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35 h 10000"/>
              <a:gd name="connsiteX17" fmla="*/ 10000 w 10000"/>
              <a:gd name="connsiteY17" fmla="*/ 8927 h 10000"/>
              <a:gd name="connsiteX0" fmla="*/ 0 w 10008"/>
              <a:gd name="connsiteY0" fmla="*/ 7857 h 10000"/>
              <a:gd name="connsiteX1" fmla="*/ 726 w 10008"/>
              <a:gd name="connsiteY1" fmla="*/ 7855 h 10000"/>
              <a:gd name="connsiteX2" fmla="*/ 787 w 10008"/>
              <a:gd name="connsiteY2" fmla="*/ 7533 h 10000"/>
              <a:gd name="connsiteX3" fmla="*/ 787 w 10008"/>
              <a:gd name="connsiteY3" fmla="*/ 1796 h 10000"/>
              <a:gd name="connsiteX4" fmla="*/ 855 w 10008"/>
              <a:gd name="connsiteY4" fmla="*/ 1461 h 10000"/>
              <a:gd name="connsiteX5" fmla="*/ 4011 w 10008"/>
              <a:gd name="connsiteY5" fmla="*/ 1461 h 10000"/>
              <a:gd name="connsiteX6" fmla="*/ 4079 w 10008"/>
              <a:gd name="connsiteY6" fmla="*/ 1796 h 10000"/>
              <a:gd name="connsiteX7" fmla="*/ 4079 w 10008"/>
              <a:gd name="connsiteY7" fmla="*/ 9665 h 10000"/>
              <a:gd name="connsiteX8" fmla="*/ 4150 w 10008"/>
              <a:gd name="connsiteY8" fmla="*/ 10000 h 10000"/>
              <a:gd name="connsiteX9" fmla="*/ 6328 w 10008"/>
              <a:gd name="connsiteY9" fmla="*/ 10000 h 10000"/>
              <a:gd name="connsiteX10" fmla="*/ 6397 w 10008"/>
              <a:gd name="connsiteY10" fmla="*/ 9665 h 10000"/>
              <a:gd name="connsiteX11" fmla="*/ 6397 w 10008"/>
              <a:gd name="connsiteY11" fmla="*/ 335 h 10000"/>
              <a:gd name="connsiteX12" fmla="*/ 6467 w 10008"/>
              <a:gd name="connsiteY12" fmla="*/ 0 h 10000"/>
              <a:gd name="connsiteX13" fmla="*/ 8029 w 10008"/>
              <a:gd name="connsiteY13" fmla="*/ 0 h 10000"/>
              <a:gd name="connsiteX14" fmla="*/ 8102 w 10008"/>
              <a:gd name="connsiteY14" fmla="*/ 335 h 10000"/>
              <a:gd name="connsiteX15" fmla="*/ 8102 w 10008"/>
              <a:gd name="connsiteY15" fmla="*/ 8575 h 10000"/>
              <a:gd name="connsiteX16" fmla="*/ 8172 w 10008"/>
              <a:gd name="connsiteY16" fmla="*/ 8935 h 10000"/>
              <a:gd name="connsiteX17" fmla="*/ 10008 w 10008"/>
              <a:gd name="connsiteY17" fmla="*/ 8927 h 10000"/>
              <a:gd name="connsiteX0" fmla="*/ 0 w 10016"/>
              <a:gd name="connsiteY0" fmla="*/ 7857 h 10000"/>
              <a:gd name="connsiteX1" fmla="*/ 726 w 10016"/>
              <a:gd name="connsiteY1" fmla="*/ 7855 h 10000"/>
              <a:gd name="connsiteX2" fmla="*/ 787 w 10016"/>
              <a:gd name="connsiteY2" fmla="*/ 7533 h 10000"/>
              <a:gd name="connsiteX3" fmla="*/ 787 w 10016"/>
              <a:gd name="connsiteY3" fmla="*/ 1796 h 10000"/>
              <a:gd name="connsiteX4" fmla="*/ 855 w 10016"/>
              <a:gd name="connsiteY4" fmla="*/ 1461 h 10000"/>
              <a:gd name="connsiteX5" fmla="*/ 4011 w 10016"/>
              <a:gd name="connsiteY5" fmla="*/ 1461 h 10000"/>
              <a:gd name="connsiteX6" fmla="*/ 4079 w 10016"/>
              <a:gd name="connsiteY6" fmla="*/ 1796 h 10000"/>
              <a:gd name="connsiteX7" fmla="*/ 4079 w 10016"/>
              <a:gd name="connsiteY7" fmla="*/ 9665 h 10000"/>
              <a:gd name="connsiteX8" fmla="*/ 4150 w 10016"/>
              <a:gd name="connsiteY8" fmla="*/ 10000 h 10000"/>
              <a:gd name="connsiteX9" fmla="*/ 6328 w 10016"/>
              <a:gd name="connsiteY9" fmla="*/ 10000 h 10000"/>
              <a:gd name="connsiteX10" fmla="*/ 6397 w 10016"/>
              <a:gd name="connsiteY10" fmla="*/ 9665 h 10000"/>
              <a:gd name="connsiteX11" fmla="*/ 6397 w 10016"/>
              <a:gd name="connsiteY11" fmla="*/ 335 h 10000"/>
              <a:gd name="connsiteX12" fmla="*/ 6467 w 10016"/>
              <a:gd name="connsiteY12" fmla="*/ 0 h 10000"/>
              <a:gd name="connsiteX13" fmla="*/ 8029 w 10016"/>
              <a:gd name="connsiteY13" fmla="*/ 0 h 10000"/>
              <a:gd name="connsiteX14" fmla="*/ 8102 w 10016"/>
              <a:gd name="connsiteY14" fmla="*/ 335 h 10000"/>
              <a:gd name="connsiteX15" fmla="*/ 8102 w 10016"/>
              <a:gd name="connsiteY15" fmla="*/ 8575 h 10000"/>
              <a:gd name="connsiteX16" fmla="*/ 8172 w 10016"/>
              <a:gd name="connsiteY16" fmla="*/ 8935 h 10000"/>
              <a:gd name="connsiteX17" fmla="*/ 10016 w 10016"/>
              <a:gd name="connsiteY17" fmla="*/ 8940 h 10000"/>
              <a:gd name="connsiteX0" fmla="*/ 0 w 10016"/>
              <a:gd name="connsiteY0" fmla="*/ 7857 h 10000"/>
              <a:gd name="connsiteX1" fmla="*/ 726 w 10016"/>
              <a:gd name="connsiteY1" fmla="*/ 7855 h 10000"/>
              <a:gd name="connsiteX2" fmla="*/ 787 w 10016"/>
              <a:gd name="connsiteY2" fmla="*/ 7533 h 10000"/>
              <a:gd name="connsiteX3" fmla="*/ 787 w 10016"/>
              <a:gd name="connsiteY3" fmla="*/ 1796 h 10000"/>
              <a:gd name="connsiteX4" fmla="*/ 855 w 10016"/>
              <a:gd name="connsiteY4" fmla="*/ 1461 h 10000"/>
              <a:gd name="connsiteX5" fmla="*/ 4011 w 10016"/>
              <a:gd name="connsiteY5" fmla="*/ 1461 h 10000"/>
              <a:gd name="connsiteX6" fmla="*/ 4079 w 10016"/>
              <a:gd name="connsiteY6" fmla="*/ 1796 h 10000"/>
              <a:gd name="connsiteX7" fmla="*/ 4079 w 10016"/>
              <a:gd name="connsiteY7" fmla="*/ 9665 h 10000"/>
              <a:gd name="connsiteX8" fmla="*/ 4150 w 10016"/>
              <a:gd name="connsiteY8" fmla="*/ 10000 h 10000"/>
              <a:gd name="connsiteX9" fmla="*/ 6328 w 10016"/>
              <a:gd name="connsiteY9" fmla="*/ 10000 h 10000"/>
              <a:gd name="connsiteX10" fmla="*/ 6397 w 10016"/>
              <a:gd name="connsiteY10" fmla="*/ 9665 h 10000"/>
              <a:gd name="connsiteX11" fmla="*/ 6397 w 10016"/>
              <a:gd name="connsiteY11" fmla="*/ 335 h 10000"/>
              <a:gd name="connsiteX12" fmla="*/ 6467 w 10016"/>
              <a:gd name="connsiteY12" fmla="*/ 0 h 10000"/>
              <a:gd name="connsiteX13" fmla="*/ 8029 w 10016"/>
              <a:gd name="connsiteY13" fmla="*/ 0 h 10000"/>
              <a:gd name="connsiteX14" fmla="*/ 8102 w 10016"/>
              <a:gd name="connsiteY14" fmla="*/ 335 h 10000"/>
              <a:gd name="connsiteX15" fmla="*/ 8102 w 10016"/>
              <a:gd name="connsiteY15" fmla="*/ 8575 h 10000"/>
              <a:gd name="connsiteX16" fmla="*/ 8172 w 10016"/>
              <a:gd name="connsiteY16" fmla="*/ 8935 h 10000"/>
              <a:gd name="connsiteX17" fmla="*/ 10016 w 10016"/>
              <a:gd name="connsiteY17" fmla="*/ 8927 h 10000"/>
              <a:gd name="connsiteX0" fmla="*/ 0 w 10050"/>
              <a:gd name="connsiteY0" fmla="*/ 7857 h 10000"/>
              <a:gd name="connsiteX1" fmla="*/ 726 w 10050"/>
              <a:gd name="connsiteY1" fmla="*/ 7855 h 10000"/>
              <a:gd name="connsiteX2" fmla="*/ 787 w 10050"/>
              <a:gd name="connsiteY2" fmla="*/ 7533 h 10000"/>
              <a:gd name="connsiteX3" fmla="*/ 787 w 10050"/>
              <a:gd name="connsiteY3" fmla="*/ 1796 h 10000"/>
              <a:gd name="connsiteX4" fmla="*/ 855 w 10050"/>
              <a:gd name="connsiteY4" fmla="*/ 1461 h 10000"/>
              <a:gd name="connsiteX5" fmla="*/ 4011 w 10050"/>
              <a:gd name="connsiteY5" fmla="*/ 1461 h 10000"/>
              <a:gd name="connsiteX6" fmla="*/ 4079 w 10050"/>
              <a:gd name="connsiteY6" fmla="*/ 1796 h 10000"/>
              <a:gd name="connsiteX7" fmla="*/ 4079 w 10050"/>
              <a:gd name="connsiteY7" fmla="*/ 9665 h 10000"/>
              <a:gd name="connsiteX8" fmla="*/ 4150 w 10050"/>
              <a:gd name="connsiteY8" fmla="*/ 10000 h 10000"/>
              <a:gd name="connsiteX9" fmla="*/ 6328 w 10050"/>
              <a:gd name="connsiteY9" fmla="*/ 10000 h 10000"/>
              <a:gd name="connsiteX10" fmla="*/ 6397 w 10050"/>
              <a:gd name="connsiteY10" fmla="*/ 9665 h 10000"/>
              <a:gd name="connsiteX11" fmla="*/ 6397 w 10050"/>
              <a:gd name="connsiteY11" fmla="*/ 335 h 10000"/>
              <a:gd name="connsiteX12" fmla="*/ 6467 w 10050"/>
              <a:gd name="connsiteY12" fmla="*/ 0 h 10000"/>
              <a:gd name="connsiteX13" fmla="*/ 8029 w 10050"/>
              <a:gd name="connsiteY13" fmla="*/ 0 h 10000"/>
              <a:gd name="connsiteX14" fmla="*/ 8102 w 10050"/>
              <a:gd name="connsiteY14" fmla="*/ 335 h 10000"/>
              <a:gd name="connsiteX15" fmla="*/ 8102 w 10050"/>
              <a:gd name="connsiteY15" fmla="*/ 8575 h 10000"/>
              <a:gd name="connsiteX16" fmla="*/ 8172 w 10050"/>
              <a:gd name="connsiteY16" fmla="*/ 8935 h 10000"/>
              <a:gd name="connsiteX17" fmla="*/ 10050 w 10050"/>
              <a:gd name="connsiteY17" fmla="*/ 8927 h 10000"/>
              <a:gd name="connsiteX0" fmla="*/ 0 w 10037"/>
              <a:gd name="connsiteY0" fmla="*/ 7857 h 10000"/>
              <a:gd name="connsiteX1" fmla="*/ 726 w 10037"/>
              <a:gd name="connsiteY1" fmla="*/ 7855 h 10000"/>
              <a:gd name="connsiteX2" fmla="*/ 787 w 10037"/>
              <a:gd name="connsiteY2" fmla="*/ 7533 h 10000"/>
              <a:gd name="connsiteX3" fmla="*/ 787 w 10037"/>
              <a:gd name="connsiteY3" fmla="*/ 1796 h 10000"/>
              <a:gd name="connsiteX4" fmla="*/ 855 w 10037"/>
              <a:gd name="connsiteY4" fmla="*/ 1461 h 10000"/>
              <a:gd name="connsiteX5" fmla="*/ 4011 w 10037"/>
              <a:gd name="connsiteY5" fmla="*/ 1461 h 10000"/>
              <a:gd name="connsiteX6" fmla="*/ 4079 w 10037"/>
              <a:gd name="connsiteY6" fmla="*/ 1796 h 10000"/>
              <a:gd name="connsiteX7" fmla="*/ 4079 w 10037"/>
              <a:gd name="connsiteY7" fmla="*/ 9665 h 10000"/>
              <a:gd name="connsiteX8" fmla="*/ 4150 w 10037"/>
              <a:gd name="connsiteY8" fmla="*/ 10000 h 10000"/>
              <a:gd name="connsiteX9" fmla="*/ 6328 w 10037"/>
              <a:gd name="connsiteY9" fmla="*/ 10000 h 10000"/>
              <a:gd name="connsiteX10" fmla="*/ 6397 w 10037"/>
              <a:gd name="connsiteY10" fmla="*/ 9665 h 10000"/>
              <a:gd name="connsiteX11" fmla="*/ 6397 w 10037"/>
              <a:gd name="connsiteY11" fmla="*/ 335 h 10000"/>
              <a:gd name="connsiteX12" fmla="*/ 6467 w 10037"/>
              <a:gd name="connsiteY12" fmla="*/ 0 h 10000"/>
              <a:gd name="connsiteX13" fmla="*/ 8029 w 10037"/>
              <a:gd name="connsiteY13" fmla="*/ 0 h 10000"/>
              <a:gd name="connsiteX14" fmla="*/ 8102 w 10037"/>
              <a:gd name="connsiteY14" fmla="*/ 335 h 10000"/>
              <a:gd name="connsiteX15" fmla="*/ 8102 w 10037"/>
              <a:gd name="connsiteY15" fmla="*/ 8575 h 10000"/>
              <a:gd name="connsiteX16" fmla="*/ 8172 w 10037"/>
              <a:gd name="connsiteY16" fmla="*/ 8935 h 10000"/>
              <a:gd name="connsiteX17" fmla="*/ 10037 w 10037"/>
              <a:gd name="connsiteY17" fmla="*/ 8940 h 10000"/>
              <a:gd name="connsiteX0" fmla="*/ 0 w 10037"/>
              <a:gd name="connsiteY0" fmla="*/ 7857 h 10000"/>
              <a:gd name="connsiteX1" fmla="*/ 726 w 10037"/>
              <a:gd name="connsiteY1" fmla="*/ 7855 h 10000"/>
              <a:gd name="connsiteX2" fmla="*/ 787 w 10037"/>
              <a:gd name="connsiteY2" fmla="*/ 7533 h 10000"/>
              <a:gd name="connsiteX3" fmla="*/ 787 w 10037"/>
              <a:gd name="connsiteY3" fmla="*/ 1796 h 10000"/>
              <a:gd name="connsiteX4" fmla="*/ 855 w 10037"/>
              <a:gd name="connsiteY4" fmla="*/ 1461 h 10000"/>
              <a:gd name="connsiteX5" fmla="*/ 4011 w 10037"/>
              <a:gd name="connsiteY5" fmla="*/ 1461 h 10000"/>
              <a:gd name="connsiteX6" fmla="*/ 4079 w 10037"/>
              <a:gd name="connsiteY6" fmla="*/ 1796 h 10000"/>
              <a:gd name="connsiteX7" fmla="*/ 4079 w 10037"/>
              <a:gd name="connsiteY7" fmla="*/ 9665 h 10000"/>
              <a:gd name="connsiteX8" fmla="*/ 4150 w 10037"/>
              <a:gd name="connsiteY8" fmla="*/ 10000 h 10000"/>
              <a:gd name="connsiteX9" fmla="*/ 6328 w 10037"/>
              <a:gd name="connsiteY9" fmla="*/ 10000 h 10000"/>
              <a:gd name="connsiteX10" fmla="*/ 6397 w 10037"/>
              <a:gd name="connsiteY10" fmla="*/ 9665 h 10000"/>
              <a:gd name="connsiteX11" fmla="*/ 6397 w 10037"/>
              <a:gd name="connsiteY11" fmla="*/ 335 h 10000"/>
              <a:gd name="connsiteX12" fmla="*/ 6467 w 10037"/>
              <a:gd name="connsiteY12" fmla="*/ 0 h 10000"/>
              <a:gd name="connsiteX13" fmla="*/ 8029 w 10037"/>
              <a:gd name="connsiteY13" fmla="*/ 0 h 10000"/>
              <a:gd name="connsiteX14" fmla="*/ 8102 w 10037"/>
              <a:gd name="connsiteY14" fmla="*/ 335 h 10000"/>
              <a:gd name="connsiteX15" fmla="*/ 8102 w 10037"/>
              <a:gd name="connsiteY15" fmla="*/ 8575 h 10000"/>
              <a:gd name="connsiteX16" fmla="*/ 8172 w 10037"/>
              <a:gd name="connsiteY16" fmla="*/ 8935 h 10000"/>
              <a:gd name="connsiteX17" fmla="*/ 10037 w 10037"/>
              <a:gd name="connsiteY17" fmla="*/ 8915 h 10000"/>
              <a:gd name="connsiteX0" fmla="*/ 0 w 10034"/>
              <a:gd name="connsiteY0" fmla="*/ 7857 h 10000"/>
              <a:gd name="connsiteX1" fmla="*/ 726 w 10034"/>
              <a:gd name="connsiteY1" fmla="*/ 7855 h 10000"/>
              <a:gd name="connsiteX2" fmla="*/ 787 w 10034"/>
              <a:gd name="connsiteY2" fmla="*/ 7533 h 10000"/>
              <a:gd name="connsiteX3" fmla="*/ 787 w 10034"/>
              <a:gd name="connsiteY3" fmla="*/ 1796 h 10000"/>
              <a:gd name="connsiteX4" fmla="*/ 855 w 10034"/>
              <a:gd name="connsiteY4" fmla="*/ 1461 h 10000"/>
              <a:gd name="connsiteX5" fmla="*/ 4011 w 10034"/>
              <a:gd name="connsiteY5" fmla="*/ 1461 h 10000"/>
              <a:gd name="connsiteX6" fmla="*/ 4079 w 10034"/>
              <a:gd name="connsiteY6" fmla="*/ 1796 h 10000"/>
              <a:gd name="connsiteX7" fmla="*/ 4079 w 10034"/>
              <a:gd name="connsiteY7" fmla="*/ 9665 h 10000"/>
              <a:gd name="connsiteX8" fmla="*/ 4150 w 10034"/>
              <a:gd name="connsiteY8" fmla="*/ 10000 h 10000"/>
              <a:gd name="connsiteX9" fmla="*/ 6328 w 10034"/>
              <a:gd name="connsiteY9" fmla="*/ 10000 h 10000"/>
              <a:gd name="connsiteX10" fmla="*/ 6397 w 10034"/>
              <a:gd name="connsiteY10" fmla="*/ 9665 h 10000"/>
              <a:gd name="connsiteX11" fmla="*/ 6397 w 10034"/>
              <a:gd name="connsiteY11" fmla="*/ 335 h 10000"/>
              <a:gd name="connsiteX12" fmla="*/ 6467 w 10034"/>
              <a:gd name="connsiteY12" fmla="*/ 0 h 10000"/>
              <a:gd name="connsiteX13" fmla="*/ 8029 w 10034"/>
              <a:gd name="connsiteY13" fmla="*/ 0 h 10000"/>
              <a:gd name="connsiteX14" fmla="*/ 8102 w 10034"/>
              <a:gd name="connsiteY14" fmla="*/ 335 h 10000"/>
              <a:gd name="connsiteX15" fmla="*/ 8102 w 10034"/>
              <a:gd name="connsiteY15" fmla="*/ 8575 h 10000"/>
              <a:gd name="connsiteX16" fmla="*/ 8172 w 10034"/>
              <a:gd name="connsiteY16" fmla="*/ 8935 h 10000"/>
              <a:gd name="connsiteX17" fmla="*/ 10034 w 10034"/>
              <a:gd name="connsiteY17" fmla="*/ 8915 h 10000"/>
              <a:gd name="connsiteX0" fmla="*/ 0 w 10034"/>
              <a:gd name="connsiteY0" fmla="*/ 7857 h 10000"/>
              <a:gd name="connsiteX1" fmla="*/ 726 w 10034"/>
              <a:gd name="connsiteY1" fmla="*/ 7855 h 10000"/>
              <a:gd name="connsiteX2" fmla="*/ 787 w 10034"/>
              <a:gd name="connsiteY2" fmla="*/ 7533 h 10000"/>
              <a:gd name="connsiteX3" fmla="*/ 787 w 10034"/>
              <a:gd name="connsiteY3" fmla="*/ 1796 h 10000"/>
              <a:gd name="connsiteX4" fmla="*/ 855 w 10034"/>
              <a:gd name="connsiteY4" fmla="*/ 1461 h 10000"/>
              <a:gd name="connsiteX5" fmla="*/ 4011 w 10034"/>
              <a:gd name="connsiteY5" fmla="*/ 1461 h 10000"/>
              <a:gd name="connsiteX6" fmla="*/ 4079 w 10034"/>
              <a:gd name="connsiteY6" fmla="*/ 1796 h 10000"/>
              <a:gd name="connsiteX7" fmla="*/ 4079 w 10034"/>
              <a:gd name="connsiteY7" fmla="*/ 9665 h 10000"/>
              <a:gd name="connsiteX8" fmla="*/ 4150 w 10034"/>
              <a:gd name="connsiteY8" fmla="*/ 10000 h 10000"/>
              <a:gd name="connsiteX9" fmla="*/ 6328 w 10034"/>
              <a:gd name="connsiteY9" fmla="*/ 10000 h 10000"/>
              <a:gd name="connsiteX10" fmla="*/ 6397 w 10034"/>
              <a:gd name="connsiteY10" fmla="*/ 9665 h 10000"/>
              <a:gd name="connsiteX11" fmla="*/ 6397 w 10034"/>
              <a:gd name="connsiteY11" fmla="*/ 335 h 10000"/>
              <a:gd name="connsiteX12" fmla="*/ 6467 w 10034"/>
              <a:gd name="connsiteY12" fmla="*/ 0 h 10000"/>
              <a:gd name="connsiteX13" fmla="*/ 8029 w 10034"/>
              <a:gd name="connsiteY13" fmla="*/ 0 h 10000"/>
              <a:gd name="connsiteX14" fmla="*/ 8102 w 10034"/>
              <a:gd name="connsiteY14" fmla="*/ 335 h 10000"/>
              <a:gd name="connsiteX15" fmla="*/ 8102 w 10034"/>
              <a:gd name="connsiteY15" fmla="*/ 8575 h 10000"/>
              <a:gd name="connsiteX16" fmla="*/ 8172 w 10034"/>
              <a:gd name="connsiteY16" fmla="*/ 8935 h 10000"/>
              <a:gd name="connsiteX17" fmla="*/ 10034 w 10034"/>
              <a:gd name="connsiteY17" fmla="*/ 8915 h 10000"/>
              <a:gd name="connsiteX0" fmla="*/ 0 w 10034"/>
              <a:gd name="connsiteY0" fmla="*/ 7857 h 10000"/>
              <a:gd name="connsiteX1" fmla="*/ 726 w 10034"/>
              <a:gd name="connsiteY1" fmla="*/ 7855 h 10000"/>
              <a:gd name="connsiteX2" fmla="*/ 787 w 10034"/>
              <a:gd name="connsiteY2" fmla="*/ 7533 h 10000"/>
              <a:gd name="connsiteX3" fmla="*/ 787 w 10034"/>
              <a:gd name="connsiteY3" fmla="*/ 1796 h 10000"/>
              <a:gd name="connsiteX4" fmla="*/ 855 w 10034"/>
              <a:gd name="connsiteY4" fmla="*/ 1461 h 10000"/>
              <a:gd name="connsiteX5" fmla="*/ 4011 w 10034"/>
              <a:gd name="connsiteY5" fmla="*/ 1461 h 10000"/>
              <a:gd name="connsiteX6" fmla="*/ 4079 w 10034"/>
              <a:gd name="connsiteY6" fmla="*/ 1796 h 10000"/>
              <a:gd name="connsiteX7" fmla="*/ 4079 w 10034"/>
              <a:gd name="connsiteY7" fmla="*/ 9665 h 10000"/>
              <a:gd name="connsiteX8" fmla="*/ 4150 w 10034"/>
              <a:gd name="connsiteY8" fmla="*/ 10000 h 10000"/>
              <a:gd name="connsiteX9" fmla="*/ 6328 w 10034"/>
              <a:gd name="connsiteY9" fmla="*/ 10000 h 10000"/>
              <a:gd name="connsiteX10" fmla="*/ 6397 w 10034"/>
              <a:gd name="connsiteY10" fmla="*/ 9665 h 10000"/>
              <a:gd name="connsiteX11" fmla="*/ 6397 w 10034"/>
              <a:gd name="connsiteY11" fmla="*/ 335 h 10000"/>
              <a:gd name="connsiteX12" fmla="*/ 6467 w 10034"/>
              <a:gd name="connsiteY12" fmla="*/ 0 h 10000"/>
              <a:gd name="connsiteX13" fmla="*/ 8029 w 10034"/>
              <a:gd name="connsiteY13" fmla="*/ 0 h 10000"/>
              <a:gd name="connsiteX14" fmla="*/ 8102 w 10034"/>
              <a:gd name="connsiteY14" fmla="*/ 335 h 10000"/>
              <a:gd name="connsiteX15" fmla="*/ 8102 w 10034"/>
              <a:gd name="connsiteY15" fmla="*/ 8575 h 10000"/>
              <a:gd name="connsiteX16" fmla="*/ 8172 w 10034"/>
              <a:gd name="connsiteY16" fmla="*/ 8935 h 10000"/>
              <a:gd name="connsiteX17" fmla="*/ 10034 w 10034"/>
              <a:gd name="connsiteY17" fmla="*/ 8915 h 10000"/>
              <a:gd name="connsiteX0" fmla="*/ 0 w 10034"/>
              <a:gd name="connsiteY0" fmla="*/ 7857 h 10000"/>
              <a:gd name="connsiteX1" fmla="*/ 726 w 10034"/>
              <a:gd name="connsiteY1" fmla="*/ 7855 h 10000"/>
              <a:gd name="connsiteX2" fmla="*/ 787 w 10034"/>
              <a:gd name="connsiteY2" fmla="*/ 7533 h 10000"/>
              <a:gd name="connsiteX3" fmla="*/ 787 w 10034"/>
              <a:gd name="connsiteY3" fmla="*/ 1796 h 10000"/>
              <a:gd name="connsiteX4" fmla="*/ 855 w 10034"/>
              <a:gd name="connsiteY4" fmla="*/ 1461 h 10000"/>
              <a:gd name="connsiteX5" fmla="*/ 4011 w 10034"/>
              <a:gd name="connsiteY5" fmla="*/ 1461 h 10000"/>
              <a:gd name="connsiteX6" fmla="*/ 4079 w 10034"/>
              <a:gd name="connsiteY6" fmla="*/ 1796 h 10000"/>
              <a:gd name="connsiteX7" fmla="*/ 4079 w 10034"/>
              <a:gd name="connsiteY7" fmla="*/ 9665 h 10000"/>
              <a:gd name="connsiteX8" fmla="*/ 4150 w 10034"/>
              <a:gd name="connsiteY8" fmla="*/ 10000 h 10000"/>
              <a:gd name="connsiteX9" fmla="*/ 6328 w 10034"/>
              <a:gd name="connsiteY9" fmla="*/ 10000 h 10000"/>
              <a:gd name="connsiteX10" fmla="*/ 6397 w 10034"/>
              <a:gd name="connsiteY10" fmla="*/ 9665 h 10000"/>
              <a:gd name="connsiteX11" fmla="*/ 6397 w 10034"/>
              <a:gd name="connsiteY11" fmla="*/ 335 h 10000"/>
              <a:gd name="connsiteX12" fmla="*/ 6467 w 10034"/>
              <a:gd name="connsiteY12" fmla="*/ 0 h 10000"/>
              <a:gd name="connsiteX13" fmla="*/ 8029 w 10034"/>
              <a:gd name="connsiteY13" fmla="*/ 0 h 10000"/>
              <a:gd name="connsiteX14" fmla="*/ 8102 w 10034"/>
              <a:gd name="connsiteY14" fmla="*/ 335 h 10000"/>
              <a:gd name="connsiteX15" fmla="*/ 8102 w 10034"/>
              <a:gd name="connsiteY15" fmla="*/ 8575 h 10000"/>
              <a:gd name="connsiteX16" fmla="*/ 8172 w 10034"/>
              <a:gd name="connsiteY16" fmla="*/ 8935 h 10000"/>
              <a:gd name="connsiteX17" fmla="*/ 10034 w 10034"/>
              <a:gd name="connsiteY17" fmla="*/ 8915 h 10000"/>
              <a:gd name="connsiteX0" fmla="*/ 0 w 10034"/>
              <a:gd name="connsiteY0" fmla="*/ 7857 h 10000"/>
              <a:gd name="connsiteX1" fmla="*/ 726 w 10034"/>
              <a:gd name="connsiteY1" fmla="*/ 7855 h 10000"/>
              <a:gd name="connsiteX2" fmla="*/ 787 w 10034"/>
              <a:gd name="connsiteY2" fmla="*/ 7533 h 10000"/>
              <a:gd name="connsiteX3" fmla="*/ 787 w 10034"/>
              <a:gd name="connsiteY3" fmla="*/ 1796 h 10000"/>
              <a:gd name="connsiteX4" fmla="*/ 855 w 10034"/>
              <a:gd name="connsiteY4" fmla="*/ 1461 h 10000"/>
              <a:gd name="connsiteX5" fmla="*/ 4011 w 10034"/>
              <a:gd name="connsiteY5" fmla="*/ 1461 h 10000"/>
              <a:gd name="connsiteX6" fmla="*/ 4079 w 10034"/>
              <a:gd name="connsiteY6" fmla="*/ 1796 h 10000"/>
              <a:gd name="connsiteX7" fmla="*/ 4079 w 10034"/>
              <a:gd name="connsiteY7" fmla="*/ 9665 h 10000"/>
              <a:gd name="connsiteX8" fmla="*/ 4150 w 10034"/>
              <a:gd name="connsiteY8" fmla="*/ 10000 h 10000"/>
              <a:gd name="connsiteX9" fmla="*/ 6328 w 10034"/>
              <a:gd name="connsiteY9" fmla="*/ 10000 h 10000"/>
              <a:gd name="connsiteX10" fmla="*/ 6397 w 10034"/>
              <a:gd name="connsiteY10" fmla="*/ 9665 h 10000"/>
              <a:gd name="connsiteX11" fmla="*/ 6397 w 10034"/>
              <a:gd name="connsiteY11" fmla="*/ 335 h 10000"/>
              <a:gd name="connsiteX12" fmla="*/ 6467 w 10034"/>
              <a:gd name="connsiteY12" fmla="*/ 0 h 10000"/>
              <a:gd name="connsiteX13" fmla="*/ 8029 w 10034"/>
              <a:gd name="connsiteY13" fmla="*/ 0 h 10000"/>
              <a:gd name="connsiteX14" fmla="*/ 8102 w 10034"/>
              <a:gd name="connsiteY14" fmla="*/ 335 h 10000"/>
              <a:gd name="connsiteX15" fmla="*/ 8102 w 10034"/>
              <a:gd name="connsiteY15" fmla="*/ 8575 h 10000"/>
              <a:gd name="connsiteX16" fmla="*/ 8172 w 10034"/>
              <a:gd name="connsiteY16" fmla="*/ 8935 h 10000"/>
              <a:gd name="connsiteX17" fmla="*/ 10034 w 10034"/>
              <a:gd name="connsiteY17" fmla="*/ 8915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41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41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41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41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28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28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66 h 10000"/>
              <a:gd name="connsiteX0" fmla="*/ 0 w 9995"/>
              <a:gd name="connsiteY0" fmla="*/ 7857 h 10000"/>
              <a:gd name="connsiteX1" fmla="*/ 726 w 9995"/>
              <a:gd name="connsiteY1" fmla="*/ 7855 h 10000"/>
              <a:gd name="connsiteX2" fmla="*/ 787 w 9995"/>
              <a:gd name="connsiteY2" fmla="*/ 7533 h 10000"/>
              <a:gd name="connsiteX3" fmla="*/ 787 w 9995"/>
              <a:gd name="connsiteY3" fmla="*/ 1796 h 10000"/>
              <a:gd name="connsiteX4" fmla="*/ 855 w 9995"/>
              <a:gd name="connsiteY4" fmla="*/ 1461 h 10000"/>
              <a:gd name="connsiteX5" fmla="*/ 4011 w 9995"/>
              <a:gd name="connsiteY5" fmla="*/ 1461 h 10000"/>
              <a:gd name="connsiteX6" fmla="*/ 4079 w 9995"/>
              <a:gd name="connsiteY6" fmla="*/ 1796 h 10000"/>
              <a:gd name="connsiteX7" fmla="*/ 4079 w 9995"/>
              <a:gd name="connsiteY7" fmla="*/ 9665 h 10000"/>
              <a:gd name="connsiteX8" fmla="*/ 4150 w 9995"/>
              <a:gd name="connsiteY8" fmla="*/ 10000 h 10000"/>
              <a:gd name="connsiteX9" fmla="*/ 6328 w 9995"/>
              <a:gd name="connsiteY9" fmla="*/ 10000 h 10000"/>
              <a:gd name="connsiteX10" fmla="*/ 6397 w 9995"/>
              <a:gd name="connsiteY10" fmla="*/ 9665 h 10000"/>
              <a:gd name="connsiteX11" fmla="*/ 6397 w 9995"/>
              <a:gd name="connsiteY11" fmla="*/ 335 h 10000"/>
              <a:gd name="connsiteX12" fmla="*/ 6467 w 9995"/>
              <a:gd name="connsiteY12" fmla="*/ 0 h 10000"/>
              <a:gd name="connsiteX13" fmla="*/ 8029 w 9995"/>
              <a:gd name="connsiteY13" fmla="*/ 0 h 10000"/>
              <a:gd name="connsiteX14" fmla="*/ 8102 w 9995"/>
              <a:gd name="connsiteY14" fmla="*/ 335 h 10000"/>
              <a:gd name="connsiteX15" fmla="*/ 8102 w 9995"/>
              <a:gd name="connsiteY15" fmla="*/ 8575 h 10000"/>
              <a:gd name="connsiteX16" fmla="*/ 8172 w 9995"/>
              <a:gd name="connsiteY16" fmla="*/ 8935 h 10000"/>
              <a:gd name="connsiteX17" fmla="*/ 9995 w 9995"/>
              <a:gd name="connsiteY17" fmla="*/ 8916 h 10000"/>
              <a:gd name="connsiteX0" fmla="*/ 0 w 10005"/>
              <a:gd name="connsiteY0" fmla="*/ 7857 h 10000"/>
              <a:gd name="connsiteX1" fmla="*/ 726 w 10005"/>
              <a:gd name="connsiteY1" fmla="*/ 7855 h 10000"/>
              <a:gd name="connsiteX2" fmla="*/ 787 w 10005"/>
              <a:gd name="connsiteY2" fmla="*/ 7533 h 10000"/>
              <a:gd name="connsiteX3" fmla="*/ 787 w 10005"/>
              <a:gd name="connsiteY3" fmla="*/ 1796 h 10000"/>
              <a:gd name="connsiteX4" fmla="*/ 855 w 10005"/>
              <a:gd name="connsiteY4" fmla="*/ 1461 h 10000"/>
              <a:gd name="connsiteX5" fmla="*/ 4013 w 10005"/>
              <a:gd name="connsiteY5" fmla="*/ 1461 h 10000"/>
              <a:gd name="connsiteX6" fmla="*/ 4081 w 10005"/>
              <a:gd name="connsiteY6" fmla="*/ 1796 h 10000"/>
              <a:gd name="connsiteX7" fmla="*/ 4081 w 10005"/>
              <a:gd name="connsiteY7" fmla="*/ 9665 h 10000"/>
              <a:gd name="connsiteX8" fmla="*/ 4152 w 10005"/>
              <a:gd name="connsiteY8" fmla="*/ 10000 h 10000"/>
              <a:gd name="connsiteX9" fmla="*/ 6331 w 10005"/>
              <a:gd name="connsiteY9" fmla="*/ 10000 h 10000"/>
              <a:gd name="connsiteX10" fmla="*/ 6400 w 10005"/>
              <a:gd name="connsiteY10" fmla="*/ 9665 h 10000"/>
              <a:gd name="connsiteX11" fmla="*/ 6400 w 10005"/>
              <a:gd name="connsiteY11" fmla="*/ 335 h 10000"/>
              <a:gd name="connsiteX12" fmla="*/ 6470 w 10005"/>
              <a:gd name="connsiteY12" fmla="*/ 0 h 10000"/>
              <a:gd name="connsiteX13" fmla="*/ 8033 w 10005"/>
              <a:gd name="connsiteY13" fmla="*/ 0 h 10000"/>
              <a:gd name="connsiteX14" fmla="*/ 8106 w 10005"/>
              <a:gd name="connsiteY14" fmla="*/ 335 h 10000"/>
              <a:gd name="connsiteX15" fmla="*/ 8106 w 10005"/>
              <a:gd name="connsiteY15" fmla="*/ 8575 h 10000"/>
              <a:gd name="connsiteX16" fmla="*/ 8176 w 10005"/>
              <a:gd name="connsiteY16" fmla="*/ 8935 h 10000"/>
              <a:gd name="connsiteX17" fmla="*/ 10005 w 10005"/>
              <a:gd name="connsiteY17" fmla="*/ 8941 h 10000"/>
              <a:gd name="connsiteX0" fmla="*/ 0 w 10005"/>
              <a:gd name="connsiteY0" fmla="*/ 7857 h 10000"/>
              <a:gd name="connsiteX1" fmla="*/ 726 w 10005"/>
              <a:gd name="connsiteY1" fmla="*/ 7855 h 10000"/>
              <a:gd name="connsiteX2" fmla="*/ 787 w 10005"/>
              <a:gd name="connsiteY2" fmla="*/ 7533 h 10000"/>
              <a:gd name="connsiteX3" fmla="*/ 787 w 10005"/>
              <a:gd name="connsiteY3" fmla="*/ 1796 h 10000"/>
              <a:gd name="connsiteX4" fmla="*/ 855 w 10005"/>
              <a:gd name="connsiteY4" fmla="*/ 1461 h 10000"/>
              <a:gd name="connsiteX5" fmla="*/ 4013 w 10005"/>
              <a:gd name="connsiteY5" fmla="*/ 1461 h 10000"/>
              <a:gd name="connsiteX6" fmla="*/ 4081 w 10005"/>
              <a:gd name="connsiteY6" fmla="*/ 1796 h 10000"/>
              <a:gd name="connsiteX7" fmla="*/ 4081 w 10005"/>
              <a:gd name="connsiteY7" fmla="*/ 9665 h 10000"/>
              <a:gd name="connsiteX8" fmla="*/ 4152 w 10005"/>
              <a:gd name="connsiteY8" fmla="*/ 10000 h 10000"/>
              <a:gd name="connsiteX9" fmla="*/ 6331 w 10005"/>
              <a:gd name="connsiteY9" fmla="*/ 10000 h 10000"/>
              <a:gd name="connsiteX10" fmla="*/ 6400 w 10005"/>
              <a:gd name="connsiteY10" fmla="*/ 9665 h 10000"/>
              <a:gd name="connsiteX11" fmla="*/ 6400 w 10005"/>
              <a:gd name="connsiteY11" fmla="*/ 335 h 10000"/>
              <a:gd name="connsiteX12" fmla="*/ 6470 w 10005"/>
              <a:gd name="connsiteY12" fmla="*/ 0 h 10000"/>
              <a:gd name="connsiteX13" fmla="*/ 8033 w 10005"/>
              <a:gd name="connsiteY13" fmla="*/ 0 h 10000"/>
              <a:gd name="connsiteX14" fmla="*/ 8106 w 10005"/>
              <a:gd name="connsiteY14" fmla="*/ 335 h 10000"/>
              <a:gd name="connsiteX15" fmla="*/ 8106 w 10005"/>
              <a:gd name="connsiteY15" fmla="*/ 8575 h 10000"/>
              <a:gd name="connsiteX16" fmla="*/ 8176 w 10005"/>
              <a:gd name="connsiteY16" fmla="*/ 8935 h 10000"/>
              <a:gd name="connsiteX17" fmla="*/ 10005 w 10005"/>
              <a:gd name="connsiteY17" fmla="*/ 8941 h 10000"/>
              <a:gd name="connsiteX0" fmla="*/ 0 w 10005"/>
              <a:gd name="connsiteY0" fmla="*/ 7857 h 10000"/>
              <a:gd name="connsiteX1" fmla="*/ 726 w 10005"/>
              <a:gd name="connsiteY1" fmla="*/ 7855 h 10000"/>
              <a:gd name="connsiteX2" fmla="*/ 787 w 10005"/>
              <a:gd name="connsiteY2" fmla="*/ 7533 h 10000"/>
              <a:gd name="connsiteX3" fmla="*/ 787 w 10005"/>
              <a:gd name="connsiteY3" fmla="*/ 1796 h 10000"/>
              <a:gd name="connsiteX4" fmla="*/ 855 w 10005"/>
              <a:gd name="connsiteY4" fmla="*/ 1461 h 10000"/>
              <a:gd name="connsiteX5" fmla="*/ 4013 w 10005"/>
              <a:gd name="connsiteY5" fmla="*/ 1461 h 10000"/>
              <a:gd name="connsiteX6" fmla="*/ 4081 w 10005"/>
              <a:gd name="connsiteY6" fmla="*/ 1796 h 10000"/>
              <a:gd name="connsiteX7" fmla="*/ 4081 w 10005"/>
              <a:gd name="connsiteY7" fmla="*/ 9665 h 10000"/>
              <a:gd name="connsiteX8" fmla="*/ 4152 w 10005"/>
              <a:gd name="connsiteY8" fmla="*/ 10000 h 10000"/>
              <a:gd name="connsiteX9" fmla="*/ 6331 w 10005"/>
              <a:gd name="connsiteY9" fmla="*/ 10000 h 10000"/>
              <a:gd name="connsiteX10" fmla="*/ 6400 w 10005"/>
              <a:gd name="connsiteY10" fmla="*/ 9665 h 10000"/>
              <a:gd name="connsiteX11" fmla="*/ 6400 w 10005"/>
              <a:gd name="connsiteY11" fmla="*/ 335 h 10000"/>
              <a:gd name="connsiteX12" fmla="*/ 6470 w 10005"/>
              <a:gd name="connsiteY12" fmla="*/ 0 h 10000"/>
              <a:gd name="connsiteX13" fmla="*/ 8033 w 10005"/>
              <a:gd name="connsiteY13" fmla="*/ 0 h 10000"/>
              <a:gd name="connsiteX14" fmla="*/ 8106 w 10005"/>
              <a:gd name="connsiteY14" fmla="*/ 335 h 10000"/>
              <a:gd name="connsiteX15" fmla="*/ 8106 w 10005"/>
              <a:gd name="connsiteY15" fmla="*/ 8575 h 10000"/>
              <a:gd name="connsiteX16" fmla="*/ 8176 w 10005"/>
              <a:gd name="connsiteY16" fmla="*/ 8935 h 10000"/>
              <a:gd name="connsiteX17" fmla="*/ 10005 w 10005"/>
              <a:gd name="connsiteY17" fmla="*/ 8941 h 10000"/>
              <a:gd name="connsiteX0" fmla="*/ 0 w 10015"/>
              <a:gd name="connsiteY0" fmla="*/ 7857 h 10000"/>
              <a:gd name="connsiteX1" fmla="*/ 726 w 10015"/>
              <a:gd name="connsiteY1" fmla="*/ 7855 h 10000"/>
              <a:gd name="connsiteX2" fmla="*/ 787 w 10015"/>
              <a:gd name="connsiteY2" fmla="*/ 7533 h 10000"/>
              <a:gd name="connsiteX3" fmla="*/ 787 w 10015"/>
              <a:gd name="connsiteY3" fmla="*/ 1796 h 10000"/>
              <a:gd name="connsiteX4" fmla="*/ 855 w 10015"/>
              <a:gd name="connsiteY4" fmla="*/ 1461 h 10000"/>
              <a:gd name="connsiteX5" fmla="*/ 4013 w 10015"/>
              <a:gd name="connsiteY5" fmla="*/ 1461 h 10000"/>
              <a:gd name="connsiteX6" fmla="*/ 4081 w 10015"/>
              <a:gd name="connsiteY6" fmla="*/ 1796 h 10000"/>
              <a:gd name="connsiteX7" fmla="*/ 4081 w 10015"/>
              <a:gd name="connsiteY7" fmla="*/ 9665 h 10000"/>
              <a:gd name="connsiteX8" fmla="*/ 4152 w 10015"/>
              <a:gd name="connsiteY8" fmla="*/ 10000 h 10000"/>
              <a:gd name="connsiteX9" fmla="*/ 6331 w 10015"/>
              <a:gd name="connsiteY9" fmla="*/ 10000 h 10000"/>
              <a:gd name="connsiteX10" fmla="*/ 6400 w 10015"/>
              <a:gd name="connsiteY10" fmla="*/ 9665 h 10000"/>
              <a:gd name="connsiteX11" fmla="*/ 6400 w 10015"/>
              <a:gd name="connsiteY11" fmla="*/ 335 h 10000"/>
              <a:gd name="connsiteX12" fmla="*/ 6470 w 10015"/>
              <a:gd name="connsiteY12" fmla="*/ 0 h 10000"/>
              <a:gd name="connsiteX13" fmla="*/ 8033 w 10015"/>
              <a:gd name="connsiteY13" fmla="*/ 0 h 10000"/>
              <a:gd name="connsiteX14" fmla="*/ 8106 w 10015"/>
              <a:gd name="connsiteY14" fmla="*/ 335 h 10000"/>
              <a:gd name="connsiteX15" fmla="*/ 8106 w 10015"/>
              <a:gd name="connsiteY15" fmla="*/ 8575 h 10000"/>
              <a:gd name="connsiteX16" fmla="*/ 8176 w 10015"/>
              <a:gd name="connsiteY16" fmla="*/ 8935 h 10000"/>
              <a:gd name="connsiteX17" fmla="*/ 10015 w 10015"/>
              <a:gd name="connsiteY17" fmla="*/ 8941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</a:cxnLst>
            <a:rect l="l" t="t" r="r" b="b"/>
            <a:pathLst>
              <a:path w="10015" h="10000">
                <a:moveTo>
                  <a:pt x="0" y="7857"/>
                </a:moveTo>
                <a:cubicBezTo>
                  <a:pt x="34" y="7853"/>
                  <a:pt x="360" y="7855"/>
                  <a:pt x="726" y="7855"/>
                </a:cubicBezTo>
                <a:cubicBezTo>
                  <a:pt x="766" y="7855"/>
                  <a:pt x="787" y="7713"/>
                  <a:pt x="787" y="7533"/>
                </a:cubicBezTo>
                <a:lnTo>
                  <a:pt x="787" y="1796"/>
                </a:lnTo>
                <a:cubicBezTo>
                  <a:pt x="787" y="1605"/>
                  <a:pt x="815" y="1461"/>
                  <a:pt x="855" y="1461"/>
                </a:cubicBezTo>
                <a:lnTo>
                  <a:pt x="4013" y="1461"/>
                </a:lnTo>
                <a:cubicBezTo>
                  <a:pt x="4049" y="1461"/>
                  <a:pt x="4081" y="1605"/>
                  <a:pt x="4081" y="1796"/>
                </a:cubicBezTo>
                <a:lnTo>
                  <a:pt x="4081" y="9665"/>
                </a:lnTo>
                <a:cubicBezTo>
                  <a:pt x="4081" y="9844"/>
                  <a:pt x="4112" y="10000"/>
                  <a:pt x="4152" y="10000"/>
                </a:cubicBezTo>
                <a:lnTo>
                  <a:pt x="6331" y="10000"/>
                </a:lnTo>
                <a:cubicBezTo>
                  <a:pt x="6371" y="10000"/>
                  <a:pt x="6400" y="9844"/>
                  <a:pt x="6400" y="9665"/>
                </a:cubicBezTo>
                <a:lnTo>
                  <a:pt x="6400" y="335"/>
                </a:lnTo>
                <a:cubicBezTo>
                  <a:pt x="6400" y="156"/>
                  <a:pt x="6432" y="0"/>
                  <a:pt x="6470" y="0"/>
                </a:cubicBezTo>
                <a:lnTo>
                  <a:pt x="8033" y="0"/>
                </a:lnTo>
                <a:cubicBezTo>
                  <a:pt x="8075" y="0"/>
                  <a:pt x="8106" y="156"/>
                  <a:pt x="8106" y="335"/>
                </a:cubicBezTo>
                <a:lnTo>
                  <a:pt x="8106" y="8575"/>
                </a:lnTo>
                <a:cubicBezTo>
                  <a:pt x="8106" y="8754"/>
                  <a:pt x="8138" y="8935"/>
                  <a:pt x="8176" y="8935"/>
                </a:cubicBezTo>
                <a:cubicBezTo>
                  <a:pt x="8276" y="8937"/>
                  <a:pt x="9405" y="8939"/>
                  <a:pt x="10015" y="8941"/>
                </a:cubicBezTo>
              </a:path>
            </a:pathLst>
          </a:custGeom>
          <a:noFill/>
          <a:ln w="12700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endParaRPr lang="en-US" sz="1800">
              <a:solidFill>
                <a:prstClr val="black"/>
              </a:solidFill>
              <a:latin typeface="Arial"/>
            </a:endParaRPr>
          </a:p>
        </p:txBody>
      </p:sp>
      <p:sp>
        <p:nvSpPr>
          <p:cNvPr id="12" name="Freeform 10"/>
          <p:cNvSpPr>
            <a:spLocks/>
          </p:cNvSpPr>
          <p:nvPr userDrawn="1"/>
        </p:nvSpPr>
        <p:spPr bwMode="gray">
          <a:xfrm>
            <a:off x="3" y="4482313"/>
            <a:ext cx="9143997" cy="1084634"/>
          </a:xfrm>
          <a:custGeom>
            <a:avLst/>
            <a:gdLst>
              <a:gd name="T0" fmla="*/ 0 w 8479"/>
              <a:gd name="T1" fmla="*/ 130 h 583"/>
              <a:gd name="T2" fmla="*/ 419 w 8479"/>
              <a:gd name="T3" fmla="*/ 130 h 583"/>
              <a:gd name="T4" fmla="*/ 447 w 8479"/>
              <a:gd name="T5" fmla="*/ 158 h 583"/>
              <a:gd name="T6" fmla="*/ 447 w 8479"/>
              <a:gd name="T7" fmla="*/ 458 h 583"/>
              <a:gd name="T8" fmla="*/ 475 w 8479"/>
              <a:gd name="T9" fmla="*/ 486 h 583"/>
              <a:gd name="T10" fmla="*/ 1724 w 8479"/>
              <a:gd name="T11" fmla="*/ 486 h 583"/>
              <a:gd name="T12" fmla="*/ 1752 w 8479"/>
              <a:gd name="T13" fmla="*/ 458 h 583"/>
              <a:gd name="T14" fmla="*/ 1752 w 8479"/>
              <a:gd name="T15" fmla="*/ 36 h 583"/>
              <a:gd name="T16" fmla="*/ 1780 w 8479"/>
              <a:gd name="T17" fmla="*/ 8 h 583"/>
              <a:gd name="T18" fmla="*/ 2675 w 8479"/>
              <a:gd name="T19" fmla="*/ 8 h 583"/>
              <a:gd name="T20" fmla="*/ 2703 w 8479"/>
              <a:gd name="T21" fmla="*/ 36 h 583"/>
              <a:gd name="T22" fmla="*/ 2703 w 8479"/>
              <a:gd name="T23" fmla="*/ 458 h 583"/>
              <a:gd name="T24" fmla="*/ 2731 w 8479"/>
              <a:gd name="T25" fmla="*/ 486 h 583"/>
              <a:gd name="T26" fmla="*/ 4228 w 8479"/>
              <a:gd name="T27" fmla="*/ 486 h 583"/>
              <a:gd name="T28" fmla="*/ 4256 w 8479"/>
              <a:gd name="T29" fmla="*/ 458 h 583"/>
              <a:gd name="T30" fmla="*/ 4256 w 8479"/>
              <a:gd name="T31" fmla="*/ 214 h 583"/>
              <a:gd name="T32" fmla="*/ 4284 w 8479"/>
              <a:gd name="T33" fmla="*/ 186 h 583"/>
              <a:gd name="T34" fmla="*/ 5867 w 8479"/>
              <a:gd name="T35" fmla="*/ 186 h 583"/>
              <a:gd name="T36" fmla="*/ 5895 w 8479"/>
              <a:gd name="T37" fmla="*/ 214 h 583"/>
              <a:gd name="T38" fmla="*/ 5895 w 8479"/>
              <a:gd name="T39" fmla="*/ 309 h 583"/>
              <a:gd name="T40" fmla="*/ 5923 w 8479"/>
              <a:gd name="T41" fmla="*/ 337 h 583"/>
              <a:gd name="T42" fmla="*/ 6495 w 8479"/>
              <a:gd name="T43" fmla="*/ 337 h 583"/>
              <a:gd name="T44" fmla="*/ 6523 w 8479"/>
              <a:gd name="T45" fmla="*/ 309 h 583"/>
              <a:gd name="T46" fmla="*/ 6523 w 8479"/>
              <a:gd name="T47" fmla="*/ 28 h 583"/>
              <a:gd name="T48" fmla="*/ 6551 w 8479"/>
              <a:gd name="T49" fmla="*/ 0 h 583"/>
              <a:gd name="T50" fmla="*/ 7543 w 8479"/>
              <a:gd name="T51" fmla="*/ 0 h 583"/>
              <a:gd name="T52" fmla="*/ 7571 w 8479"/>
              <a:gd name="T53" fmla="*/ 28 h 583"/>
              <a:gd name="T54" fmla="*/ 7571 w 8479"/>
              <a:gd name="T55" fmla="*/ 555 h 583"/>
              <a:gd name="T56" fmla="*/ 7599 w 8479"/>
              <a:gd name="T57" fmla="*/ 583 h 583"/>
              <a:gd name="T58" fmla="*/ 8479 w 8479"/>
              <a:gd name="T59" fmla="*/ 583 h 583"/>
              <a:gd name="connsiteX0" fmla="*/ 0 w 9506"/>
              <a:gd name="connsiteY0" fmla="*/ 2230 h 10000"/>
              <a:gd name="connsiteX1" fmla="*/ 33 w 9506"/>
              <a:gd name="connsiteY1" fmla="*/ 2710 h 10000"/>
              <a:gd name="connsiteX2" fmla="*/ 33 w 9506"/>
              <a:gd name="connsiteY2" fmla="*/ 7856 h 10000"/>
              <a:gd name="connsiteX3" fmla="*/ 66 w 9506"/>
              <a:gd name="connsiteY3" fmla="*/ 8336 h 10000"/>
              <a:gd name="connsiteX4" fmla="*/ 1539 w 9506"/>
              <a:gd name="connsiteY4" fmla="*/ 8336 h 10000"/>
              <a:gd name="connsiteX5" fmla="*/ 1572 w 9506"/>
              <a:gd name="connsiteY5" fmla="*/ 7856 h 10000"/>
              <a:gd name="connsiteX6" fmla="*/ 1572 w 9506"/>
              <a:gd name="connsiteY6" fmla="*/ 617 h 10000"/>
              <a:gd name="connsiteX7" fmla="*/ 1605 w 9506"/>
              <a:gd name="connsiteY7" fmla="*/ 137 h 10000"/>
              <a:gd name="connsiteX8" fmla="*/ 2661 w 9506"/>
              <a:gd name="connsiteY8" fmla="*/ 137 h 10000"/>
              <a:gd name="connsiteX9" fmla="*/ 2694 w 9506"/>
              <a:gd name="connsiteY9" fmla="*/ 617 h 10000"/>
              <a:gd name="connsiteX10" fmla="*/ 2694 w 9506"/>
              <a:gd name="connsiteY10" fmla="*/ 7856 h 10000"/>
              <a:gd name="connsiteX11" fmla="*/ 2727 w 9506"/>
              <a:gd name="connsiteY11" fmla="*/ 8336 h 10000"/>
              <a:gd name="connsiteX12" fmla="*/ 4492 w 9506"/>
              <a:gd name="connsiteY12" fmla="*/ 8336 h 10000"/>
              <a:gd name="connsiteX13" fmla="*/ 4525 w 9506"/>
              <a:gd name="connsiteY13" fmla="*/ 7856 h 10000"/>
              <a:gd name="connsiteX14" fmla="*/ 4525 w 9506"/>
              <a:gd name="connsiteY14" fmla="*/ 3671 h 10000"/>
              <a:gd name="connsiteX15" fmla="*/ 4558 w 9506"/>
              <a:gd name="connsiteY15" fmla="*/ 3190 h 10000"/>
              <a:gd name="connsiteX16" fmla="*/ 6425 w 9506"/>
              <a:gd name="connsiteY16" fmla="*/ 3190 h 10000"/>
              <a:gd name="connsiteX17" fmla="*/ 6458 w 9506"/>
              <a:gd name="connsiteY17" fmla="*/ 3671 h 10000"/>
              <a:gd name="connsiteX18" fmla="*/ 6458 w 9506"/>
              <a:gd name="connsiteY18" fmla="*/ 5300 h 10000"/>
              <a:gd name="connsiteX19" fmla="*/ 6491 w 9506"/>
              <a:gd name="connsiteY19" fmla="*/ 5780 h 10000"/>
              <a:gd name="connsiteX20" fmla="*/ 7166 w 9506"/>
              <a:gd name="connsiteY20" fmla="*/ 5780 h 10000"/>
              <a:gd name="connsiteX21" fmla="*/ 7199 w 9506"/>
              <a:gd name="connsiteY21" fmla="*/ 5300 h 10000"/>
              <a:gd name="connsiteX22" fmla="*/ 7199 w 9506"/>
              <a:gd name="connsiteY22" fmla="*/ 480 h 10000"/>
              <a:gd name="connsiteX23" fmla="*/ 7232 w 9506"/>
              <a:gd name="connsiteY23" fmla="*/ 0 h 10000"/>
              <a:gd name="connsiteX24" fmla="*/ 8402 w 9506"/>
              <a:gd name="connsiteY24" fmla="*/ 0 h 10000"/>
              <a:gd name="connsiteX25" fmla="*/ 8435 w 9506"/>
              <a:gd name="connsiteY25" fmla="*/ 480 h 10000"/>
              <a:gd name="connsiteX26" fmla="*/ 8435 w 9506"/>
              <a:gd name="connsiteY26" fmla="*/ 9520 h 10000"/>
              <a:gd name="connsiteX27" fmla="*/ 8468 w 9506"/>
              <a:gd name="connsiteY27" fmla="*/ 10000 h 10000"/>
              <a:gd name="connsiteX28" fmla="*/ 9506 w 9506"/>
              <a:gd name="connsiteY28" fmla="*/ 10000 h 10000"/>
              <a:gd name="connsiteX0" fmla="*/ 0 w 9965"/>
              <a:gd name="connsiteY0" fmla="*/ 2710 h 10000"/>
              <a:gd name="connsiteX1" fmla="*/ 0 w 9965"/>
              <a:gd name="connsiteY1" fmla="*/ 7856 h 10000"/>
              <a:gd name="connsiteX2" fmla="*/ 34 w 9965"/>
              <a:gd name="connsiteY2" fmla="*/ 8336 h 10000"/>
              <a:gd name="connsiteX3" fmla="*/ 1584 w 9965"/>
              <a:gd name="connsiteY3" fmla="*/ 8336 h 10000"/>
              <a:gd name="connsiteX4" fmla="*/ 1619 w 9965"/>
              <a:gd name="connsiteY4" fmla="*/ 7856 h 10000"/>
              <a:gd name="connsiteX5" fmla="*/ 1619 w 9965"/>
              <a:gd name="connsiteY5" fmla="*/ 617 h 10000"/>
              <a:gd name="connsiteX6" fmla="*/ 1653 w 9965"/>
              <a:gd name="connsiteY6" fmla="*/ 137 h 10000"/>
              <a:gd name="connsiteX7" fmla="*/ 2764 w 9965"/>
              <a:gd name="connsiteY7" fmla="*/ 137 h 10000"/>
              <a:gd name="connsiteX8" fmla="*/ 2799 w 9965"/>
              <a:gd name="connsiteY8" fmla="*/ 617 h 10000"/>
              <a:gd name="connsiteX9" fmla="*/ 2799 w 9965"/>
              <a:gd name="connsiteY9" fmla="*/ 7856 h 10000"/>
              <a:gd name="connsiteX10" fmla="*/ 2834 w 9965"/>
              <a:gd name="connsiteY10" fmla="*/ 8336 h 10000"/>
              <a:gd name="connsiteX11" fmla="*/ 4690 w 9965"/>
              <a:gd name="connsiteY11" fmla="*/ 8336 h 10000"/>
              <a:gd name="connsiteX12" fmla="*/ 4725 w 9965"/>
              <a:gd name="connsiteY12" fmla="*/ 7856 h 10000"/>
              <a:gd name="connsiteX13" fmla="*/ 4725 w 9965"/>
              <a:gd name="connsiteY13" fmla="*/ 3671 h 10000"/>
              <a:gd name="connsiteX14" fmla="*/ 4760 w 9965"/>
              <a:gd name="connsiteY14" fmla="*/ 3190 h 10000"/>
              <a:gd name="connsiteX15" fmla="*/ 6724 w 9965"/>
              <a:gd name="connsiteY15" fmla="*/ 3190 h 10000"/>
              <a:gd name="connsiteX16" fmla="*/ 6759 w 9965"/>
              <a:gd name="connsiteY16" fmla="*/ 3671 h 10000"/>
              <a:gd name="connsiteX17" fmla="*/ 6759 w 9965"/>
              <a:gd name="connsiteY17" fmla="*/ 5300 h 10000"/>
              <a:gd name="connsiteX18" fmla="*/ 6793 w 9965"/>
              <a:gd name="connsiteY18" fmla="*/ 5780 h 10000"/>
              <a:gd name="connsiteX19" fmla="*/ 7503 w 9965"/>
              <a:gd name="connsiteY19" fmla="*/ 5780 h 10000"/>
              <a:gd name="connsiteX20" fmla="*/ 7538 w 9965"/>
              <a:gd name="connsiteY20" fmla="*/ 5300 h 10000"/>
              <a:gd name="connsiteX21" fmla="*/ 7538 w 9965"/>
              <a:gd name="connsiteY21" fmla="*/ 480 h 10000"/>
              <a:gd name="connsiteX22" fmla="*/ 7573 w 9965"/>
              <a:gd name="connsiteY22" fmla="*/ 0 h 10000"/>
              <a:gd name="connsiteX23" fmla="*/ 8804 w 9965"/>
              <a:gd name="connsiteY23" fmla="*/ 0 h 10000"/>
              <a:gd name="connsiteX24" fmla="*/ 8838 w 9965"/>
              <a:gd name="connsiteY24" fmla="*/ 480 h 10000"/>
              <a:gd name="connsiteX25" fmla="*/ 8838 w 9965"/>
              <a:gd name="connsiteY25" fmla="*/ 9520 h 10000"/>
              <a:gd name="connsiteX26" fmla="*/ 8873 w 9965"/>
              <a:gd name="connsiteY26" fmla="*/ 10000 h 10000"/>
              <a:gd name="connsiteX27" fmla="*/ 9965 w 9965"/>
              <a:gd name="connsiteY27" fmla="*/ 10000 h 10000"/>
              <a:gd name="connsiteX0" fmla="*/ 0 w 10000"/>
              <a:gd name="connsiteY0" fmla="*/ 7856 h 10000"/>
              <a:gd name="connsiteX1" fmla="*/ 34 w 10000"/>
              <a:gd name="connsiteY1" fmla="*/ 8336 h 10000"/>
              <a:gd name="connsiteX2" fmla="*/ 1590 w 10000"/>
              <a:gd name="connsiteY2" fmla="*/ 8336 h 10000"/>
              <a:gd name="connsiteX3" fmla="*/ 1625 w 10000"/>
              <a:gd name="connsiteY3" fmla="*/ 7856 h 10000"/>
              <a:gd name="connsiteX4" fmla="*/ 1625 w 10000"/>
              <a:gd name="connsiteY4" fmla="*/ 617 h 10000"/>
              <a:gd name="connsiteX5" fmla="*/ 1659 w 10000"/>
              <a:gd name="connsiteY5" fmla="*/ 137 h 10000"/>
              <a:gd name="connsiteX6" fmla="*/ 2774 w 10000"/>
              <a:gd name="connsiteY6" fmla="*/ 137 h 10000"/>
              <a:gd name="connsiteX7" fmla="*/ 2809 w 10000"/>
              <a:gd name="connsiteY7" fmla="*/ 617 h 10000"/>
              <a:gd name="connsiteX8" fmla="*/ 2809 w 10000"/>
              <a:gd name="connsiteY8" fmla="*/ 7856 h 10000"/>
              <a:gd name="connsiteX9" fmla="*/ 2844 w 10000"/>
              <a:gd name="connsiteY9" fmla="*/ 8336 h 10000"/>
              <a:gd name="connsiteX10" fmla="*/ 4706 w 10000"/>
              <a:gd name="connsiteY10" fmla="*/ 8336 h 10000"/>
              <a:gd name="connsiteX11" fmla="*/ 4742 w 10000"/>
              <a:gd name="connsiteY11" fmla="*/ 7856 h 10000"/>
              <a:gd name="connsiteX12" fmla="*/ 4742 w 10000"/>
              <a:gd name="connsiteY12" fmla="*/ 3671 h 10000"/>
              <a:gd name="connsiteX13" fmla="*/ 4777 w 10000"/>
              <a:gd name="connsiteY13" fmla="*/ 3190 h 10000"/>
              <a:gd name="connsiteX14" fmla="*/ 6748 w 10000"/>
              <a:gd name="connsiteY14" fmla="*/ 3190 h 10000"/>
              <a:gd name="connsiteX15" fmla="*/ 6783 w 10000"/>
              <a:gd name="connsiteY15" fmla="*/ 3671 h 10000"/>
              <a:gd name="connsiteX16" fmla="*/ 6783 w 10000"/>
              <a:gd name="connsiteY16" fmla="*/ 5300 h 10000"/>
              <a:gd name="connsiteX17" fmla="*/ 6817 w 10000"/>
              <a:gd name="connsiteY17" fmla="*/ 5780 h 10000"/>
              <a:gd name="connsiteX18" fmla="*/ 7529 w 10000"/>
              <a:gd name="connsiteY18" fmla="*/ 5780 h 10000"/>
              <a:gd name="connsiteX19" fmla="*/ 7564 w 10000"/>
              <a:gd name="connsiteY19" fmla="*/ 5300 h 10000"/>
              <a:gd name="connsiteX20" fmla="*/ 7564 w 10000"/>
              <a:gd name="connsiteY20" fmla="*/ 480 h 10000"/>
              <a:gd name="connsiteX21" fmla="*/ 7600 w 10000"/>
              <a:gd name="connsiteY21" fmla="*/ 0 h 10000"/>
              <a:gd name="connsiteX22" fmla="*/ 8835 w 10000"/>
              <a:gd name="connsiteY22" fmla="*/ 0 h 10000"/>
              <a:gd name="connsiteX23" fmla="*/ 8869 w 10000"/>
              <a:gd name="connsiteY23" fmla="*/ 480 h 10000"/>
              <a:gd name="connsiteX24" fmla="*/ 8869 w 10000"/>
              <a:gd name="connsiteY24" fmla="*/ 9520 h 10000"/>
              <a:gd name="connsiteX25" fmla="*/ 8904 w 10000"/>
              <a:gd name="connsiteY25" fmla="*/ 10000 h 10000"/>
              <a:gd name="connsiteX26" fmla="*/ 10000 w 10000"/>
              <a:gd name="connsiteY26" fmla="*/ 10000 h 10000"/>
              <a:gd name="connsiteX0" fmla="*/ 0 w 9966"/>
              <a:gd name="connsiteY0" fmla="*/ 8336 h 10000"/>
              <a:gd name="connsiteX1" fmla="*/ 1556 w 9966"/>
              <a:gd name="connsiteY1" fmla="*/ 8336 h 10000"/>
              <a:gd name="connsiteX2" fmla="*/ 1591 w 9966"/>
              <a:gd name="connsiteY2" fmla="*/ 7856 h 10000"/>
              <a:gd name="connsiteX3" fmla="*/ 1591 w 9966"/>
              <a:gd name="connsiteY3" fmla="*/ 617 h 10000"/>
              <a:gd name="connsiteX4" fmla="*/ 1625 w 9966"/>
              <a:gd name="connsiteY4" fmla="*/ 137 h 10000"/>
              <a:gd name="connsiteX5" fmla="*/ 2740 w 9966"/>
              <a:gd name="connsiteY5" fmla="*/ 137 h 10000"/>
              <a:gd name="connsiteX6" fmla="*/ 2775 w 9966"/>
              <a:gd name="connsiteY6" fmla="*/ 617 h 10000"/>
              <a:gd name="connsiteX7" fmla="*/ 2775 w 9966"/>
              <a:gd name="connsiteY7" fmla="*/ 7856 h 10000"/>
              <a:gd name="connsiteX8" fmla="*/ 2810 w 9966"/>
              <a:gd name="connsiteY8" fmla="*/ 8336 h 10000"/>
              <a:gd name="connsiteX9" fmla="*/ 4672 w 9966"/>
              <a:gd name="connsiteY9" fmla="*/ 8336 h 10000"/>
              <a:gd name="connsiteX10" fmla="*/ 4708 w 9966"/>
              <a:gd name="connsiteY10" fmla="*/ 7856 h 10000"/>
              <a:gd name="connsiteX11" fmla="*/ 4708 w 9966"/>
              <a:gd name="connsiteY11" fmla="*/ 3671 h 10000"/>
              <a:gd name="connsiteX12" fmla="*/ 4743 w 9966"/>
              <a:gd name="connsiteY12" fmla="*/ 3190 h 10000"/>
              <a:gd name="connsiteX13" fmla="*/ 6714 w 9966"/>
              <a:gd name="connsiteY13" fmla="*/ 3190 h 10000"/>
              <a:gd name="connsiteX14" fmla="*/ 6749 w 9966"/>
              <a:gd name="connsiteY14" fmla="*/ 3671 h 10000"/>
              <a:gd name="connsiteX15" fmla="*/ 6749 w 9966"/>
              <a:gd name="connsiteY15" fmla="*/ 5300 h 10000"/>
              <a:gd name="connsiteX16" fmla="*/ 6783 w 9966"/>
              <a:gd name="connsiteY16" fmla="*/ 5780 h 10000"/>
              <a:gd name="connsiteX17" fmla="*/ 7495 w 9966"/>
              <a:gd name="connsiteY17" fmla="*/ 5780 h 10000"/>
              <a:gd name="connsiteX18" fmla="*/ 7530 w 9966"/>
              <a:gd name="connsiteY18" fmla="*/ 5300 h 10000"/>
              <a:gd name="connsiteX19" fmla="*/ 7530 w 9966"/>
              <a:gd name="connsiteY19" fmla="*/ 480 h 10000"/>
              <a:gd name="connsiteX20" fmla="*/ 7566 w 9966"/>
              <a:gd name="connsiteY20" fmla="*/ 0 h 10000"/>
              <a:gd name="connsiteX21" fmla="*/ 8801 w 9966"/>
              <a:gd name="connsiteY21" fmla="*/ 0 h 10000"/>
              <a:gd name="connsiteX22" fmla="*/ 8835 w 9966"/>
              <a:gd name="connsiteY22" fmla="*/ 480 h 10000"/>
              <a:gd name="connsiteX23" fmla="*/ 8835 w 9966"/>
              <a:gd name="connsiteY23" fmla="*/ 9520 h 10000"/>
              <a:gd name="connsiteX24" fmla="*/ 8870 w 9966"/>
              <a:gd name="connsiteY24" fmla="*/ 10000 h 10000"/>
              <a:gd name="connsiteX25" fmla="*/ 9966 w 9966"/>
              <a:gd name="connsiteY25" fmla="*/ 10000 h 10000"/>
              <a:gd name="connsiteX0" fmla="*/ 0 w 8439"/>
              <a:gd name="connsiteY0" fmla="*/ 8336 h 10000"/>
              <a:gd name="connsiteX1" fmla="*/ 35 w 8439"/>
              <a:gd name="connsiteY1" fmla="*/ 7856 h 10000"/>
              <a:gd name="connsiteX2" fmla="*/ 35 w 8439"/>
              <a:gd name="connsiteY2" fmla="*/ 617 h 10000"/>
              <a:gd name="connsiteX3" fmla="*/ 70 w 8439"/>
              <a:gd name="connsiteY3" fmla="*/ 137 h 10000"/>
              <a:gd name="connsiteX4" fmla="*/ 1188 w 8439"/>
              <a:gd name="connsiteY4" fmla="*/ 137 h 10000"/>
              <a:gd name="connsiteX5" fmla="*/ 1223 w 8439"/>
              <a:gd name="connsiteY5" fmla="*/ 617 h 10000"/>
              <a:gd name="connsiteX6" fmla="*/ 1223 w 8439"/>
              <a:gd name="connsiteY6" fmla="*/ 7856 h 10000"/>
              <a:gd name="connsiteX7" fmla="*/ 1259 w 8439"/>
              <a:gd name="connsiteY7" fmla="*/ 8336 h 10000"/>
              <a:gd name="connsiteX8" fmla="*/ 3127 w 8439"/>
              <a:gd name="connsiteY8" fmla="*/ 8336 h 10000"/>
              <a:gd name="connsiteX9" fmla="*/ 3163 w 8439"/>
              <a:gd name="connsiteY9" fmla="*/ 7856 h 10000"/>
              <a:gd name="connsiteX10" fmla="*/ 3163 w 8439"/>
              <a:gd name="connsiteY10" fmla="*/ 3671 h 10000"/>
              <a:gd name="connsiteX11" fmla="*/ 3198 w 8439"/>
              <a:gd name="connsiteY11" fmla="*/ 3190 h 10000"/>
              <a:gd name="connsiteX12" fmla="*/ 5176 w 8439"/>
              <a:gd name="connsiteY12" fmla="*/ 3190 h 10000"/>
              <a:gd name="connsiteX13" fmla="*/ 5211 w 8439"/>
              <a:gd name="connsiteY13" fmla="*/ 3671 h 10000"/>
              <a:gd name="connsiteX14" fmla="*/ 5211 w 8439"/>
              <a:gd name="connsiteY14" fmla="*/ 5300 h 10000"/>
              <a:gd name="connsiteX15" fmla="*/ 5245 w 8439"/>
              <a:gd name="connsiteY15" fmla="*/ 5780 h 10000"/>
              <a:gd name="connsiteX16" fmla="*/ 5960 w 8439"/>
              <a:gd name="connsiteY16" fmla="*/ 5780 h 10000"/>
              <a:gd name="connsiteX17" fmla="*/ 5995 w 8439"/>
              <a:gd name="connsiteY17" fmla="*/ 5300 h 10000"/>
              <a:gd name="connsiteX18" fmla="*/ 5995 w 8439"/>
              <a:gd name="connsiteY18" fmla="*/ 480 h 10000"/>
              <a:gd name="connsiteX19" fmla="*/ 6031 w 8439"/>
              <a:gd name="connsiteY19" fmla="*/ 0 h 10000"/>
              <a:gd name="connsiteX20" fmla="*/ 7270 w 8439"/>
              <a:gd name="connsiteY20" fmla="*/ 0 h 10000"/>
              <a:gd name="connsiteX21" fmla="*/ 7304 w 8439"/>
              <a:gd name="connsiteY21" fmla="*/ 480 h 10000"/>
              <a:gd name="connsiteX22" fmla="*/ 7304 w 8439"/>
              <a:gd name="connsiteY22" fmla="*/ 9520 h 10000"/>
              <a:gd name="connsiteX23" fmla="*/ 7339 w 8439"/>
              <a:gd name="connsiteY23" fmla="*/ 10000 h 10000"/>
              <a:gd name="connsiteX24" fmla="*/ 8439 w 8439"/>
              <a:gd name="connsiteY24" fmla="*/ 10000 h 10000"/>
              <a:gd name="connsiteX0" fmla="*/ 0 w 9959"/>
              <a:gd name="connsiteY0" fmla="*/ 7856 h 10000"/>
              <a:gd name="connsiteX1" fmla="*/ 0 w 9959"/>
              <a:gd name="connsiteY1" fmla="*/ 617 h 10000"/>
              <a:gd name="connsiteX2" fmla="*/ 42 w 9959"/>
              <a:gd name="connsiteY2" fmla="*/ 137 h 10000"/>
              <a:gd name="connsiteX3" fmla="*/ 1367 w 9959"/>
              <a:gd name="connsiteY3" fmla="*/ 137 h 10000"/>
              <a:gd name="connsiteX4" fmla="*/ 1408 w 9959"/>
              <a:gd name="connsiteY4" fmla="*/ 617 h 10000"/>
              <a:gd name="connsiteX5" fmla="*/ 1408 w 9959"/>
              <a:gd name="connsiteY5" fmla="*/ 7856 h 10000"/>
              <a:gd name="connsiteX6" fmla="*/ 1451 w 9959"/>
              <a:gd name="connsiteY6" fmla="*/ 8336 h 10000"/>
              <a:gd name="connsiteX7" fmla="*/ 3664 w 9959"/>
              <a:gd name="connsiteY7" fmla="*/ 8336 h 10000"/>
              <a:gd name="connsiteX8" fmla="*/ 3707 w 9959"/>
              <a:gd name="connsiteY8" fmla="*/ 7856 h 10000"/>
              <a:gd name="connsiteX9" fmla="*/ 3707 w 9959"/>
              <a:gd name="connsiteY9" fmla="*/ 3671 h 10000"/>
              <a:gd name="connsiteX10" fmla="*/ 3749 w 9959"/>
              <a:gd name="connsiteY10" fmla="*/ 3190 h 10000"/>
              <a:gd name="connsiteX11" fmla="*/ 6092 w 9959"/>
              <a:gd name="connsiteY11" fmla="*/ 3190 h 10000"/>
              <a:gd name="connsiteX12" fmla="*/ 6134 w 9959"/>
              <a:gd name="connsiteY12" fmla="*/ 3671 h 10000"/>
              <a:gd name="connsiteX13" fmla="*/ 6134 w 9959"/>
              <a:gd name="connsiteY13" fmla="*/ 5300 h 10000"/>
              <a:gd name="connsiteX14" fmla="*/ 6174 w 9959"/>
              <a:gd name="connsiteY14" fmla="*/ 5780 h 10000"/>
              <a:gd name="connsiteX15" fmla="*/ 7021 w 9959"/>
              <a:gd name="connsiteY15" fmla="*/ 5780 h 10000"/>
              <a:gd name="connsiteX16" fmla="*/ 7063 w 9959"/>
              <a:gd name="connsiteY16" fmla="*/ 5300 h 10000"/>
              <a:gd name="connsiteX17" fmla="*/ 7063 w 9959"/>
              <a:gd name="connsiteY17" fmla="*/ 480 h 10000"/>
              <a:gd name="connsiteX18" fmla="*/ 7106 w 9959"/>
              <a:gd name="connsiteY18" fmla="*/ 0 h 10000"/>
              <a:gd name="connsiteX19" fmla="*/ 8574 w 9959"/>
              <a:gd name="connsiteY19" fmla="*/ 0 h 10000"/>
              <a:gd name="connsiteX20" fmla="*/ 8614 w 9959"/>
              <a:gd name="connsiteY20" fmla="*/ 480 h 10000"/>
              <a:gd name="connsiteX21" fmla="*/ 8614 w 9959"/>
              <a:gd name="connsiteY21" fmla="*/ 9520 h 10000"/>
              <a:gd name="connsiteX22" fmla="*/ 8656 w 9959"/>
              <a:gd name="connsiteY22" fmla="*/ 10000 h 10000"/>
              <a:gd name="connsiteX23" fmla="*/ 9959 w 9959"/>
              <a:gd name="connsiteY23" fmla="*/ 10000 h 10000"/>
              <a:gd name="connsiteX0" fmla="*/ 0 w 10000"/>
              <a:gd name="connsiteY0" fmla="*/ 617 h 10000"/>
              <a:gd name="connsiteX1" fmla="*/ 42 w 10000"/>
              <a:gd name="connsiteY1" fmla="*/ 137 h 10000"/>
              <a:gd name="connsiteX2" fmla="*/ 1373 w 10000"/>
              <a:gd name="connsiteY2" fmla="*/ 137 h 10000"/>
              <a:gd name="connsiteX3" fmla="*/ 1414 w 10000"/>
              <a:gd name="connsiteY3" fmla="*/ 617 h 10000"/>
              <a:gd name="connsiteX4" fmla="*/ 1414 w 10000"/>
              <a:gd name="connsiteY4" fmla="*/ 7856 h 10000"/>
              <a:gd name="connsiteX5" fmla="*/ 1457 w 10000"/>
              <a:gd name="connsiteY5" fmla="*/ 8336 h 10000"/>
              <a:gd name="connsiteX6" fmla="*/ 3679 w 10000"/>
              <a:gd name="connsiteY6" fmla="*/ 8336 h 10000"/>
              <a:gd name="connsiteX7" fmla="*/ 3722 w 10000"/>
              <a:gd name="connsiteY7" fmla="*/ 7856 h 10000"/>
              <a:gd name="connsiteX8" fmla="*/ 3722 w 10000"/>
              <a:gd name="connsiteY8" fmla="*/ 3671 h 10000"/>
              <a:gd name="connsiteX9" fmla="*/ 3764 w 10000"/>
              <a:gd name="connsiteY9" fmla="*/ 3190 h 10000"/>
              <a:gd name="connsiteX10" fmla="*/ 6117 w 10000"/>
              <a:gd name="connsiteY10" fmla="*/ 3190 h 10000"/>
              <a:gd name="connsiteX11" fmla="*/ 6159 w 10000"/>
              <a:gd name="connsiteY11" fmla="*/ 3671 h 10000"/>
              <a:gd name="connsiteX12" fmla="*/ 6159 w 10000"/>
              <a:gd name="connsiteY12" fmla="*/ 5300 h 10000"/>
              <a:gd name="connsiteX13" fmla="*/ 6199 w 10000"/>
              <a:gd name="connsiteY13" fmla="*/ 5780 h 10000"/>
              <a:gd name="connsiteX14" fmla="*/ 7050 w 10000"/>
              <a:gd name="connsiteY14" fmla="*/ 5780 h 10000"/>
              <a:gd name="connsiteX15" fmla="*/ 7092 w 10000"/>
              <a:gd name="connsiteY15" fmla="*/ 5300 h 10000"/>
              <a:gd name="connsiteX16" fmla="*/ 7092 w 10000"/>
              <a:gd name="connsiteY16" fmla="*/ 480 h 10000"/>
              <a:gd name="connsiteX17" fmla="*/ 7135 w 10000"/>
              <a:gd name="connsiteY17" fmla="*/ 0 h 10000"/>
              <a:gd name="connsiteX18" fmla="*/ 8609 w 10000"/>
              <a:gd name="connsiteY18" fmla="*/ 0 h 10000"/>
              <a:gd name="connsiteX19" fmla="*/ 8649 w 10000"/>
              <a:gd name="connsiteY19" fmla="*/ 480 h 10000"/>
              <a:gd name="connsiteX20" fmla="*/ 8649 w 10000"/>
              <a:gd name="connsiteY20" fmla="*/ 9520 h 10000"/>
              <a:gd name="connsiteX21" fmla="*/ 8692 w 10000"/>
              <a:gd name="connsiteY21" fmla="*/ 10000 h 10000"/>
              <a:gd name="connsiteX22" fmla="*/ 10000 w 10000"/>
              <a:gd name="connsiteY22" fmla="*/ 10000 h 10000"/>
              <a:gd name="connsiteX0" fmla="*/ 0 w 8692"/>
              <a:gd name="connsiteY0" fmla="*/ 617 h 10000"/>
              <a:gd name="connsiteX1" fmla="*/ 42 w 8692"/>
              <a:gd name="connsiteY1" fmla="*/ 137 h 10000"/>
              <a:gd name="connsiteX2" fmla="*/ 1373 w 8692"/>
              <a:gd name="connsiteY2" fmla="*/ 137 h 10000"/>
              <a:gd name="connsiteX3" fmla="*/ 1414 w 8692"/>
              <a:gd name="connsiteY3" fmla="*/ 617 h 10000"/>
              <a:gd name="connsiteX4" fmla="*/ 1414 w 8692"/>
              <a:gd name="connsiteY4" fmla="*/ 7856 h 10000"/>
              <a:gd name="connsiteX5" fmla="*/ 1457 w 8692"/>
              <a:gd name="connsiteY5" fmla="*/ 8336 h 10000"/>
              <a:gd name="connsiteX6" fmla="*/ 3679 w 8692"/>
              <a:gd name="connsiteY6" fmla="*/ 8336 h 10000"/>
              <a:gd name="connsiteX7" fmla="*/ 3722 w 8692"/>
              <a:gd name="connsiteY7" fmla="*/ 7856 h 10000"/>
              <a:gd name="connsiteX8" fmla="*/ 3722 w 8692"/>
              <a:gd name="connsiteY8" fmla="*/ 3671 h 10000"/>
              <a:gd name="connsiteX9" fmla="*/ 3764 w 8692"/>
              <a:gd name="connsiteY9" fmla="*/ 3190 h 10000"/>
              <a:gd name="connsiteX10" fmla="*/ 6117 w 8692"/>
              <a:gd name="connsiteY10" fmla="*/ 3190 h 10000"/>
              <a:gd name="connsiteX11" fmla="*/ 6159 w 8692"/>
              <a:gd name="connsiteY11" fmla="*/ 3671 h 10000"/>
              <a:gd name="connsiteX12" fmla="*/ 6159 w 8692"/>
              <a:gd name="connsiteY12" fmla="*/ 5300 h 10000"/>
              <a:gd name="connsiteX13" fmla="*/ 6199 w 8692"/>
              <a:gd name="connsiteY13" fmla="*/ 5780 h 10000"/>
              <a:gd name="connsiteX14" fmla="*/ 7050 w 8692"/>
              <a:gd name="connsiteY14" fmla="*/ 5780 h 10000"/>
              <a:gd name="connsiteX15" fmla="*/ 7092 w 8692"/>
              <a:gd name="connsiteY15" fmla="*/ 5300 h 10000"/>
              <a:gd name="connsiteX16" fmla="*/ 7092 w 8692"/>
              <a:gd name="connsiteY16" fmla="*/ 480 h 10000"/>
              <a:gd name="connsiteX17" fmla="*/ 7135 w 8692"/>
              <a:gd name="connsiteY17" fmla="*/ 0 h 10000"/>
              <a:gd name="connsiteX18" fmla="*/ 8609 w 8692"/>
              <a:gd name="connsiteY18" fmla="*/ 0 h 10000"/>
              <a:gd name="connsiteX19" fmla="*/ 8649 w 8692"/>
              <a:gd name="connsiteY19" fmla="*/ 480 h 10000"/>
              <a:gd name="connsiteX20" fmla="*/ 8649 w 8692"/>
              <a:gd name="connsiteY20" fmla="*/ 9520 h 10000"/>
              <a:gd name="connsiteX21" fmla="*/ 8692 w 8692"/>
              <a:gd name="connsiteY21" fmla="*/ 10000 h 10000"/>
              <a:gd name="connsiteX0" fmla="*/ 0 w 9951"/>
              <a:gd name="connsiteY0" fmla="*/ 617 h 9520"/>
              <a:gd name="connsiteX1" fmla="*/ 48 w 9951"/>
              <a:gd name="connsiteY1" fmla="*/ 137 h 9520"/>
              <a:gd name="connsiteX2" fmla="*/ 1580 w 9951"/>
              <a:gd name="connsiteY2" fmla="*/ 137 h 9520"/>
              <a:gd name="connsiteX3" fmla="*/ 1627 w 9951"/>
              <a:gd name="connsiteY3" fmla="*/ 617 h 9520"/>
              <a:gd name="connsiteX4" fmla="*/ 1627 w 9951"/>
              <a:gd name="connsiteY4" fmla="*/ 7856 h 9520"/>
              <a:gd name="connsiteX5" fmla="*/ 1676 w 9951"/>
              <a:gd name="connsiteY5" fmla="*/ 8336 h 9520"/>
              <a:gd name="connsiteX6" fmla="*/ 4233 w 9951"/>
              <a:gd name="connsiteY6" fmla="*/ 8336 h 9520"/>
              <a:gd name="connsiteX7" fmla="*/ 4282 w 9951"/>
              <a:gd name="connsiteY7" fmla="*/ 7856 h 9520"/>
              <a:gd name="connsiteX8" fmla="*/ 4282 w 9951"/>
              <a:gd name="connsiteY8" fmla="*/ 3671 h 9520"/>
              <a:gd name="connsiteX9" fmla="*/ 4330 w 9951"/>
              <a:gd name="connsiteY9" fmla="*/ 3190 h 9520"/>
              <a:gd name="connsiteX10" fmla="*/ 7038 w 9951"/>
              <a:gd name="connsiteY10" fmla="*/ 3190 h 9520"/>
              <a:gd name="connsiteX11" fmla="*/ 7086 w 9951"/>
              <a:gd name="connsiteY11" fmla="*/ 3671 h 9520"/>
              <a:gd name="connsiteX12" fmla="*/ 7086 w 9951"/>
              <a:gd name="connsiteY12" fmla="*/ 5300 h 9520"/>
              <a:gd name="connsiteX13" fmla="*/ 7132 w 9951"/>
              <a:gd name="connsiteY13" fmla="*/ 5780 h 9520"/>
              <a:gd name="connsiteX14" fmla="*/ 8111 w 9951"/>
              <a:gd name="connsiteY14" fmla="*/ 5780 h 9520"/>
              <a:gd name="connsiteX15" fmla="*/ 8159 w 9951"/>
              <a:gd name="connsiteY15" fmla="*/ 5300 h 9520"/>
              <a:gd name="connsiteX16" fmla="*/ 8159 w 9951"/>
              <a:gd name="connsiteY16" fmla="*/ 480 h 9520"/>
              <a:gd name="connsiteX17" fmla="*/ 8209 w 9951"/>
              <a:gd name="connsiteY17" fmla="*/ 0 h 9520"/>
              <a:gd name="connsiteX18" fmla="*/ 9905 w 9951"/>
              <a:gd name="connsiteY18" fmla="*/ 0 h 9520"/>
              <a:gd name="connsiteX19" fmla="*/ 9951 w 9951"/>
              <a:gd name="connsiteY19" fmla="*/ 480 h 9520"/>
              <a:gd name="connsiteX20" fmla="*/ 9951 w 9951"/>
              <a:gd name="connsiteY20" fmla="*/ 9520 h 9520"/>
              <a:gd name="connsiteX0" fmla="*/ 0 w 10000"/>
              <a:gd name="connsiteY0" fmla="*/ 648 h 8756"/>
              <a:gd name="connsiteX1" fmla="*/ 48 w 10000"/>
              <a:gd name="connsiteY1" fmla="*/ 144 h 8756"/>
              <a:gd name="connsiteX2" fmla="*/ 1588 w 10000"/>
              <a:gd name="connsiteY2" fmla="*/ 144 h 8756"/>
              <a:gd name="connsiteX3" fmla="*/ 1635 w 10000"/>
              <a:gd name="connsiteY3" fmla="*/ 648 h 8756"/>
              <a:gd name="connsiteX4" fmla="*/ 1635 w 10000"/>
              <a:gd name="connsiteY4" fmla="*/ 8252 h 8756"/>
              <a:gd name="connsiteX5" fmla="*/ 1684 w 10000"/>
              <a:gd name="connsiteY5" fmla="*/ 8756 h 8756"/>
              <a:gd name="connsiteX6" fmla="*/ 4254 w 10000"/>
              <a:gd name="connsiteY6" fmla="*/ 8756 h 8756"/>
              <a:gd name="connsiteX7" fmla="*/ 4303 w 10000"/>
              <a:gd name="connsiteY7" fmla="*/ 8252 h 8756"/>
              <a:gd name="connsiteX8" fmla="*/ 4303 w 10000"/>
              <a:gd name="connsiteY8" fmla="*/ 3856 h 8756"/>
              <a:gd name="connsiteX9" fmla="*/ 4351 w 10000"/>
              <a:gd name="connsiteY9" fmla="*/ 3351 h 8756"/>
              <a:gd name="connsiteX10" fmla="*/ 7073 w 10000"/>
              <a:gd name="connsiteY10" fmla="*/ 3351 h 8756"/>
              <a:gd name="connsiteX11" fmla="*/ 7121 w 10000"/>
              <a:gd name="connsiteY11" fmla="*/ 3856 h 8756"/>
              <a:gd name="connsiteX12" fmla="*/ 7121 w 10000"/>
              <a:gd name="connsiteY12" fmla="*/ 5567 h 8756"/>
              <a:gd name="connsiteX13" fmla="*/ 7167 w 10000"/>
              <a:gd name="connsiteY13" fmla="*/ 6071 h 8756"/>
              <a:gd name="connsiteX14" fmla="*/ 8151 w 10000"/>
              <a:gd name="connsiteY14" fmla="*/ 6071 h 8756"/>
              <a:gd name="connsiteX15" fmla="*/ 8199 w 10000"/>
              <a:gd name="connsiteY15" fmla="*/ 5567 h 8756"/>
              <a:gd name="connsiteX16" fmla="*/ 8199 w 10000"/>
              <a:gd name="connsiteY16" fmla="*/ 504 h 8756"/>
              <a:gd name="connsiteX17" fmla="*/ 8249 w 10000"/>
              <a:gd name="connsiteY17" fmla="*/ 0 h 8756"/>
              <a:gd name="connsiteX18" fmla="*/ 9954 w 10000"/>
              <a:gd name="connsiteY18" fmla="*/ 0 h 8756"/>
              <a:gd name="connsiteX19" fmla="*/ 10000 w 10000"/>
              <a:gd name="connsiteY19" fmla="*/ 504 h 8756"/>
              <a:gd name="connsiteX0" fmla="*/ 0 w 9954"/>
              <a:gd name="connsiteY0" fmla="*/ 740 h 10000"/>
              <a:gd name="connsiteX1" fmla="*/ 48 w 9954"/>
              <a:gd name="connsiteY1" fmla="*/ 164 h 10000"/>
              <a:gd name="connsiteX2" fmla="*/ 1588 w 9954"/>
              <a:gd name="connsiteY2" fmla="*/ 164 h 10000"/>
              <a:gd name="connsiteX3" fmla="*/ 1635 w 9954"/>
              <a:gd name="connsiteY3" fmla="*/ 740 h 10000"/>
              <a:gd name="connsiteX4" fmla="*/ 1635 w 9954"/>
              <a:gd name="connsiteY4" fmla="*/ 9424 h 10000"/>
              <a:gd name="connsiteX5" fmla="*/ 1684 w 9954"/>
              <a:gd name="connsiteY5" fmla="*/ 10000 h 10000"/>
              <a:gd name="connsiteX6" fmla="*/ 4254 w 9954"/>
              <a:gd name="connsiteY6" fmla="*/ 10000 h 10000"/>
              <a:gd name="connsiteX7" fmla="*/ 4303 w 9954"/>
              <a:gd name="connsiteY7" fmla="*/ 9424 h 10000"/>
              <a:gd name="connsiteX8" fmla="*/ 4303 w 9954"/>
              <a:gd name="connsiteY8" fmla="*/ 4404 h 10000"/>
              <a:gd name="connsiteX9" fmla="*/ 4351 w 9954"/>
              <a:gd name="connsiteY9" fmla="*/ 3827 h 10000"/>
              <a:gd name="connsiteX10" fmla="*/ 7073 w 9954"/>
              <a:gd name="connsiteY10" fmla="*/ 3827 h 10000"/>
              <a:gd name="connsiteX11" fmla="*/ 7121 w 9954"/>
              <a:gd name="connsiteY11" fmla="*/ 4404 h 10000"/>
              <a:gd name="connsiteX12" fmla="*/ 7121 w 9954"/>
              <a:gd name="connsiteY12" fmla="*/ 6358 h 10000"/>
              <a:gd name="connsiteX13" fmla="*/ 7167 w 9954"/>
              <a:gd name="connsiteY13" fmla="*/ 6934 h 10000"/>
              <a:gd name="connsiteX14" fmla="*/ 8151 w 9954"/>
              <a:gd name="connsiteY14" fmla="*/ 6934 h 10000"/>
              <a:gd name="connsiteX15" fmla="*/ 8199 w 9954"/>
              <a:gd name="connsiteY15" fmla="*/ 6358 h 10000"/>
              <a:gd name="connsiteX16" fmla="*/ 8199 w 9954"/>
              <a:gd name="connsiteY16" fmla="*/ 576 h 10000"/>
              <a:gd name="connsiteX17" fmla="*/ 8249 w 9954"/>
              <a:gd name="connsiteY17" fmla="*/ 0 h 10000"/>
              <a:gd name="connsiteX18" fmla="*/ 9954 w 9954"/>
              <a:gd name="connsiteY18" fmla="*/ 0 h 10000"/>
              <a:gd name="connsiteX0" fmla="*/ 0 w 8287"/>
              <a:gd name="connsiteY0" fmla="*/ 740 h 10000"/>
              <a:gd name="connsiteX1" fmla="*/ 48 w 8287"/>
              <a:gd name="connsiteY1" fmla="*/ 164 h 10000"/>
              <a:gd name="connsiteX2" fmla="*/ 1595 w 8287"/>
              <a:gd name="connsiteY2" fmla="*/ 164 h 10000"/>
              <a:gd name="connsiteX3" fmla="*/ 1643 w 8287"/>
              <a:gd name="connsiteY3" fmla="*/ 740 h 10000"/>
              <a:gd name="connsiteX4" fmla="*/ 1643 w 8287"/>
              <a:gd name="connsiteY4" fmla="*/ 9424 h 10000"/>
              <a:gd name="connsiteX5" fmla="*/ 1692 w 8287"/>
              <a:gd name="connsiteY5" fmla="*/ 10000 h 10000"/>
              <a:gd name="connsiteX6" fmla="*/ 4274 w 8287"/>
              <a:gd name="connsiteY6" fmla="*/ 10000 h 10000"/>
              <a:gd name="connsiteX7" fmla="*/ 4323 w 8287"/>
              <a:gd name="connsiteY7" fmla="*/ 9424 h 10000"/>
              <a:gd name="connsiteX8" fmla="*/ 4323 w 8287"/>
              <a:gd name="connsiteY8" fmla="*/ 4404 h 10000"/>
              <a:gd name="connsiteX9" fmla="*/ 4371 w 8287"/>
              <a:gd name="connsiteY9" fmla="*/ 3827 h 10000"/>
              <a:gd name="connsiteX10" fmla="*/ 7106 w 8287"/>
              <a:gd name="connsiteY10" fmla="*/ 3827 h 10000"/>
              <a:gd name="connsiteX11" fmla="*/ 7154 w 8287"/>
              <a:gd name="connsiteY11" fmla="*/ 4404 h 10000"/>
              <a:gd name="connsiteX12" fmla="*/ 7154 w 8287"/>
              <a:gd name="connsiteY12" fmla="*/ 6358 h 10000"/>
              <a:gd name="connsiteX13" fmla="*/ 7200 w 8287"/>
              <a:gd name="connsiteY13" fmla="*/ 6934 h 10000"/>
              <a:gd name="connsiteX14" fmla="*/ 8189 w 8287"/>
              <a:gd name="connsiteY14" fmla="*/ 6934 h 10000"/>
              <a:gd name="connsiteX15" fmla="*/ 8237 w 8287"/>
              <a:gd name="connsiteY15" fmla="*/ 6358 h 10000"/>
              <a:gd name="connsiteX16" fmla="*/ 8237 w 8287"/>
              <a:gd name="connsiteY16" fmla="*/ 576 h 10000"/>
              <a:gd name="connsiteX17" fmla="*/ 8287 w 8287"/>
              <a:gd name="connsiteY17" fmla="*/ 0 h 10000"/>
              <a:gd name="connsiteX0" fmla="*/ 0 w 9940"/>
              <a:gd name="connsiteY0" fmla="*/ 576 h 9836"/>
              <a:gd name="connsiteX1" fmla="*/ 58 w 9940"/>
              <a:gd name="connsiteY1" fmla="*/ 0 h 9836"/>
              <a:gd name="connsiteX2" fmla="*/ 1925 w 9940"/>
              <a:gd name="connsiteY2" fmla="*/ 0 h 9836"/>
              <a:gd name="connsiteX3" fmla="*/ 1983 w 9940"/>
              <a:gd name="connsiteY3" fmla="*/ 576 h 9836"/>
              <a:gd name="connsiteX4" fmla="*/ 1983 w 9940"/>
              <a:gd name="connsiteY4" fmla="*/ 9260 h 9836"/>
              <a:gd name="connsiteX5" fmla="*/ 2042 w 9940"/>
              <a:gd name="connsiteY5" fmla="*/ 9836 h 9836"/>
              <a:gd name="connsiteX6" fmla="*/ 5157 w 9940"/>
              <a:gd name="connsiteY6" fmla="*/ 9836 h 9836"/>
              <a:gd name="connsiteX7" fmla="*/ 5217 w 9940"/>
              <a:gd name="connsiteY7" fmla="*/ 9260 h 9836"/>
              <a:gd name="connsiteX8" fmla="*/ 5217 w 9940"/>
              <a:gd name="connsiteY8" fmla="*/ 4240 h 9836"/>
              <a:gd name="connsiteX9" fmla="*/ 5275 w 9940"/>
              <a:gd name="connsiteY9" fmla="*/ 3663 h 9836"/>
              <a:gd name="connsiteX10" fmla="*/ 8575 w 9940"/>
              <a:gd name="connsiteY10" fmla="*/ 3663 h 9836"/>
              <a:gd name="connsiteX11" fmla="*/ 8633 w 9940"/>
              <a:gd name="connsiteY11" fmla="*/ 4240 h 9836"/>
              <a:gd name="connsiteX12" fmla="*/ 8633 w 9940"/>
              <a:gd name="connsiteY12" fmla="*/ 6194 h 9836"/>
              <a:gd name="connsiteX13" fmla="*/ 8688 w 9940"/>
              <a:gd name="connsiteY13" fmla="*/ 6770 h 9836"/>
              <a:gd name="connsiteX14" fmla="*/ 9882 w 9940"/>
              <a:gd name="connsiteY14" fmla="*/ 6770 h 9836"/>
              <a:gd name="connsiteX15" fmla="*/ 9940 w 9940"/>
              <a:gd name="connsiteY15" fmla="*/ 6194 h 9836"/>
              <a:gd name="connsiteX16" fmla="*/ 9940 w 9940"/>
              <a:gd name="connsiteY16" fmla="*/ 412 h 9836"/>
              <a:gd name="connsiteX0" fmla="*/ 0 w 10000"/>
              <a:gd name="connsiteY0" fmla="*/ 586 h 10000"/>
              <a:gd name="connsiteX1" fmla="*/ 58 w 10000"/>
              <a:gd name="connsiteY1" fmla="*/ 0 h 10000"/>
              <a:gd name="connsiteX2" fmla="*/ 1937 w 10000"/>
              <a:gd name="connsiteY2" fmla="*/ 0 h 10000"/>
              <a:gd name="connsiteX3" fmla="*/ 1995 w 10000"/>
              <a:gd name="connsiteY3" fmla="*/ 586 h 10000"/>
              <a:gd name="connsiteX4" fmla="*/ 1995 w 10000"/>
              <a:gd name="connsiteY4" fmla="*/ 9414 h 10000"/>
              <a:gd name="connsiteX5" fmla="*/ 2054 w 10000"/>
              <a:gd name="connsiteY5" fmla="*/ 10000 h 10000"/>
              <a:gd name="connsiteX6" fmla="*/ 5188 w 10000"/>
              <a:gd name="connsiteY6" fmla="*/ 10000 h 10000"/>
              <a:gd name="connsiteX7" fmla="*/ 5248 w 10000"/>
              <a:gd name="connsiteY7" fmla="*/ 9414 h 10000"/>
              <a:gd name="connsiteX8" fmla="*/ 5248 w 10000"/>
              <a:gd name="connsiteY8" fmla="*/ 4311 h 10000"/>
              <a:gd name="connsiteX9" fmla="*/ 5307 w 10000"/>
              <a:gd name="connsiteY9" fmla="*/ 3724 h 10000"/>
              <a:gd name="connsiteX10" fmla="*/ 8627 w 10000"/>
              <a:gd name="connsiteY10" fmla="*/ 3724 h 10000"/>
              <a:gd name="connsiteX11" fmla="*/ 8685 w 10000"/>
              <a:gd name="connsiteY11" fmla="*/ 4311 h 10000"/>
              <a:gd name="connsiteX12" fmla="*/ 8685 w 10000"/>
              <a:gd name="connsiteY12" fmla="*/ 6297 h 10000"/>
              <a:gd name="connsiteX13" fmla="*/ 8740 w 10000"/>
              <a:gd name="connsiteY13" fmla="*/ 6883 h 10000"/>
              <a:gd name="connsiteX14" fmla="*/ 9942 w 10000"/>
              <a:gd name="connsiteY14" fmla="*/ 6883 h 10000"/>
              <a:gd name="connsiteX15" fmla="*/ 10000 w 10000"/>
              <a:gd name="connsiteY15" fmla="*/ 6297 h 10000"/>
              <a:gd name="connsiteX0" fmla="*/ 0 w 10000"/>
              <a:gd name="connsiteY0" fmla="*/ 586 h 10000"/>
              <a:gd name="connsiteX1" fmla="*/ 1937 w 10000"/>
              <a:gd name="connsiteY1" fmla="*/ 0 h 10000"/>
              <a:gd name="connsiteX2" fmla="*/ 1995 w 10000"/>
              <a:gd name="connsiteY2" fmla="*/ 586 h 10000"/>
              <a:gd name="connsiteX3" fmla="*/ 1995 w 10000"/>
              <a:gd name="connsiteY3" fmla="*/ 9414 h 10000"/>
              <a:gd name="connsiteX4" fmla="*/ 2054 w 10000"/>
              <a:gd name="connsiteY4" fmla="*/ 10000 h 10000"/>
              <a:gd name="connsiteX5" fmla="*/ 5188 w 10000"/>
              <a:gd name="connsiteY5" fmla="*/ 10000 h 10000"/>
              <a:gd name="connsiteX6" fmla="*/ 5248 w 10000"/>
              <a:gd name="connsiteY6" fmla="*/ 9414 h 10000"/>
              <a:gd name="connsiteX7" fmla="*/ 5248 w 10000"/>
              <a:gd name="connsiteY7" fmla="*/ 4311 h 10000"/>
              <a:gd name="connsiteX8" fmla="*/ 5307 w 10000"/>
              <a:gd name="connsiteY8" fmla="*/ 3724 h 10000"/>
              <a:gd name="connsiteX9" fmla="*/ 8627 w 10000"/>
              <a:gd name="connsiteY9" fmla="*/ 3724 h 10000"/>
              <a:gd name="connsiteX10" fmla="*/ 8685 w 10000"/>
              <a:gd name="connsiteY10" fmla="*/ 4311 h 10000"/>
              <a:gd name="connsiteX11" fmla="*/ 8685 w 10000"/>
              <a:gd name="connsiteY11" fmla="*/ 6297 h 10000"/>
              <a:gd name="connsiteX12" fmla="*/ 8740 w 10000"/>
              <a:gd name="connsiteY12" fmla="*/ 6883 h 10000"/>
              <a:gd name="connsiteX13" fmla="*/ 9942 w 10000"/>
              <a:gd name="connsiteY13" fmla="*/ 6883 h 10000"/>
              <a:gd name="connsiteX14" fmla="*/ 10000 w 10000"/>
              <a:gd name="connsiteY14" fmla="*/ 6297 h 10000"/>
              <a:gd name="connsiteX0" fmla="*/ 0 w 8803"/>
              <a:gd name="connsiteY0" fmla="*/ 40 h 10113"/>
              <a:gd name="connsiteX1" fmla="*/ 740 w 8803"/>
              <a:gd name="connsiteY1" fmla="*/ 113 h 10113"/>
              <a:gd name="connsiteX2" fmla="*/ 798 w 8803"/>
              <a:gd name="connsiteY2" fmla="*/ 699 h 10113"/>
              <a:gd name="connsiteX3" fmla="*/ 798 w 8803"/>
              <a:gd name="connsiteY3" fmla="*/ 9527 h 10113"/>
              <a:gd name="connsiteX4" fmla="*/ 857 w 8803"/>
              <a:gd name="connsiteY4" fmla="*/ 10113 h 10113"/>
              <a:gd name="connsiteX5" fmla="*/ 3991 w 8803"/>
              <a:gd name="connsiteY5" fmla="*/ 10113 h 10113"/>
              <a:gd name="connsiteX6" fmla="*/ 4051 w 8803"/>
              <a:gd name="connsiteY6" fmla="*/ 9527 h 10113"/>
              <a:gd name="connsiteX7" fmla="*/ 4051 w 8803"/>
              <a:gd name="connsiteY7" fmla="*/ 4424 h 10113"/>
              <a:gd name="connsiteX8" fmla="*/ 4110 w 8803"/>
              <a:gd name="connsiteY8" fmla="*/ 3837 h 10113"/>
              <a:gd name="connsiteX9" fmla="*/ 7430 w 8803"/>
              <a:gd name="connsiteY9" fmla="*/ 3837 h 10113"/>
              <a:gd name="connsiteX10" fmla="*/ 7488 w 8803"/>
              <a:gd name="connsiteY10" fmla="*/ 4424 h 10113"/>
              <a:gd name="connsiteX11" fmla="*/ 7488 w 8803"/>
              <a:gd name="connsiteY11" fmla="*/ 6410 h 10113"/>
              <a:gd name="connsiteX12" fmla="*/ 7543 w 8803"/>
              <a:gd name="connsiteY12" fmla="*/ 6996 h 10113"/>
              <a:gd name="connsiteX13" fmla="*/ 8745 w 8803"/>
              <a:gd name="connsiteY13" fmla="*/ 6996 h 10113"/>
              <a:gd name="connsiteX14" fmla="*/ 8803 w 8803"/>
              <a:gd name="connsiteY14" fmla="*/ 6410 h 10113"/>
              <a:gd name="connsiteX0" fmla="*/ 0 w 10000"/>
              <a:gd name="connsiteY0" fmla="*/ 75 h 9905"/>
              <a:gd name="connsiteX1" fmla="*/ 841 w 10000"/>
              <a:gd name="connsiteY1" fmla="*/ 17 h 9905"/>
              <a:gd name="connsiteX2" fmla="*/ 907 w 10000"/>
              <a:gd name="connsiteY2" fmla="*/ 596 h 9905"/>
              <a:gd name="connsiteX3" fmla="*/ 907 w 10000"/>
              <a:gd name="connsiteY3" fmla="*/ 9326 h 9905"/>
              <a:gd name="connsiteX4" fmla="*/ 974 w 10000"/>
              <a:gd name="connsiteY4" fmla="*/ 9905 h 9905"/>
              <a:gd name="connsiteX5" fmla="*/ 4534 w 10000"/>
              <a:gd name="connsiteY5" fmla="*/ 9905 h 9905"/>
              <a:gd name="connsiteX6" fmla="*/ 4602 w 10000"/>
              <a:gd name="connsiteY6" fmla="*/ 9326 h 9905"/>
              <a:gd name="connsiteX7" fmla="*/ 4602 w 10000"/>
              <a:gd name="connsiteY7" fmla="*/ 4280 h 9905"/>
              <a:gd name="connsiteX8" fmla="*/ 4669 w 10000"/>
              <a:gd name="connsiteY8" fmla="*/ 3699 h 9905"/>
              <a:gd name="connsiteX9" fmla="*/ 8440 w 10000"/>
              <a:gd name="connsiteY9" fmla="*/ 3699 h 9905"/>
              <a:gd name="connsiteX10" fmla="*/ 8506 w 10000"/>
              <a:gd name="connsiteY10" fmla="*/ 4280 h 9905"/>
              <a:gd name="connsiteX11" fmla="*/ 8506 w 10000"/>
              <a:gd name="connsiteY11" fmla="*/ 6243 h 9905"/>
              <a:gd name="connsiteX12" fmla="*/ 8569 w 10000"/>
              <a:gd name="connsiteY12" fmla="*/ 6823 h 9905"/>
              <a:gd name="connsiteX13" fmla="*/ 9934 w 10000"/>
              <a:gd name="connsiteY13" fmla="*/ 6823 h 9905"/>
              <a:gd name="connsiteX14" fmla="*/ 10000 w 10000"/>
              <a:gd name="connsiteY14" fmla="*/ 6243 h 9905"/>
              <a:gd name="connsiteX0" fmla="*/ 0 w 10000"/>
              <a:gd name="connsiteY0" fmla="*/ 59 h 9983"/>
              <a:gd name="connsiteX1" fmla="*/ 841 w 10000"/>
              <a:gd name="connsiteY1" fmla="*/ 0 h 9983"/>
              <a:gd name="connsiteX2" fmla="*/ 907 w 10000"/>
              <a:gd name="connsiteY2" fmla="*/ 585 h 9983"/>
              <a:gd name="connsiteX3" fmla="*/ 907 w 10000"/>
              <a:gd name="connsiteY3" fmla="*/ 9398 h 9983"/>
              <a:gd name="connsiteX4" fmla="*/ 974 w 10000"/>
              <a:gd name="connsiteY4" fmla="*/ 9983 h 9983"/>
              <a:gd name="connsiteX5" fmla="*/ 4534 w 10000"/>
              <a:gd name="connsiteY5" fmla="*/ 9983 h 9983"/>
              <a:gd name="connsiteX6" fmla="*/ 4602 w 10000"/>
              <a:gd name="connsiteY6" fmla="*/ 9398 h 9983"/>
              <a:gd name="connsiteX7" fmla="*/ 4602 w 10000"/>
              <a:gd name="connsiteY7" fmla="*/ 4304 h 9983"/>
              <a:gd name="connsiteX8" fmla="*/ 4669 w 10000"/>
              <a:gd name="connsiteY8" fmla="*/ 3717 h 9983"/>
              <a:gd name="connsiteX9" fmla="*/ 8440 w 10000"/>
              <a:gd name="connsiteY9" fmla="*/ 3717 h 9983"/>
              <a:gd name="connsiteX10" fmla="*/ 8506 w 10000"/>
              <a:gd name="connsiteY10" fmla="*/ 4304 h 9983"/>
              <a:gd name="connsiteX11" fmla="*/ 8506 w 10000"/>
              <a:gd name="connsiteY11" fmla="*/ 6286 h 9983"/>
              <a:gd name="connsiteX12" fmla="*/ 8569 w 10000"/>
              <a:gd name="connsiteY12" fmla="*/ 6871 h 9983"/>
              <a:gd name="connsiteX13" fmla="*/ 9934 w 10000"/>
              <a:gd name="connsiteY13" fmla="*/ 6871 h 9983"/>
              <a:gd name="connsiteX14" fmla="*/ 10000 w 10000"/>
              <a:gd name="connsiteY14" fmla="*/ 6286 h 9983"/>
              <a:gd name="connsiteX0" fmla="*/ 0 w 10003"/>
              <a:gd name="connsiteY0" fmla="*/ 0 h 10029"/>
              <a:gd name="connsiteX1" fmla="*/ 844 w 10003"/>
              <a:gd name="connsiteY1" fmla="*/ 29 h 10029"/>
              <a:gd name="connsiteX2" fmla="*/ 910 w 10003"/>
              <a:gd name="connsiteY2" fmla="*/ 615 h 10029"/>
              <a:gd name="connsiteX3" fmla="*/ 910 w 10003"/>
              <a:gd name="connsiteY3" fmla="*/ 9443 h 10029"/>
              <a:gd name="connsiteX4" fmla="*/ 977 w 10003"/>
              <a:gd name="connsiteY4" fmla="*/ 10029 h 10029"/>
              <a:gd name="connsiteX5" fmla="*/ 4537 w 10003"/>
              <a:gd name="connsiteY5" fmla="*/ 10029 h 10029"/>
              <a:gd name="connsiteX6" fmla="*/ 4605 w 10003"/>
              <a:gd name="connsiteY6" fmla="*/ 9443 h 10029"/>
              <a:gd name="connsiteX7" fmla="*/ 4605 w 10003"/>
              <a:gd name="connsiteY7" fmla="*/ 4340 h 10029"/>
              <a:gd name="connsiteX8" fmla="*/ 4672 w 10003"/>
              <a:gd name="connsiteY8" fmla="*/ 3752 h 10029"/>
              <a:gd name="connsiteX9" fmla="*/ 8443 w 10003"/>
              <a:gd name="connsiteY9" fmla="*/ 3752 h 10029"/>
              <a:gd name="connsiteX10" fmla="*/ 8509 w 10003"/>
              <a:gd name="connsiteY10" fmla="*/ 4340 h 10029"/>
              <a:gd name="connsiteX11" fmla="*/ 8509 w 10003"/>
              <a:gd name="connsiteY11" fmla="*/ 6326 h 10029"/>
              <a:gd name="connsiteX12" fmla="*/ 8572 w 10003"/>
              <a:gd name="connsiteY12" fmla="*/ 6912 h 10029"/>
              <a:gd name="connsiteX13" fmla="*/ 9937 w 10003"/>
              <a:gd name="connsiteY13" fmla="*/ 6912 h 10029"/>
              <a:gd name="connsiteX14" fmla="*/ 10003 w 10003"/>
              <a:gd name="connsiteY14" fmla="*/ 6326 h 10029"/>
              <a:gd name="connsiteX0" fmla="*/ 0 w 10003"/>
              <a:gd name="connsiteY0" fmla="*/ 59 h 10000"/>
              <a:gd name="connsiteX1" fmla="*/ 844 w 10003"/>
              <a:gd name="connsiteY1" fmla="*/ 0 h 10000"/>
              <a:gd name="connsiteX2" fmla="*/ 910 w 10003"/>
              <a:gd name="connsiteY2" fmla="*/ 586 h 10000"/>
              <a:gd name="connsiteX3" fmla="*/ 910 w 10003"/>
              <a:gd name="connsiteY3" fmla="*/ 9414 h 10000"/>
              <a:gd name="connsiteX4" fmla="*/ 977 w 10003"/>
              <a:gd name="connsiteY4" fmla="*/ 10000 h 10000"/>
              <a:gd name="connsiteX5" fmla="*/ 4537 w 10003"/>
              <a:gd name="connsiteY5" fmla="*/ 10000 h 10000"/>
              <a:gd name="connsiteX6" fmla="*/ 4605 w 10003"/>
              <a:gd name="connsiteY6" fmla="*/ 9414 h 10000"/>
              <a:gd name="connsiteX7" fmla="*/ 4605 w 10003"/>
              <a:gd name="connsiteY7" fmla="*/ 4311 h 10000"/>
              <a:gd name="connsiteX8" fmla="*/ 4672 w 10003"/>
              <a:gd name="connsiteY8" fmla="*/ 3723 h 10000"/>
              <a:gd name="connsiteX9" fmla="*/ 8443 w 10003"/>
              <a:gd name="connsiteY9" fmla="*/ 3723 h 10000"/>
              <a:gd name="connsiteX10" fmla="*/ 8509 w 10003"/>
              <a:gd name="connsiteY10" fmla="*/ 4311 h 10000"/>
              <a:gd name="connsiteX11" fmla="*/ 8509 w 10003"/>
              <a:gd name="connsiteY11" fmla="*/ 6297 h 10000"/>
              <a:gd name="connsiteX12" fmla="*/ 8572 w 10003"/>
              <a:gd name="connsiteY12" fmla="*/ 6883 h 10000"/>
              <a:gd name="connsiteX13" fmla="*/ 9937 w 10003"/>
              <a:gd name="connsiteY13" fmla="*/ 6883 h 10000"/>
              <a:gd name="connsiteX14" fmla="*/ 10003 w 10003"/>
              <a:gd name="connsiteY14" fmla="*/ 6297 h 10000"/>
              <a:gd name="connsiteX0" fmla="*/ 0 w 10003"/>
              <a:gd name="connsiteY0" fmla="*/ 0 h 10029"/>
              <a:gd name="connsiteX1" fmla="*/ 844 w 10003"/>
              <a:gd name="connsiteY1" fmla="*/ 29 h 10029"/>
              <a:gd name="connsiteX2" fmla="*/ 910 w 10003"/>
              <a:gd name="connsiteY2" fmla="*/ 615 h 10029"/>
              <a:gd name="connsiteX3" fmla="*/ 910 w 10003"/>
              <a:gd name="connsiteY3" fmla="*/ 9443 h 10029"/>
              <a:gd name="connsiteX4" fmla="*/ 977 w 10003"/>
              <a:gd name="connsiteY4" fmla="*/ 10029 h 10029"/>
              <a:gd name="connsiteX5" fmla="*/ 4537 w 10003"/>
              <a:gd name="connsiteY5" fmla="*/ 10029 h 10029"/>
              <a:gd name="connsiteX6" fmla="*/ 4605 w 10003"/>
              <a:gd name="connsiteY6" fmla="*/ 9443 h 10029"/>
              <a:gd name="connsiteX7" fmla="*/ 4605 w 10003"/>
              <a:gd name="connsiteY7" fmla="*/ 4340 h 10029"/>
              <a:gd name="connsiteX8" fmla="*/ 4672 w 10003"/>
              <a:gd name="connsiteY8" fmla="*/ 3752 h 10029"/>
              <a:gd name="connsiteX9" fmla="*/ 8443 w 10003"/>
              <a:gd name="connsiteY9" fmla="*/ 3752 h 10029"/>
              <a:gd name="connsiteX10" fmla="*/ 8509 w 10003"/>
              <a:gd name="connsiteY10" fmla="*/ 4340 h 10029"/>
              <a:gd name="connsiteX11" fmla="*/ 8509 w 10003"/>
              <a:gd name="connsiteY11" fmla="*/ 6326 h 10029"/>
              <a:gd name="connsiteX12" fmla="*/ 8572 w 10003"/>
              <a:gd name="connsiteY12" fmla="*/ 6912 h 10029"/>
              <a:gd name="connsiteX13" fmla="*/ 9937 w 10003"/>
              <a:gd name="connsiteY13" fmla="*/ 6912 h 10029"/>
              <a:gd name="connsiteX14" fmla="*/ 10003 w 10003"/>
              <a:gd name="connsiteY14" fmla="*/ 6326 h 10029"/>
              <a:gd name="connsiteX0" fmla="*/ 0 w 10003"/>
              <a:gd name="connsiteY0" fmla="*/ 30 h 10000"/>
              <a:gd name="connsiteX1" fmla="*/ 844 w 10003"/>
              <a:gd name="connsiteY1" fmla="*/ 0 h 10000"/>
              <a:gd name="connsiteX2" fmla="*/ 910 w 10003"/>
              <a:gd name="connsiteY2" fmla="*/ 586 h 10000"/>
              <a:gd name="connsiteX3" fmla="*/ 910 w 10003"/>
              <a:gd name="connsiteY3" fmla="*/ 9414 h 10000"/>
              <a:gd name="connsiteX4" fmla="*/ 977 w 10003"/>
              <a:gd name="connsiteY4" fmla="*/ 10000 h 10000"/>
              <a:gd name="connsiteX5" fmla="*/ 4537 w 10003"/>
              <a:gd name="connsiteY5" fmla="*/ 10000 h 10000"/>
              <a:gd name="connsiteX6" fmla="*/ 4605 w 10003"/>
              <a:gd name="connsiteY6" fmla="*/ 9414 h 10000"/>
              <a:gd name="connsiteX7" fmla="*/ 4605 w 10003"/>
              <a:gd name="connsiteY7" fmla="*/ 4311 h 10000"/>
              <a:gd name="connsiteX8" fmla="*/ 4672 w 10003"/>
              <a:gd name="connsiteY8" fmla="*/ 3723 h 10000"/>
              <a:gd name="connsiteX9" fmla="*/ 8443 w 10003"/>
              <a:gd name="connsiteY9" fmla="*/ 3723 h 10000"/>
              <a:gd name="connsiteX10" fmla="*/ 8509 w 10003"/>
              <a:gd name="connsiteY10" fmla="*/ 4311 h 10000"/>
              <a:gd name="connsiteX11" fmla="*/ 8509 w 10003"/>
              <a:gd name="connsiteY11" fmla="*/ 6297 h 10000"/>
              <a:gd name="connsiteX12" fmla="*/ 8572 w 10003"/>
              <a:gd name="connsiteY12" fmla="*/ 6883 h 10000"/>
              <a:gd name="connsiteX13" fmla="*/ 9937 w 10003"/>
              <a:gd name="connsiteY13" fmla="*/ 6883 h 10000"/>
              <a:gd name="connsiteX14" fmla="*/ 10003 w 10003"/>
              <a:gd name="connsiteY14" fmla="*/ 6297 h 10000"/>
              <a:gd name="connsiteX0" fmla="*/ 0 w 10003"/>
              <a:gd name="connsiteY0" fmla="*/ 0 h 10029"/>
              <a:gd name="connsiteX1" fmla="*/ 844 w 10003"/>
              <a:gd name="connsiteY1" fmla="*/ 29 h 10029"/>
              <a:gd name="connsiteX2" fmla="*/ 910 w 10003"/>
              <a:gd name="connsiteY2" fmla="*/ 615 h 10029"/>
              <a:gd name="connsiteX3" fmla="*/ 910 w 10003"/>
              <a:gd name="connsiteY3" fmla="*/ 9443 h 10029"/>
              <a:gd name="connsiteX4" fmla="*/ 977 w 10003"/>
              <a:gd name="connsiteY4" fmla="*/ 10029 h 10029"/>
              <a:gd name="connsiteX5" fmla="*/ 4537 w 10003"/>
              <a:gd name="connsiteY5" fmla="*/ 10029 h 10029"/>
              <a:gd name="connsiteX6" fmla="*/ 4605 w 10003"/>
              <a:gd name="connsiteY6" fmla="*/ 9443 h 10029"/>
              <a:gd name="connsiteX7" fmla="*/ 4605 w 10003"/>
              <a:gd name="connsiteY7" fmla="*/ 4340 h 10029"/>
              <a:gd name="connsiteX8" fmla="*/ 4672 w 10003"/>
              <a:gd name="connsiteY8" fmla="*/ 3752 h 10029"/>
              <a:gd name="connsiteX9" fmla="*/ 8443 w 10003"/>
              <a:gd name="connsiteY9" fmla="*/ 3752 h 10029"/>
              <a:gd name="connsiteX10" fmla="*/ 8509 w 10003"/>
              <a:gd name="connsiteY10" fmla="*/ 4340 h 10029"/>
              <a:gd name="connsiteX11" fmla="*/ 8509 w 10003"/>
              <a:gd name="connsiteY11" fmla="*/ 6326 h 10029"/>
              <a:gd name="connsiteX12" fmla="*/ 8572 w 10003"/>
              <a:gd name="connsiteY12" fmla="*/ 6912 h 10029"/>
              <a:gd name="connsiteX13" fmla="*/ 9937 w 10003"/>
              <a:gd name="connsiteY13" fmla="*/ 6912 h 10029"/>
              <a:gd name="connsiteX14" fmla="*/ 10003 w 10003"/>
              <a:gd name="connsiteY14" fmla="*/ 6326 h 10029"/>
              <a:gd name="connsiteX0" fmla="*/ 0 w 10003"/>
              <a:gd name="connsiteY0" fmla="*/ 30 h 10000"/>
              <a:gd name="connsiteX1" fmla="*/ 844 w 10003"/>
              <a:gd name="connsiteY1" fmla="*/ 0 h 10000"/>
              <a:gd name="connsiteX2" fmla="*/ 910 w 10003"/>
              <a:gd name="connsiteY2" fmla="*/ 586 h 10000"/>
              <a:gd name="connsiteX3" fmla="*/ 910 w 10003"/>
              <a:gd name="connsiteY3" fmla="*/ 9414 h 10000"/>
              <a:gd name="connsiteX4" fmla="*/ 977 w 10003"/>
              <a:gd name="connsiteY4" fmla="*/ 10000 h 10000"/>
              <a:gd name="connsiteX5" fmla="*/ 4537 w 10003"/>
              <a:gd name="connsiteY5" fmla="*/ 10000 h 10000"/>
              <a:gd name="connsiteX6" fmla="*/ 4605 w 10003"/>
              <a:gd name="connsiteY6" fmla="*/ 9414 h 10000"/>
              <a:gd name="connsiteX7" fmla="*/ 4605 w 10003"/>
              <a:gd name="connsiteY7" fmla="*/ 4311 h 10000"/>
              <a:gd name="connsiteX8" fmla="*/ 4672 w 10003"/>
              <a:gd name="connsiteY8" fmla="*/ 3723 h 10000"/>
              <a:gd name="connsiteX9" fmla="*/ 8443 w 10003"/>
              <a:gd name="connsiteY9" fmla="*/ 3723 h 10000"/>
              <a:gd name="connsiteX10" fmla="*/ 8509 w 10003"/>
              <a:gd name="connsiteY10" fmla="*/ 4311 h 10000"/>
              <a:gd name="connsiteX11" fmla="*/ 8509 w 10003"/>
              <a:gd name="connsiteY11" fmla="*/ 6297 h 10000"/>
              <a:gd name="connsiteX12" fmla="*/ 8572 w 10003"/>
              <a:gd name="connsiteY12" fmla="*/ 6883 h 10000"/>
              <a:gd name="connsiteX13" fmla="*/ 9937 w 10003"/>
              <a:gd name="connsiteY13" fmla="*/ 6883 h 10000"/>
              <a:gd name="connsiteX14" fmla="*/ 10003 w 10003"/>
              <a:gd name="connsiteY14" fmla="*/ 6297 h 10000"/>
              <a:gd name="connsiteX0" fmla="*/ 0 w 10003"/>
              <a:gd name="connsiteY0" fmla="*/ 1 h 10000"/>
              <a:gd name="connsiteX1" fmla="*/ 844 w 10003"/>
              <a:gd name="connsiteY1" fmla="*/ 0 h 10000"/>
              <a:gd name="connsiteX2" fmla="*/ 910 w 10003"/>
              <a:gd name="connsiteY2" fmla="*/ 586 h 10000"/>
              <a:gd name="connsiteX3" fmla="*/ 910 w 10003"/>
              <a:gd name="connsiteY3" fmla="*/ 9414 h 10000"/>
              <a:gd name="connsiteX4" fmla="*/ 977 w 10003"/>
              <a:gd name="connsiteY4" fmla="*/ 10000 h 10000"/>
              <a:gd name="connsiteX5" fmla="*/ 4537 w 10003"/>
              <a:gd name="connsiteY5" fmla="*/ 10000 h 10000"/>
              <a:gd name="connsiteX6" fmla="*/ 4605 w 10003"/>
              <a:gd name="connsiteY6" fmla="*/ 9414 h 10000"/>
              <a:gd name="connsiteX7" fmla="*/ 4605 w 10003"/>
              <a:gd name="connsiteY7" fmla="*/ 4311 h 10000"/>
              <a:gd name="connsiteX8" fmla="*/ 4672 w 10003"/>
              <a:gd name="connsiteY8" fmla="*/ 3723 h 10000"/>
              <a:gd name="connsiteX9" fmla="*/ 8443 w 10003"/>
              <a:gd name="connsiteY9" fmla="*/ 3723 h 10000"/>
              <a:gd name="connsiteX10" fmla="*/ 8509 w 10003"/>
              <a:gd name="connsiteY10" fmla="*/ 4311 h 10000"/>
              <a:gd name="connsiteX11" fmla="*/ 8509 w 10003"/>
              <a:gd name="connsiteY11" fmla="*/ 6297 h 10000"/>
              <a:gd name="connsiteX12" fmla="*/ 8572 w 10003"/>
              <a:gd name="connsiteY12" fmla="*/ 6883 h 10000"/>
              <a:gd name="connsiteX13" fmla="*/ 9937 w 10003"/>
              <a:gd name="connsiteY13" fmla="*/ 6883 h 10000"/>
              <a:gd name="connsiteX14" fmla="*/ 10003 w 10003"/>
              <a:gd name="connsiteY14" fmla="*/ 6297 h 10000"/>
              <a:gd name="connsiteX0" fmla="*/ 0 w 10003"/>
              <a:gd name="connsiteY0" fmla="*/ 1 h 10000"/>
              <a:gd name="connsiteX1" fmla="*/ 844 w 10003"/>
              <a:gd name="connsiteY1" fmla="*/ 0 h 10000"/>
              <a:gd name="connsiteX2" fmla="*/ 910 w 10003"/>
              <a:gd name="connsiteY2" fmla="*/ 586 h 10000"/>
              <a:gd name="connsiteX3" fmla="*/ 910 w 10003"/>
              <a:gd name="connsiteY3" fmla="*/ 9414 h 10000"/>
              <a:gd name="connsiteX4" fmla="*/ 977 w 10003"/>
              <a:gd name="connsiteY4" fmla="*/ 10000 h 10000"/>
              <a:gd name="connsiteX5" fmla="*/ 4537 w 10003"/>
              <a:gd name="connsiteY5" fmla="*/ 10000 h 10000"/>
              <a:gd name="connsiteX6" fmla="*/ 4605 w 10003"/>
              <a:gd name="connsiteY6" fmla="*/ 9414 h 10000"/>
              <a:gd name="connsiteX7" fmla="*/ 4605 w 10003"/>
              <a:gd name="connsiteY7" fmla="*/ 4311 h 10000"/>
              <a:gd name="connsiteX8" fmla="*/ 4672 w 10003"/>
              <a:gd name="connsiteY8" fmla="*/ 3723 h 10000"/>
              <a:gd name="connsiteX9" fmla="*/ 8443 w 10003"/>
              <a:gd name="connsiteY9" fmla="*/ 3723 h 10000"/>
              <a:gd name="connsiteX10" fmla="*/ 8509 w 10003"/>
              <a:gd name="connsiteY10" fmla="*/ 4311 h 10000"/>
              <a:gd name="connsiteX11" fmla="*/ 8509 w 10003"/>
              <a:gd name="connsiteY11" fmla="*/ 6297 h 10000"/>
              <a:gd name="connsiteX12" fmla="*/ 8572 w 10003"/>
              <a:gd name="connsiteY12" fmla="*/ 6883 h 10000"/>
              <a:gd name="connsiteX13" fmla="*/ 10003 w 10003"/>
              <a:gd name="connsiteY13" fmla="*/ 6297 h 10000"/>
              <a:gd name="connsiteX0" fmla="*/ 0 w 9498"/>
              <a:gd name="connsiteY0" fmla="*/ 1 h 10000"/>
              <a:gd name="connsiteX1" fmla="*/ 844 w 9498"/>
              <a:gd name="connsiteY1" fmla="*/ 0 h 10000"/>
              <a:gd name="connsiteX2" fmla="*/ 910 w 9498"/>
              <a:gd name="connsiteY2" fmla="*/ 586 h 10000"/>
              <a:gd name="connsiteX3" fmla="*/ 910 w 9498"/>
              <a:gd name="connsiteY3" fmla="*/ 9414 h 10000"/>
              <a:gd name="connsiteX4" fmla="*/ 977 w 9498"/>
              <a:gd name="connsiteY4" fmla="*/ 10000 h 10000"/>
              <a:gd name="connsiteX5" fmla="*/ 4537 w 9498"/>
              <a:gd name="connsiteY5" fmla="*/ 10000 h 10000"/>
              <a:gd name="connsiteX6" fmla="*/ 4605 w 9498"/>
              <a:gd name="connsiteY6" fmla="*/ 9414 h 10000"/>
              <a:gd name="connsiteX7" fmla="*/ 4605 w 9498"/>
              <a:gd name="connsiteY7" fmla="*/ 4311 h 10000"/>
              <a:gd name="connsiteX8" fmla="*/ 4672 w 9498"/>
              <a:gd name="connsiteY8" fmla="*/ 3723 h 10000"/>
              <a:gd name="connsiteX9" fmla="*/ 8443 w 9498"/>
              <a:gd name="connsiteY9" fmla="*/ 3723 h 10000"/>
              <a:gd name="connsiteX10" fmla="*/ 8509 w 9498"/>
              <a:gd name="connsiteY10" fmla="*/ 4311 h 10000"/>
              <a:gd name="connsiteX11" fmla="*/ 8509 w 9498"/>
              <a:gd name="connsiteY11" fmla="*/ 6297 h 10000"/>
              <a:gd name="connsiteX12" fmla="*/ 8572 w 9498"/>
              <a:gd name="connsiteY12" fmla="*/ 6883 h 10000"/>
              <a:gd name="connsiteX13" fmla="*/ 9498 w 9498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22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22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22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22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22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9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9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9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9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949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1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1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1 w 10000"/>
              <a:gd name="connsiteY12" fmla="*/ 6861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927 h 10000"/>
              <a:gd name="connsiteX13" fmla="*/ 10000 w 10000"/>
              <a:gd name="connsiteY13" fmla="*/ 6912 h 10000"/>
              <a:gd name="connsiteX0" fmla="*/ 0 w 10029"/>
              <a:gd name="connsiteY0" fmla="*/ 1 h 10000"/>
              <a:gd name="connsiteX1" fmla="*/ 889 w 10029"/>
              <a:gd name="connsiteY1" fmla="*/ 0 h 10000"/>
              <a:gd name="connsiteX2" fmla="*/ 958 w 10029"/>
              <a:gd name="connsiteY2" fmla="*/ 586 h 10000"/>
              <a:gd name="connsiteX3" fmla="*/ 958 w 10029"/>
              <a:gd name="connsiteY3" fmla="*/ 9414 h 10000"/>
              <a:gd name="connsiteX4" fmla="*/ 1029 w 10029"/>
              <a:gd name="connsiteY4" fmla="*/ 10000 h 10000"/>
              <a:gd name="connsiteX5" fmla="*/ 4777 w 10029"/>
              <a:gd name="connsiteY5" fmla="*/ 10000 h 10000"/>
              <a:gd name="connsiteX6" fmla="*/ 4848 w 10029"/>
              <a:gd name="connsiteY6" fmla="*/ 9414 h 10000"/>
              <a:gd name="connsiteX7" fmla="*/ 4848 w 10029"/>
              <a:gd name="connsiteY7" fmla="*/ 4311 h 10000"/>
              <a:gd name="connsiteX8" fmla="*/ 4919 w 10029"/>
              <a:gd name="connsiteY8" fmla="*/ 3723 h 10000"/>
              <a:gd name="connsiteX9" fmla="*/ 8889 w 10029"/>
              <a:gd name="connsiteY9" fmla="*/ 3723 h 10000"/>
              <a:gd name="connsiteX10" fmla="*/ 8959 w 10029"/>
              <a:gd name="connsiteY10" fmla="*/ 4311 h 10000"/>
              <a:gd name="connsiteX11" fmla="*/ 8959 w 10029"/>
              <a:gd name="connsiteY11" fmla="*/ 6297 h 10000"/>
              <a:gd name="connsiteX12" fmla="*/ 9014 w 10029"/>
              <a:gd name="connsiteY12" fmla="*/ 6927 h 10000"/>
              <a:gd name="connsiteX13" fmla="*/ 10029 w 10029"/>
              <a:gd name="connsiteY13" fmla="*/ 6912 h 10000"/>
              <a:gd name="connsiteX0" fmla="*/ 0 w 10029"/>
              <a:gd name="connsiteY0" fmla="*/ 1 h 10000"/>
              <a:gd name="connsiteX1" fmla="*/ 889 w 10029"/>
              <a:gd name="connsiteY1" fmla="*/ 0 h 10000"/>
              <a:gd name="connsiteX2" fmla="*/ 958 w 10029"/>
              <a:gd name="connsiteY2" fmla="*/ 586 h 10000"/>
              <a:gd name="connsiteX3" fmla="*/ 958 w 10029"/>
              <a:gd name="connsiteY3" fmla="*/ 9414 h 10000"/>
              <a:gd name="connsiteX4" fmla="*/ 1029 w 10029"/>
              <a:gd name="connsiteY4" fmla="*/ 10000 h 10000"/>
              <a:gd name="connsiteX5" fmla="*/ 4777 w 10029"/>
              <a:gd name="connsiteY5" fmla="*/ 10000 h 10000"/>
              <a:gd name="connsiteX6" fmla="*/ 4848 w 10029"/>
              <a:gd name="connsiteY6" fmla="*/ 9414 h 10000"/>
              <a:gd name="connsiteX7" fmla="*/ 4848 w 10029"/>
              <a:gd name="connsiteY7" fmla="*/ 4311 h 10000"/>
              <a:gd name="connsiteX8" fmla="*/ 4919 w 10029"/>
              <a:gd name="connsiteY8" fmla="*/ 3723 h 10000"/>
              <a:gd name="connsiteX9" fmla="*/ 8889 w 10029"/>
              <a:gd name="connsiteY9" fmla="*/ 3723 h 10000"/>
              <a:gd name="connsiteX10" fmla="*/ 8959 w 10029"/>
              <a:gd name="connsiteY10" fmla="*/ 4311 h 10000"/>
              <a:gd name="connsiteX11" fmla="*/ 8959 w 10029"/>
              <a:gd name="connsiteY11" fmla="*/ 6297 h 10000"/>
              <a:gd name="connsiteX12" fmla="*/ 9014 w 10029"/>
              <a:gd name="connsiteY12" fmla="*/ 6927 h 10000"/>
              <a:gd name="connsiteX13" fmla="*/ 10029 w 10029"/>
              <a:gd name="connsiteY13" fmla="*/ 6912 h 10000"/>
              <a:gd name="connsiteX0" fmla="*/ 0 w 10063"/>
              <a:gd name="connsiteY0" fmla="*/ 1 h 10000"/>
              <a:gd name="connsiteX1" fmla="*/ 889 w 10063"/>
              <a:gd name="connsiteY1" fmla="*/ 0 h 10000"/>
              <a:gd name="connsiteX2" fmla="*/ 958 w 10063"/>
              <a:gd name="connsiteY2" fmla="*/ 586 h 10000"/>
              <a:gd name="connsiteX3" fmla="*/ 958 w 10063"/>
              <a:gd name="connsiteY3" fmla="*/ 9414 h 10000"/>
              <a:gd name="connsiteX4" fmla="*/ 1029 w 10063"/>
              <a:gd name="connsiteY4" fmla="*/ 10000 h 10000"/>
              <a:gd name="connsiteX5" fmla="*/ 4777 w 10063"/>
              <a:gd name="connsiteY5" fmla="*/ 10000 h 10000"/>
              <a:gd name="connsiteX6" fmla="*/ 4848 w 10063"/>
              <a:gd name="connsiteY6" fmla="*/ 9414 h 10000"/>
              <a:gd name="connsiteX7" fmla="*/ 4848 w 10063"/>
              <a:gd name="connsiteY7" fmla="*/ 4311 h 10000"/>
              <a:gd name="connsiteX8" fmla="*/ 4919 w 10063"/>
              <a:gd name="connsiteY8" fmla="*/ 3723 h 10000"/>
              <a:gd name="connsiteX9" fmla="*/ 8889 w 10063"/>
              <a:gd name="connsiteY9" fmla="*/ 3723 h 10000"/>
              <a:gd name="connsiteX10" fmla="*/ 8959 w 10063"/>
              <a:gd name="connsiteY10" fmla="*/ 4311 h 10000"/>
              <a:gd name="connsiteX11" fmla="*/ 8959 w 10063"/>
              <a:gd name="connsiteY11" fmla="*/ 6297 h 10000"/>
              <a:gd name="connsiteX12" fmla="*/ 9014 w 10063"/>
              <a:gd name="connsiteY12" fmla="*/ 6927 h 10000"/>
              <a:gd name="connsiteX13" fmla="*/ 10063 w 10063"/>
              <a:gd name="connsiteY13" fmla="*/ 6912 h 10000"/>
              <a:gd name="connsiteX0" fmla="*/ 0 w 9995"/>
              <a:gd name="connsiteY0" fmla="*/ 1 h 10000"/>
              <a:gd name="connsiteX1" fmla="*/ 889 w 9995"/>
              <a:gd name="connsiteY1" fmla="*/ 0 h 10000"/>
              <a:gd name="connsiteX2" fmla="*/ 958 w 9995"/>
              <a:gd name="connsiteY2" fmla="*/ 586 h 10000"/>
              <a:gd name="connsiteX3" fmla="*/ 958 w 9995"/>
              <a:gd name="connsiteY3" fmla="*/ 9414 h 10000"/>
              <a:gd name="connsiteX4" fmla="*/ 1029 w 9995"/>
              <a:gd name="connsiteY4" fmla="*/ 10000 h 10000"/>
              <a:gd name="connsiteX5" fmla="*/ 4777 w 9995"/>
              <a:gd name="connsiteY5" fmla="*/ 10000 h 10000"/>
              <a:gd name="connsiteX6" fmla="*/ 4848 w 9995"/>
              <a:gd name="connsiteY6" fmla="*/ 9414 h 10000"/>
              <a:gd name="connsiteX7" fmla="*/ 4848 w 9995"/>
              <a:gd name="connsiteY7" fmla="*/ 4311 h 10000"/>
              <a:gd name="connsiteX8" fmla="*/ 4919 w 9995"/>
              <a:gd name="connsiteY8" fmla="*/ 3723 h 10000"/>
              <a:gd name="connsiteX9" fmla="*/ 8889 w 9995"/>
              <a:gd name="connsiteY9" fmla="*/ 3723 h 10000"/>
              <a:gd name="connsiteX10" fmla="*/ 8959 w 9995"/>
              <a:gd name="connsiteY10" fmla="*/ 4311 h 10000"/>
              <a:gd name="connsiteX11" fmla="*/ 8959 w 9995"/>
              <a:gd name="connsiteY11" fmla="*/ 6297 h 10000"/>
              <a:gd name="connsiteX12" fmla="*/ 9014 w 9995"/>
              <a:gd name="connsiteY12" fmla="*/ 6927 h 10000"/>
              <a:gd name="connsiteX13" fmla="*/ 9995 w 9995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19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19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19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19 w 10000"/>
              <a:gd name="connsiteY12" fmla="*/ 6927 h 10000"/>
              <a:gd name="connsiteX13" fmla="*/ 10000 w 10000"/>
              <a:gd name="connsiteY13" fmla="*/ 6978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19 w 10000"/>
              <a:gd name="connsiteY12" fmla="*/ 6927 h 10000"/>
              <a:gd name="connsiteX13" fmla="*/ 10000 w 10000"/>
              <a:gd name="connsiteY13" fmla="*/ 6934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22 w 10000"/>
              <a:gd name="connsiteY12" fmla="*/ 6949 h 10000"/>
              <a:gd name="connsiteX13" fmla="*/ 10000 w 10000"/>
              <a:gd name="connsiteY13" fmla="*/ 6934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49 h 10000"/>
              <a:gd name="connsiteX13" fmla="*/ 10010 w 10010"/>
              <a:gd name="connsiteY13" fmla="*/ 6956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6956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6956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7000 h 10000"/>
              <a:gd name="connsiteX0" fmla="*/ 0 w 10007"/>
              <a:gd name="connsiteY0" fmla="*/ 1 h 10000"/>
              <a:gd name="connsiteX1" fmla="*/ 889 w 10007"/>
              <a:gd name="connsiteY1" fmla="*/ 0 h 10000"/>
              <a:gd name="connsiteX2" fmla="*/ 958 w 10007"/>
              <a:gd name="connsiteY2" fmla="*/ 586 h 10000"/>
              <a:gd name="connsiteX3" fmla="*/ 958 w 10007"/>
              <a:gd name="connsiteY3" fmla="*/ 9414 h 10000"/>
              <a:gd name="connsiteX4" fmla="*/ 1030 w 10007"/>
              <a:gd name="connsiteY4" fmla="*/ 10000 h 10000"/>
              <a:gd name="connsiteX5" fmla="*/ 4779 w 10007"/>
              <a:gd name="connsiteY5" fmla="*/ 10000 h 10000"/>
              <a:gd name="connsiteX6" fmla="*/ 4850 w 10007"/>
              <a:gd name="connsiteY6" fmla="*/ 9414 h 10000"/>
              <a:gd name="connsiteX7" fmla="*/ 4850 w 10007"/>
              <a:gd name="connsiteY7" fmla="*/ 4311 h 10000"/>
              <a:gd name="connsiteX8" fmla="*/ 4921 w 10007"/>
              <a:gd name="connsiteY8" fmla="*/ 3723 h 10000"/>
              <a:gd name="connsiteX9" fmla="*/ 8893 w 10007"/>
              <a:gd name="connsiteY9" fmla="*/ 3723 h 10000"/>
              <a:gd name="connsiteX10" fmla="*/ 8963 w 10007"/>
              <a:gd name="connsiteY10" fmla="*/ 4311 h 10000"/>
              <a:gd name="connsiteX11" fmla="*/ 8963 w 10007"/>
              <a:gd name="connsiteY11" fmla="*/ 6297 h 10000"/>
              <a:gd name="connsiteX12" fmla="*/ 9022 w 10007"/>
              <a:gd name="connsiteY12" fmla="*/ 6971 h 10000"/>
              <a:gd name="connsiteX13" fmla="*/ 10007 w 10007"/>
              <a:gd name="connsiteY13" fmla="*/ 6956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7000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6956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7000 h 10000"/>
              <a:gd name="connsiteX0" fmla="*/ 0 w 10013"/>
              <a:gd name="connsiteY0" fmla="*/ 1 h 10000"/>
              <a:gd name="connsiteX1" fmla="*/ 889 w 10013"/>
              <a:gd name="connsiteY1" fmla="*/ 0 h 10000"/>
              <a:gd name="connsiteX2" fmla="*/ 958 w 10013"/>
              <a:gd name="connsiteY2" fmla="*/ 586 h 10000"/>
              <a:gd name="connsiteX3" fmla="*/ 958 w 10013"/>
              <a:gd name="connsiteY3" fmla="*/ 9414 h 10000"/>
              <a:gd name="connsiteX4" fmla="*/ 1030 w 10013"/>
              <a:gd name="connsiteY4" fmla="*/ 10000 h 10000"/>
              <a:gd name="connsiteX5" fmla="*/ 4779 w 10013"/>
              <a:gd name="connsiteY5" fmla="*/ 10000 h 10000"/>
              <a:gd name="connsiteX6" fmla="*/ 4850 w 10013"/>
              <a:gd name="connsiteY6" fmla="*/ 9414 h 10000"/>
              <a:gd name="connsiteX7" fmla="*/ 4850 w 10013"/>
              <a:gd name="connsiteY7" fmla="*/ 4311 h 10000"/>
              <a:gd name="connsiteX8" fmla="*/ 4921 w 10013"/>
              <a:gd name="connsiteY8" fmla="*/ 3723 h 10000"/>
              <a:gd name="connsiteX9" fmla="*/ 8893 w 10013"/>
              <a:gd name="connsiteY9" fmla="*/ 3723 h 10000"/>
              <a:gd name="connsiteX10" fmla="*/ 8963 w 10013"/>
              <a:gd name="connsiteY10" fmla="*/ 4311 h 10000"/>
              <a:gd name="connsiteX11" fmla="*/ 8963 w 10013"/>
              <a:gd name="connsiteY11" fmla="*/ 6297 h 10000"/>
              <a:gd name="connsiteX12" fmla="*/ 9022 w 10013"/>
              <a:gd name="connsiteY12" fmla="*/ 6971 h 10000"/>
              <a:gd name="connsiteX13" fmla="*/ 10013 w 10013"/>
              <a:gd name="connsiteY13" fmla="*/ 6956 h 10000"/>
              <a:gd name="connsiteX0" fmla="*/ 0 w 10081"/>
              <a:gd name="connsiteY0" fmla="*/ 1 h 10000"/>
              <a:gd name="connsiteX1" fmla="*/ 889 w 10081"/>
              <a:gd name="connsiteY1" fmla="*/ 0 h 10000"/>
              <a:gd name="connsiteX2" fmla="*/ 958 w 10081"/>
              <a:gd name="connsiteY2" fmla="*/ 586 h 10000"/>
              <a:gd name="connsiteX3" fmla="*/ 958 w 10081"/>
              <a:gd name="connsiteY3" fmla="*/ 9414 h 10000"/>
              <a:gd name="connsiteX4" fmla="*/ 1030 w 10081"/>
              <a:gd name="connsiteY4" fmla="*/ 10000 h 10000"/>
              <a:gd name="connsiteX5" fmla="*/ 4779 w 10081"/>
              <a:gd name="connsiteY5" fmla="*/ 10000 h 10000"/>
              <a:gd name="connsiteX6" fmla="*/ 4850 w 10081"/>
              <a:gd name="connsiteY6" fmla="*/ 9414 h 10000"/>
              <a:gd name="connsiteX7" fmla="*/ 4850 w 10081"/>
              <a:gd name="connsiteY7" fmla="*/ 4311 h 10000"/>
              <a:gd name="connsiteX8" fmla="*/ 4921 w 10081"/>
              <a:gd name="connsiteY8" fmla="*/ 3723 h 10000"/>
              <a:gd name="connsiteX9" fmla="*/ 8893 w 10081"/>
              <a:gd name="connsiteY9" fmla="*/ 3723 h 10000"/>
              <a:gd name="connsiteX10" fmla="*/ 8963 w 10081"/>
              <a:gd name="connsiteY10" fmla="*/ 4311 h 10000"/>
              <a:gd name="connsiteX11" fmla="*/ 8963 w 10081"/>
              <a:gd name="connsiteY11" fmla="*/ 6297 h 10000"/>
              <a:gd name="connsiteX12" fmla="*/ 9022 w 10081"/>
              <a:gd name="connsiteY12" fmla="*/ 6971 h 10000"/>
              <a:gd name="connsiteX13" fmla="*/ 10081 w 10081"/>
              <a:gd name="connsiteY13" fmla="*/ 6978 h 10000"/>
              <a:gd name="connsiteX0" fmla="*/ 0 w 10089"/>
              <a:gd name="connsiteY0" fmla="*/ 1 h 10000"/>
              <a:gd name="connsiteX1" fmla="*/ 889 w 10089"/>
              <a:gd name="connsiteY1" fmla="*/ 0 h 10000"/>
              <a:gd name="connsiteX2" fmla="*/ 958 w 10089"/>
              <a:gd name="connsiteY2" fmla="*/ 586 h 10000"/>
              <a:gd name="connsiteX3" fmla="*/ 958 w 10089"/>
              <a:gd name="connsiteY3" fmla="*/ 9414 h 10000"/>
              <a:gd name="connsiteX4" fmla="*/ 1030 w 10089"/>
              <a:gd name="connsiteY4" fmla="*/ 10000 h 10000"/>
              <a:gd name="connsiteX5" fmla="*/ 4779 w 10089"/>
              <a:gd name="connsiteY5" fmla="*/ 10000 h 10000"/>
              <a:gd name="connsiteX6" fmla="*/ 4850 w 10089"/>
              <a:gd name="connsiteY6" fmla="*/ 9414 h 10000"/>
              <a:gd name="connsiteX7" fmla="*/ 4850 w 10089"/>
              <a:gd name="connsiteY7" fmla="*/ 4311 h 10000"/>
              <a:gd name="connsiteX8" fmla="*/ 4921 w 10089"/>
              <a:gd name="connsiteY8" fmla="*/ 3723 h 10000"/>
              <a:gd name="connsiteX9" fmla="*/ 8893 w 10089"/>
              <a:gd name="connsiteY9" fmla="*/ 3723 h 10000"/>
              <a:gd name="connsiteX10" fmla="*/ 8963 w 10089"/>
              <a:gd name="connsiteY10" fmla="*/ 4311 h 10000"/>
              <a:gd name="connsiteX11" fmla="*/ 8963 w 10089"/>
              <a:gd name="connsiteY11" fmla="*/ 6297 h 10000"/>
              <a:gd name="connsiteX12" fmla="*/ 9022 w 10089"/>
              <a:gd name="connsiteY12" fmla="*/ 6971 h 10000"/>
              <a:gd name="connsiteX13" fmla="*/ 10089 w 10089"/>
              <a:gd name="connsiteY13" fmla="*/ 6956 h 10000"/>
              <a:gd name="connsiteX0" fmla="*/ 0 w 10092"/>
              <a:gd name="connsiteY0" fmla="*/ 1 h 10000"/>
              <a:gd name="connsiteX1" fmla="*/ 889 w 10092"/>
              <a:gd name="connsiteY1" fmla="*/ 0 h 10000"/>
              <a:gd name="connsiteX2" fmla="*/ 958 w 10092"/>
              <a:gd name="connsiteY2" fmla="*/ 586 h 10000"/>
              <a:gd name="connsiteX3" fmla="*/ 958 w 10092"/>
              <a:gd name="connsiteY3" fmla="*/ 9414 h 10000"/>
              <a:gd name="connsiteX4" fmla="*/ 1030 w 10092"/>
              <a:gd name="connsiteY4" fmla="*/ 10000 h 10000"/>
              <a:gd name="connsiteX5" fmla="*/ 4779 w 10092"/>
              <a:gd name="connsiteY5" fmla="*/ 10000 h 10000"/>
              <a:gd name="connsiteX6" fmla="*/ 4850 w 10092"/>
              <a:gd name="connsiteY6" fmla="*/ 9414 h 10000"/>
              <a:gd name="connsiteX7" fmla="*/ 4850 w 10092"/>
              <a:gd name="connsiteY7" fmla="*/ 4311 h 10000"/>
              <a:gd name="connsiteX8" fmla="*/ 4921 w 10092"/>
              <a:gd name="connsiteY8" fmla="*/ 3723 h 10000"/>
              <a:gd name="connsiteX9" fmla="*/ 8893 w 10092"/>
              <a:gd name="connsiteY9" fmla="*/ 3723 h 10000"/>
              <a:gd name="connsiteX10" fmla="*/ 8963 w 10092"/>
              <a:gd name="connsiteY10" fmla="*/ 4311 h 10000"/>
              <a:gd name="connsiteX11" fmla="*/ 8963 w 10092"/>
              <a:gd name="connsiteY11" fmla="*/ 6297 h 10000"/>
              <a:gd name="connsiteX12" fmla="*/ 9022 w 10092"/>
              <a:gd name="connsiteY12" fmla="*/ 6971 h 10000"/>
              <a:gd name="connsiteX13" fmla="*/ 10092 w 10092"/>
              <a:gd name="connsiteY13" fmla="*/ 6978 h 10000"/>
              <a:gd name="connsiteX0" fmla="*/ 0 w 10095"/>
              <a:gd name="connsiteY0" fmla="*/ 1 h 10000"/>
              <a:gd name="connsiteX1" fmla="*/ 889 w 10095"/>
              <a:gd name="connsiteY1" fmla="*/ 0 h 10000"/>
              <a:gd name="connsiteX2" fmla="*/ 958 w 10095"/>
              <a:gd name="connsiteY2" fmla="*/ 586 h 10000"/>
              <a:gd name="connsiteX3" fmla="*/ 958 w 10095"/>
              <a:gd name="connsiteY3" fmla="*/ 9414 h 10000"/>
              <a:gd name="connsiteX4" fmla="*/ 1030 w 10095"/>
              <a:gd name="connsiteY4" fmla="*/ 10000 h 10000"/>
              <a:gd name="connsiteX5" fmla="*/ 4779 w 10095"/>
              <a:gd name="connsiteY5" fmla="*/ 10000 h 10000"/>
              <a:gd name="connsiteX6" fmla="*/ 4850 w 10095"/>
              <a:gd name="connsiteY6" fmla="*/ 9414 h 10000"/>
              <a:gd name="connsiteX7" fmla="*/ 4850 w 10095"/>
              <a:gd name="connsiteY7" fmla="*/ 4311 h 10000"/>
              <a:gd name="connsiteX8" fmla="*/ 4921 w 10095"/>
              <a:gd name="connsiteY8" fmla="*/ 3723 h 10000"/>
              <a:gd name="connsiteX9" fmla="*/ 8893 w 10095"/>
              <a:gd name="connsiteY9" fmla="*/ 3723 h 10000"/>
              <a:gd name="connsiteX10" fmla="*/ 8963 w 10095"/>
              <a:gd name="connsiteY10" fmla="*/ 4311 h 10000"/>
              <a:gd name="connsiteX11" fmla="*/ 8963 w 10095"/>
              <a:gd name="connsiteY11" fmla="*/ 6297 h 10000"/>
              <a:gd name="connsiteX12" fmla="*/ 9022 w 10095"/>
              <a:gd name="connsiteY12" fmla="*/ 6971 h 10000"/>
              <a:gd name="connsiteX13" fmla="*/ 10095 w 10095"/>
              <a:gd name="connsiteY13" fmla="*/ 6978 h 10000"/>
              <a:gd name="connsiteX0" fmla="*/ 0 w 10095"/>
              <a:gd name="connsiteY0" fmla="*/ 1 h 10000"/>
              <a:gd name="connsiteX1" fmla="*/ 889 w 10095"/>
              <a:gd name="connsiteY1" fmla="*/ 0 h 10000"/>
              <a:gd name="connsiteX2" fmla="*/ 958 w 10095"/>
              <a:gd name="connsiteY2" fmla="*/ 586 h 10000"/>
              <a:gd name="connsiteX3" fmla="*/ 958 w 10095"/>
              <a:gd name="connsiteY3" fmla="*/ 9414 h 10000"/>
              <a:gd name="connsiteX4" fmla="*/ 1030 w 10095"/>
              <a:gd name="connsiteY4" fmla="*/ 10000 h 10000"/>
              <a:gd name="connsiteX5" fmla="*/ 4779 w 10095"/>
              <a:gd name="connsiteY5" fmla="*/ 10000 h 10000"/>
              <a:gd name="connsiteX6" fmla="*/ 4850 w 10095"/>
              <a:gd name="connsiteY6" fmla="*/ 9414 h 10000"/>
              <a:gd name="connsiteX7" fmla="*/ 4850 w 10095"/>
              <a:gd name="connsiteY7" fmla="*/ 4311 h 10000"/>
              <a:gd name="connsiteX8" fmla="*/ 4921 w 10095"/>
              <a:gd name="connsiteY8" fmla="*/ 3723 h 10000"/>
              <a:gd name="connsiteX9" fmla="*/ 8893 w 10095"/>
              <a:gd name="connsiteY9" fmla="*/ 3723 h 10000"/>
              <a:gd name="connsiteX10" fmla="*/ 8963 w 10095"/>
              <a:gd name="connsiteY10" fmla="*/ 4311 h 10000"/>
              <a:gd name="connsiteX11" fmla="*/ 8963 w 10095"/>
              <a:gd name="connsiteY11" fmla="*/ 6297 h 10000"/>
              <a:gd name="connsiteX12" fmla="*/ 9022 w 10095"/>
              <a:gd name="connsiteY12" fmla="*/ 6971 h 10000"/>
              <a:gd name="connsiteX13" fmla="*/ 10095 w 10095"/>
              <a:gd name="connsiteY13" fmla="*/ 6978 h 10000"/>
              <a:gd name="connsiteX0" fmla="*/ 0 w 10095"/>
              <a:gd name="connsiteY0" fmla="*/ 1 h 10000"/>
              <a:gd name="connsiteX1" fmla="*/ 889 w 10095"/>
              <a:gd name="connsiteY1" fmla="*/ 0 h 10000"/>
              <a:gd name="connsiteX2" fmla="*/ 958 w 10095"/>
              <a:gd name="connsiteY2" fmla="*/ 586 h 10000"/>
              <a:gd name="connsiteX3" fmla="*/ 958 w 10095"/>
              <a:gd name="connsiteY3" fmla="*/ 9414 h 10000"/>
              <a:gd name="connsiteX4" fmla="*/ 1030 w 10095"/>
              <a:gd name="connsiteY4" fmla="*/ 10000 h 10000"/>
              <a:gd name="connsiteX5" fmla="*/ 4779 w 10095"/>
              <a:gd name="connsiteY5" fmla="*/ 10000 h 10000"/>
              <a:gd name="connsiteX6" fmla="*/ 4850 w 10095"/>
              <a:gd name="connsiteY6" fmla="*/ 9414 h 10000"/>
              <a:gd name="connsiteX7" fmla="*/ 4850 w 10095"/>
              <a:gd name="connsiteY7" fmla="*/ 4311 h 10000"/>
              <a:gd name="connsiteX8" fmla="*/ 4921 w 10095"/>
              <a:gd name="connsiteY8" fmla="*/ 3723 h 10000"/>
              <a:gd name="connsiteX9" fmla="*/ 8893 w 10095"/>
              <a:gd name="connsiteY9" fmla="*/ 3723 h 10000"/>
              <a:gd name="connsiteX10" fmla="*/ 8963 w 10095"/>
              <a:gd name="connsiteY10" fmla="*/ 4311 h 10000"/>
              <a:gd name="connsiteX11" fmla="*/ 8963 w 10095"/>
              <a:gd name="connsiteY11" fmla="*/ 6297 h 10000"/>
              <a:gd name="connsiteX12" fmla="*/ 9022 w 10095"/>
              <a:gd name="connsiteY12" fmla="*/ 6971 h 10000"/>
              <a:gd name="connsiteX13" fmla="*/ 10095 w 10095"/>
              <a:gd name="connsiteY13" fmla="*/ 6912 h 10000"/>
              <a:gd name="connsiteX0" fmla="*/ 0 w 10105"/>
              <a:gd name="connsiteY0" fmla="*/ 1 h 10000"/>
              <a:gd name="connsiteX1" fmla="*/ 889 w 10105"/>
              <a:gd name="connsiteY1" fmla="*/ 0 h 10000"/>
              <a:gd name="connsiteX2" fmla="*/ 958 w 10105"/>
              <a:gd name="connsiteY2" fmla="*/ 586 h 10000"/>
              <a:gd name="connsiteX3" fmla="*/ 958 w 10105"/>
              <a:gd name="connsiteY3" fmla="*/ 9414 h 10000"/>
              <a:gd name="connsiteX4" fmla="*/ 1030 w 10105"/>
              <a:gd name="connsiteY4" fmla="*/ 10000 h 10000"/>
              <a:gd name="connsiteX5" fmla="*/ 4779 w 10105"/>
              <a:gd name="connsiteY5" fmla="*/ 10000 h 10000"/>
              <a:gd name="connsiteX6" fmla="*/ 4850 w 10105"/>
              <a:gd name="connsiteY6" fmla="*/ 9414 h 10000"/>
              <a:gd name="connsiteX7" fmla="*/ 4850 w 10105"/>
              <a:gd name="connsiteY7" fmla="*/ 4311 h 10000"/>
              <a:gd name="connsiteX8" fmla="*/ 4921 w 10105"/>
              <a:gd name="connsiteY8" fmla="*/ 3723 h 10000"/>
              <a:gd name="connsiteX9" fmla="*/ 8893 w 10105"/>
              <a:gd name="connsiteY9" fmla="*/ 3723 h 10000"/>
              <a:gd name="connsiteX10" fmla="*/ 8963 w 10105"/>
              <a:gd name="connsiteY10" fmla="*/ 4311 h 10000"/>
              <a:gd name="connsiteX11" fmla="*/ 8963 w 10105"/>
              <a:gd name="connsiteY11" fmla="*/ 6297 h 10000"/>
              <a:gd name="connsiteX12" fmla="*/ 9022 w 10105"/>
              <a:gd name="connsiteY12" fmla="*/ 6971 h 10000"/>
              <a:gd name="connsiteX13" fmla="*/ 10105 w 10105"/>
              <a:gd name="connsiteY13" fmla="*/ 6978 h 10000"/>
              <a:gd name="connsiteX0" fmla="*/ 0 w 10105"/>
              <a:gd name="connsiteY0" fmla="*/ 1 h 10000"/>
              <a:gd name="connsiteX1" fmla="*/ 889 w 10105"/>
              <a:gd name="connsiteY1" fmla="*/ 0 h 10000"/>
              <a:gd name="connsiteX2" fmla="*/ 958 w 10105"/>
              <a:gd name="connsiteY2" fmla="*/ 586 h 10000"/>
              <a:gd name="connsiteX3" fmla="*/ 958 w 10105"/>
              <a:gd name="connsiteY3" fmla="*/ 9414 h 10000"/>
              <a:gd name="connsiteX4" fmla="*/ 1030 w 10105"/>
              <a:gd name="connsiteY4" fmla="*/ 10000 h 10000"/>
              <a:gd name="connsiteX5" fmla="*/ 4779 w 10105"/>
              <a:gd name="connsiteY5" fmla="*/ 10000 h 10000"/>
              <a:gd name="connsiteX6" fmla="*/ 4850 w 10105"/>
              <a:gd name="connsiteY6" fmla="*/ 9414 h 10000"/>
              <a:gd name="connsiteX7" fmla="*/ 4850 w 10105"/>
              <a:gd name="connsiteY7" fmla="*/ 4311 h 10000"/>
              <a:gd name="connsiteX8" fmla="*/ 4921 w 10105"/>
              <a:gd name="connsiteY8" fmla="*/ 3723 h 10000"/>
              <a:gd name="connsiteX9" fmla="*/ 8893 w 10105"/>
              <a:gd name="connsiteY9" fmla="*/ 3723 h 10000"/>
              <a:gd name="connsiteX10" fmla="*/ 8963 w 10105"/>
              <a:gd name="connsiteY10" fmla="*/ 4311 h 10000"/>
              <a:gd name="connsiteX11" fmla="*/ 8963 w 10105"/>
              <a:gd name="connsiteY11" fmla="*/ 6297 h 10000"/>
              <a:gd name="connsiteX12" fmla="*/ 9022 w 10105"/>
              <a:gd name="connsiteY12" fmla="*/ 6971 h 10000"/>
              <a:gd name="connsiteX13" fmla="*/ 10105 w 10105"/>
              <a:gd name="connsiteY13" fmla="*/ 6978 h 10000"/>
              <a:gd name="connsiteX0" fmla="*/ 0 w 10105"/>
              <a:gd name="connsiteY0" fmla="*/ 1 h 10000"/>
              <a:gd name="connsiteX1" fmla="*/ 889 w 10105"/>
              <a:gd name="connsiteY1" fmla="*/ 0 h 10000"/>
              <a:gd name="connsiteX2" fmla="*/ 958 w 10105"/>
              <a:gd name="connsiteY2" fmla="*/ 586 h 10000"/>
              <a:gd name="connsiteX3" fmla="*/ 958 w 10105"/>
              <a:gd name="connsiteY3" fmla="*/ 9414 h 10000"/>
              <a:gd name="connsiteX4" fmla="*/ 1030 w 10105"/>
              <a:gd name="connsiteY4" fmla="*/ 10000 h 10000"/>
              <a:gd name="connsiteX5" fmla="*/ 4779 w 10105"/>
              <a:gd name="connsiteY5" fmla="*/ 10000 h 10000"/>
              <a:gd name="connsiteX6" fmla="*/ 4850 w 10105"/>
              <a:gd name="connsiteY6" fmla="*/ 9414 h 10000"/>
              <a:gd name="connsiteX7" fmla="*/ 4850 w 10105"/>
              <a:gd name="connsiteY7" fmla="*/ 4311 h 10000"/>
              <a:gd name="connsiteX8" fmla="*/ 4921 w 10105"/>
              <a:gd name="connsiteY8" fmla="*/ 3723 h 10000"/>
              <a:gd name="connsiteX9" fmla="*/ 8893 w 10105"/>
              <a:gd name="connsiteY9" fmla="*/ 3723 h 10000"/>
              <a:gd name="connsiteX10" fmla="*/ 8963 w 10105"/>
              <a:gd name="connsiteY10" fmla="*/ 4311 h 10000"/>
              <a:gd name="connsiteX11" fmla="*/ 8963 w 10105"/>
              <a:gd name="connsiteY11" fmla="*/ 6297 h 10000"/>
              <a:gd name="connsiteX12" fmla="*/ 9022 w 10105"/>
              <a:gd name="connsiteY12" fmla="*/ 6971 h 10000"/>
              <a:gd name="connsiteX13" fmla="*/ 10105 w 10105"/>
              <a:gd name="connsiteY13" fmla="*/ 6978 h 10000"/>
              <a:gd name="connsiteX0" fmla="*/ 0 w 10131"/>
              <a:gd name="connsiteY0" fmla="*/ 1 h 10000"/>
              <a:gd name="connsiteX1" fmla="*/ 889 w 10131"/>
              <a:gd name="connsiteY1" fmla="*/ 0 h 10000"/>
              <a:gd name="connsiteX2" fmla="*/ 958 w 10131"/>
              <a:gd name="connsiteY2" fmla="*/ 586 h 10000"/>
              <a:gd name="connsiteX3" fmla="*/ 958 w 10131"/>
              <a:gd name="connsiteY3" fmla="*/ 9414 h 10000"/>
              <a:gd name="connsiteX4" fmla="*/ 1030 w 10131"/>
              <a:gd name="connsiteY4" fmla="*/ 10000 h 10000"/>
              <a:gd name="connsiteX5" fmla="*/ 4779 w 10131"/>
              <a:gd name="connsiteY5" fmla="*/ 10000 h 10000"/>
              <a:gd name="connsiteX6" fmla="*/ 4850 w 10131"/>
              <a:gd name="connsiteY6" fmla="*/ 9414 h 10000"/>
              <a:gd name="connsiteX7" fmla="*/ 4850 w 10131"/>
              <a:gd name="connsiteY7" fmla="*/ 4311 h 10000"/>
              <a:gd name="connsiteX8" fmla="*/ 4921 w 10131"/>
              <a:gd name="connsiteY8" fmla="*/ 3723 h 10000"/>
              <a:gd name="connsiteX9" fmla="*/ 8893 w 10131"/>
              <a:gd name="connsiteY9" fmla="*/ 3723 h 10000"/>
              <a:gd name="connsiteX10" fmla="*/ 8963 w 10131"/>
              <a:gd name="connsiteY10" fmla="*/ 4311 h 10000"/>
              <a:gd name="connsiteX11" fmla="*/ 8963 w 10131"/>
              <a:gd name="connsiteY11" fmla="*/ 6297 h 10000"/>
              <a:gd name="connsiteX12" fmla="*/ 9022 w 10131"/>
              <a:gd name="connsiteY12" fmla="*/ 6971 h 10000"/>
              <a:gd name="connsiteX13" fmla="*/ 10131 w 10131"/>
              <a:gd name="connsiteY13" fmla="*/ 6978 h 10000"/>
              <a:gd name="connsiteX0" fmla="*/ 0 w 9996"/>
              <a:gd name="connsiteY0" fmla="*/ 1 h 10000"/>
              <a:gd name="connsiteX1" fmla="*/ 889 w 9996"/>
              <a:gd name="connsiteY1" fmla="*/ 0 h 10000"/>
              <a:gd name="connsiteX2" fmla="*/ 958 w 9996"/>
              <a:gd name="connsiteY2" fmla="*/ 586 h 10000"/>
              <a:gd name="connsiteX3" fmla="*/ 958 w 9996"/>
              <a:gd name="connsiteY3" fmla="*/ 9414 h 10000"/>
              <a:gd name="connsiteX4" fmla="*/ 1030 w 9996"/>
              <a:gd name="connsiteY4" fmla="*/ 10000 h 10000"/>
              <a:gd name="connsiteX5" fmla="*/ 4779 w 9996"/>
              <a:gd name="connsiteY5" fmla="*/ 10000 h 10000"/>
              <a:gd name="connsiteX6" fmla="*/ 4850 w 9996"/>
              <a:gd name="connsiteY6" fmla="*/ 9414 h 10000"/>
              <a:gd name="connsiteX7" fmla="*/ 4850 w 9996"/>
              <a:gd name="connsiteY7" fmla="*/ 4311 h 10000"/>
              <a:gd name="connsiteX8" fmla="*/ 4921 w 9996"/>
              <a:gd name="connsiteY8" fmla="*/ 3723 h 10000"/>
              <a:gd name="connsiteX9" fmla="*/ 8893 w 9996"/>
              <a:gd name="connsiteY9" fmla="*/ 3723 h 10000"/>
              <a:gd name="connsiteX10" fmla="*/ 8963 w 9996"/>
              <a:gd name="connsiteY10" fmla="*/ 4311 h 10000"/>
              <a:gd name="connsiteX11" fmla="*/ 8963 w 9996"/>
              <a:gd name="connsiteY11" fmla="*/ 6297 h 10000"/>
              <a:gd name="connsiteX12" fmla="*/ 9022 w 9996"/>
              <a:gd name="connsiteY12" fmla="*/ 6971 h 10000"/>
              <a:gd name="connsiteX13" fmla="*/ 9996 w 9996"/>
              <a:gd name="connsiteY13" fmla="*/ 6978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9996" h="10000">
                <a:moveTo>
                  <a:pt x="0" y="1"/>
                </a:moveTo>
                <a:lnTo>
                  <a:pt x="889" y="0"/>
                </a:lnTo>
                <a:cubicBezTo>
                  <a:pt x="924" y="0"/>
                  <a:pt x="958" y="272"/>
                  <a:pt x="958" y="586"/>
                </a:cubicBezTo>
                <a:lnTo>
                  <a:pt x="958" y="9414"/>
                </a:lnTo>
                <a:cubicBezTo>
                  <a:pt x="958" y="9750"/>
                  <a:pt x="989" y="10000"/>
                  <a:pt x="1030" y="10000"/>
                </a:cubicBezTo>
                <a:lnTo>
                  <a:pt x="4779" y="10000"/>
                </a:lnTo>
                <a:cubicBezTo>
                  <a:pt x="4818" y="10000"/>
                  <a:pt x="4850" y="9750"/>
                  <a:pt x="4850" y="9414"/>
                </a:cubicBezTo>
                <a:lnTo>
                  <a:pt x="4850" y="4311"/>
                </a:lnTo>
                <a:cubicBezTo>
                  <a:pt x="4850" y="3996"/>
                  <a:pt x="4883" y="3723"/>
                  <a:pt x="4921" y="3723"/>
                </a:cubicBezTo>
                <a:lnTo>
                  <a:pt x="8893" y="3723"/>
                </a:lnTo>
                <a:cubicBezTo>
                  <a:pt x="8932" y="3723"/>
                  <a:pt x="8963" y="3996"/>
                  <a:pt x="8963" y="4311"/>
                </a:cubicBezTo>
                <a:lnTo>
                  <a:pt x="8963" y="6297"/>
                </a:lnTo>
                <a:cubicBezTo>
                  <a:pt x="8963" y="6633"/>
                  <a:pt x="8986" y="6971"/>
                  <a:pt x="9022" y="6971"/>
                </a:cubicBezTo>
                <a:cubicBezTo>
                  <a:pt x="9669" y="6959"/>
                  <a:pt x="9686" y="6968"/>
                  <a:pt x="9996" y="6978"/>
                </a:cubicBezTo>
              </a:path>
            </a:pathLst>
          </a:custGeom>
          <a:noFill/>
          <a:ln w="12700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endParaRPr lang="en-US" sz="1800">
              <a:solidFill>
                <a:prstClr val="black"/>
              </a:solidFill>
              <a:latin typeface="Arial"/>
            </a:endParaRPr>
          </a:p>
        </p:txBody>
      </p:sp>
      <p:sp>
        <p:nvSpPr>
          <p:cNvPr id="13" name="Freeform 11"/>
          <p:cNvSpPr>
            <a:spLocks/>
          </p:cNvSpPr>
          <p:nvPr userDrawn="1"/>
        </p:nvSpPr>
        <p:spPr bwMode="gray">
          <a:xfrm>
            <a:off x="-4979" y="4336985"/>
            <a:ext cx="9147342" cy="1757619"/>
          </a:xfrm>
          <a:custGeom>
            <a:avLst/>
            <a:gdLst>
              <a:gd name="T0" fmla="*/ 0 w 8479"/>
              <a:gd name="T1" fmla="*/ 772 h 894"/>
              <a:gd name="T2" fmla="*/ 1132 w 8479"/>
              <a:gd name="T3" fmla="*/ 772 h 894"/>
              <a:gd name="T4" fmla="*/ 1160 w 8479"/>
              <a:gd name="T5" fmla="*/ 744 h 894"/>
              <a:gd name="T6" fmla="*/ 1160 w 8479"/>
              <a:gd name="T7" fmla="*/ 263 h 894"/>
              <a:gd name="T8" fmla="*/ 1188 w 8479"/>
              <a:gd name="T9" fmla="*/ 235 h 894"/>
              <a:gd name="T10" fmla="*/ 2202 w 8479"/>
              <a:gd name="T11" fmla="*/ 235 h 894"/>
              <a:gd name="T12" fmla="*/ 2230 w 8479"/>
              <a:gd name="T13" fmla="*/ 263 h 894"/>
              <a:gd name="T14" fmla="*/ 2230 w 8479"/>
              <a:gd name="T15" fmla="*/ 745 h 894"/>
              <a:gd name="T16" fmla="*/ 2258 w 8479"/>
              <a:gd name="T17" fmla="*/ 773 h 894"/>
              <a:gd name="T18" fmla="*/ 3688 w 8479"/>
              <a:gd name="T19" fmla="*/ 773 h 894"/>
              <a:gd name="T20" fmla="*/ 3716 w 8479"/>
              <a:gd name="T21" fmla="*/ 745 h 894"/>
              <a:gd name="T22" fmla="*/ 3716 w 8479"/>
              <a:gd name="T23" fmla="*/ 28 h 894"/>
              <a:gd name="T24" fmla="*/ 3744 w 8479"/>
              <a:gd name="T25" fmla="*/ 0 h 894"/>
              <a:gd name="T26" fmla="*/ 5033 w 8479"/>
              <a:gd name="T27" fmla="*/ 0 h 894"/>
              <a:gd name="T28" fmla="*/ 5061 w 8479"/>
              <a:gd name="T29" fmla="*/ 28 h 894"/>
              <a:gd name="T30" fmla="*/ 5061 w 8479"/>
              <a:gd name="T31" fmla="*/ 516 h 894"/>
              <a:gd name="T32" fmla="*/ 5089 w 8479"/>
              <a:gd name="T33" fmla="*/ 544 h 894"/>
              <a:gd name="T34" fmla="*/ 5446 w 8479"/>
              <a:gd name="T35" fmla="*/ 544 h 894"/>
              <a:gd name="T36" fmla="*/ 5474 w 8479"/>
              <a:gd name="T37" fmla="*/ 516 h 894"/>
              <a:gd name="T38" fmla="*/ 5474 w 8479"/>
              <a:gd name="T39" fmla="*/ 205 h 894"/>
              <a:gd name="T40" fmla="*/ 5502 w 8479"/>
              <a:gd name="T41" fmla="*/ 177 h 894"/>
              <a:gd name="T42" fmla="*/ 6295 w 8479"/>
              <a:gd name="T43" fmla="*/ 177 h 894"/>
              <a:gd name="T44" fmla="*/ 6323 w 8479"/>
              <a:gd name="T45" fmla="*/ 205 h 894"/>
              <a:gd name="T46" fmla="*/ 6323 w 8479"/>
              <a:gd name="T47" fmla="*/ 866 h 894"/>
              <a:gd name="T48" fmla="*/ 6351 w 8479"/>
              <a:gd name="T49" fmla="*/ 894 h 894"/>
              <a:gd name="T50" fmla="*/ 7237 w 8479"/>
              <a:gd name="T51" fmla="*/ 894 h 894"/>
              <a:gd name="T52" fmla="*/ 7265 w 8479"/>
              <a:gd name="T53" fmla="*/ 866 h 894"/>
              <a:gd name="T54" fmla="*/ 7265 w 8479"/>
              <a:gd name="T55" fmla="*/ 563 h 894"/>
              <a:gd name="T56" fmla="*/ 7293 w 8479"/>
              <a:gd name="T57" fmla="*/ 535 h 894"/>
              <a:gd name="T58" fmla="*/ 8479 w 8479"/>
              <a:gd name="T59" fmla="*/ 535 h 894"/>
              <a:gd name="connsiteX0" fmla="*/ 0 w 8665"/>
              <a:gd name="connsiteY0" fmla="*/ 8635 h 10000"/>
              <a:gd name="connsiteX1" fmla="*/ 33 w 8665"/>
              <a:gd name="connsiteY1" fmla="*/ 8322 h 10000"/>
              <a:gd name="connsiteX2" fmla="*/ 33 w 8665"/>
              <a:gd name="connsiteY2" fmla="*/ 2942 h 10000"/>
              <a:gd name="connsiteX3" fmla="*/ 66 w 8665"/>
              <a:gd name="connsiteY3" fmla="*/ 2629 h 10000"/>
              <a:gd name="connsiteX4" fmla="*/ 1262 w 8665"/>
              <a:gd name="connsiteY4" fmla="*/ 2629 h 10000"/>
              <a:gd name="connsiteX5" fmla="*/ 1295 w 8665"/>
              <a:gd name="connsiteY5" fmla="*/ 2942 h 10000"/>
              <a:gd name="connsiteX6" fmla="*/ 1295 w 8665"/>
              <a:gd name="connsiteY6" fmla="*/ 8333 h 10000"/>
              <a:gd name="connsiteX7" fmla="*/ 1328 w 8665"/>
              <a:gd name="connsiteY7" fmla="*/ 8647 h 10000"/>
              <a:gd name="connsiteX8" fmla="*/ 3015 w 8665"/>
              <a:gd name="connsiteY8" fmla="*/ 8647 h 10000"/>
              <a:gd name="connsiteX9" fmla="*/ 3048 w 8665"/>
              <a:gd name="connsiteY9" fmla="*/ 8333 h 10000"/>
              <a:gd name="connsiteX10" fmla="*/ 3048 w 8665"/>
              <a:gd name="connsiteY10" fmla="*/ 313 h 10000"/>
              <a:gd name="connsiteX11" fmla="*/ 3081 w 8665"/>
              <a:gd name="connsiteY11" fmla="*/ 0 h 10000"/>
              <a:gd name="connsiteX12" fmla="*/ 4601 w 8665"/>
              <a:gd name="connsiteY12" fmla="*/ 0 h 10000"/>
              <a:gd name="connsiteX13" fmla="*/ 4634 w 8665"/>
              <a:gd name="connsiteY13" fmla="*/ 313 h 10000"/>
              <a:gd name="connsiteX14" fmla="*/ 4634 w 8665"/>
              <a:gd name="connsiteY14" fmla="*/ 5772 h 10000"/>
              <a:gd name="connsiteX15" fmla="*/ 4667 w 8665"/>
              <a:gd name="connsiteY15" fmla="*/ 6085 h 10000"/>
              <a:gd name="connsiteX16" fmla="*/ 5088 w 8665"/>
              <a:gd name="connsiteY16" fmla="*/ 6085 h 10000"/>
              <a:gd name="connsiteX17" fmla="*/ 5121 w 8665"/>
              <a:gd name="connsiteY17" fmla="*/ 5772 h 10000"/>
              <a:gd name="connsiteX18" fmla="*/ 5121 w 8665"/>
              <a:gd name="connsiteY18" fmla="*/ 2293 h 10000"/>
              <a:gd name="connsiteX19" fmla="*/ 5154 w 8665"/>
              <a:gd name="connsiteY19" fmla="*/ 1980 h 10000"/>
              <a:gd name="connsiteX20" fmla="*/ 6089 w 8665"/>
              <a:gd name="connsiteY20" fmla="*/ 1980 h 10000"/>
              <a:gd name="connsiteX21" fmla="*/ 6122 w 8665"/>
              <a:gd name="connsiteY21" fmla="*/ 2293 h 10000"/>
              <a:gd name="connsiteX22" fmla="*/ 6122 w 8665"/>
              <a:gd name="connsiteY22" fmla="*/ 9687 h 10000"/>
              <a:gd name="connsiteX23" fmla="*/ 6155 w 8665"/>
              <a:gd name="connsiteY23" fmla="*/ 10000 h 10000"/>
              <a:gd name="connsiteX24" fmla="*/ 7200 w 8665"/>
              <a:gd name="connsiteY24" fmla="*/ 10000 h 10000"/>
              <a:gd name="connsiteX25" fmla="*/ 7233 w 8665"/>
              <a:gd name="connsiteY25" fmla="*/ 9687 h 10000"/>
              <a:gd name="connsiteX26" fmla="*/ 7233 w 8665"/>
              <a:gd name="connsiteY26" fmla="*/ 6298 h 10000"/>
              <a:gd name="connsiteX27" fmla="*/ 7266 w 8665"/>
              <a:gd name="connsiteY27" fmla="*/ 5984 h 10000"/>
              <a:gd name="connsiteX28" fmla="*/ 8665 w 8665"/>
              <a:gd name="connsiteY28" fmla="*/ 5984 h 10000"/>
              <a:gd name="connsiteX0" fmla="*/ 0 w 9962"/>
              <a:gd name="connsiteY0" fmla="*/ 8322 h 10000"/>
              <a:gd name="connsiteX1" fmla="*/ 0 w 9962"/>
              <a:gd name="connsiteY1" fmla="*/ 2942 h 10000"/>
              <a:gd name="connsiteX2" fmla="*/ 38 w 9962"/>
              <a:gd name="connsiteY2" fmla="*/ 2629 h 10000"/>
              <a:gd name="connsiteX3" fmla="*/ 1418 w 9962"/>
              <a:gd name="connsiteY3" fmla="*/ 2629 h 10000"/>
              <a:gd name="connsiteX4" fmla="*/ 1457 w 9962"/>
              <a:gd name="connsiteY4" fmla="*/ 2942 h 10000"/>
              <a:gd name="connsiteX5" fmla="*/ 1457 w 9962"/>
              <a:gd name="connsiteY5" fmla="*/ 8333 h 10000"/>
              <a:gd name="connsiteX6" fmla="*/ 1495 w 9962"/>
              <a:gd name="connsiteY6" fmla="*/ 8647 h 10000"/>
              <a:gd name="connsiteX7" fmla="*/ 3442 w 9962"/>
              <a:gd name="connsiteY7" fmla="*/ 8647 h 10000"/>
              <a:gd name="connsiteX8" fmla="*/ 3480 w 9962"/>
              <a:gd name="connsiteY8" fmla="*/ 8333 h 10000"/>
              <a:gd name="connsiteX9" fmla="*/ 3480 w 9962"/>
              <a:gd name="connsiteY9" fmla="*/ 313 h 10000"/>
              <a:gd name="connsiteX10" fmla="*/ 3518 w 9962"/>
              <a:gd name="connsiteY10" fmla="*/ 0 h 10000"/>
              <a:gd name="connsiteX11" fmla="*/ 5272 w 9962"/>
              <a:gd name="connsiteY11" fmla="*/ 0 h 10000"/>
              <a:gd name="connsiteX12" fmla="*/ 5310 w 9962"/>
              <a:gd name="connsiteY12" fmla="*/ 313 h 10000"/>
              <a:gd name="connsiteX13" fmla="*/ 5310 w 9962"/>
              <a:gd name="connsiteY13" fmla="*/ 5772 h 10000"/>
              <a:gd name="connsiteX14" fmla="*/ 5348 w 9962"/>
              <a:gd name="connsiteY14" fmla="*/ 6085 h 10000"/>
              <a:gd name="connsiteX15" fmla="*/ 5834 w 9962"/>
              <a:gd name="connsiteY15" fmla="*/ 6085 h 10000"/>
              <a:gd name="connsiteX16" fmla="*/ 5872 w 9962"/>
              <a:gd name="connsiteY16" fmla="*/ 5772 h 10000"/>
              <a:gd name="connsiteX17" fmla="*/ 5872 w 9962"/>
              <a:gd name="connsiteY17" fmla="*/ 2293 h 10000"/>
              <a:gd name="connsiteX18" fmla="*/ 5910 w 9962"/>
              <a:gd name="connsiteY18" fmla="*/ 1980 h 10000"/>
              <a:gd name="connsiteX19" fmla="*/ 6989 w 9962"/>
              <a:gd name="connsiteY19" fmla="*/ 1980 h 10000"/>
              <a:gd name="connsiteX20" fmla="*/ 7027 w 9962"/>
              <a:gd name="connsiteY20" fmla="*/ 2293 h 10000"/>
              <a:gd name="connsiteX21" fmla="*/ 7027 w 9962"/>
              <a:gd name="connsiteY21" fmla="*/ 9687 h 10000"/>
              <a:gd name="connsiteX22" fmla="*/ 7065 w 9962"/>
              <a:gd name="connsiteY22" fmla="*/ 10000 h 10000"/>
              <a:gd name="connsiteX23" fmla="*/ 8271 w 9962"/>
              <a:gd name="connsiteY23" fmla="*/ 10000 h 10000"/>
              <a:gd name="connsiteX24" fmla="*/ 8309 w 9962"/>
              <a:gd name="connsiteY24" fmla="*/ 9687 h 10000"/>
              <a:gd name="connsiteX25" fmla="*/ 8309 w 9962"/>
              <a:gd name="connsiteY25" fmla="*/ 6298 h 10000"/>
              <a:gd name="connsiteX26" fmla="*/ 8347 w 9962"/>
              <a:gd name="connsiteY26" fmla="*/ 5984 h 10000"/>
              <a:gd name="connsiteX27" fmla="*/ 9962 w 9962"/>
              <a:gd name="connsiteY27" fmla="*/ 5984 h 10000"/>
              <a:gd name="connsiteX0" fmla="*/ 0 w 10000"/>
              <a:gd name="connsiteY0" fmla="*/ 2942 h 10000"/>
              <a:gd name="connsiteX1" fmla="*/ 38 w 10000"/>
              <a:gd name="connsiteY1" fmla="*/ 2629 h 10000"/>
              <a:gd name="connsiteX2" fmla="*/ 1423 w 10000"/>
              <a:gd name="connsiteY2" fmla="*/ 2629 h 10000"/>
              <a:gd name="connsiteX3" fmla="*/ 1463 w 10000"/>
              <a:gd name="connsiteY3" fmla="*/ 2942 h 10000"/>
              <a:gd name="connsiteX4" fmla="*/ 1463 w 10000"/>
              <a:gd name="connsiteY4" fmla="*/ 8333 h 10000"/>
              <a:gd name="connsiteX5" fmla="*/ 1501 w 10000"/>
              <a:gd name="connsiteY5" fmla="*/ 8647 h 10000"/>
              <a:gd name="connsiteX6" fmla="*/ 3455 w 10000"/>
              <a:gd name="connsiteY6" fmla="*/ 8647 h 10000"/>
              <a:gd name="connsiteX7" fmla="*/ 3493 w 10000"/>
              <a:gd name="connsiteY7" fmla="*/ 8333 h 10000"/>
              <a:gd name="connsiteX8" fmla="*/ 3493 w 10000"/>
              <a:gd name="connsiteY8" fmla="*/ 313 h 10000"/>
              <a:gd name="connsiteX9" fmla="*/ 3531 w 10000"/>
              <a:gd name="connsiteY9" fmla="*/ 0 h 10000"/>
              <a:gd name="connsiteX10" fmla="*/ 5292 w 10000"/>
              <a:gd name="connsiteY10" fmla="*/ 0 h 10000"/>
              <a:gd name="connsiteX11" fmla="*/ 5330 w 10000"/>
              <a:gd name="connsiteY11" fmla="*/ 313 h 10000"/>
              <a:gd name="connsiteX12" fmla="*/ 5330 w 10000"/>
              <a:gd name="connsiteY12" fmla="*/ 5772 h 10000"/>
              <a:gd name="connsiteX13" fmla="*/ 5368 w 10000"/>
              <a:gd name="connsiteY13" fmla="*/ 6085 h 10000"/>
              <a:gd name="connsiteX14" fmla="*/ 5856 w 10000"/>
              <a:gd name="connsiteY14" fmla="*/ 6085 h 10000"/>
              <a:gd name="connsiteX15" fmla="*/ 5894 w 10000"/>
              <a:gd name="connsiteY15" fmla="*/ 5772 h 10000"/>
              <a:gd name="connsiteX16" fmla="*/ 5894 w 10000"/>
              <a:gd name="connsiteY16" fmla="*/ 2293 h 10000"/>
              <a:gd name="connsiteX17" fmla="*/ 5933 w 10000"/>
              <a:gd name="connsiteY17" fmla="*/ 1980 h 10000"/>
              <a:gd name="connsiteX18" fmla="*/ 7016 w 10000"/>
              <a:gd name="connsiteY18" fmla="*/ 1980 h 10000"/>
              <a:gd name="connsiteX19" fmla="*/ 7054 w 10000"/>
              <a:gd name="connsiteY19" fmla="*/ 2293 h 10000"/>
              <a:gd name="connsiteX20" fmla="*/ 7054 w 10000"/>
              <a:gd name="connsiteY20" fmla="*/ 9687 h 10000"/>
              <a:gd name="connsiteX21" fmla="*/ 7092 w 10000"/>
              <a:gd name="connsiteY21" fmla="*/ 10000 h 10000"/>
              <a:gd name="connsiteX22" fmla="*/ 8303 w 10000"/>
              <a:gd name="connsiteY22" fmla="*/ 10000 h 10000"/>
              <a:gd name="connsiteX23" fmla="*/ 8341 w 10000"/>
              <a:gd name="connsiteY23" fmla="*/ 9687 h 10000"/>
              <a:gd name="connsiteX24" fmla="*/ 8341 w 10000"/>
              <a:gd name="connsiteY24" fmla="*/ 6298 h 10000"/>
              <a:gd name="connsiteX25" fmla="*/ 8379 w 10000"/>
              <a:gd name="connsiteY25" fmla="*/ 5984 h 10000"/>
              <a:gd name="connsiteX26" fmla="*/ 10000 w 10000"/>
              <a:gd name="connsiteY26" fmla="*/ 5984 h 10000"/>
              <a:gd name="connsiteX0" fmla="*/ 0 w 9962"/>
              <a:gd name="connsiteY0" fmla="*/ 2629 h 10000"/>
              <a:gd name="connsiteX1" fmla="*/ 1385 w 9962"/>
              <a:gd name="connsiteY1" fmla="*/ 2629 h 10000"/>
              <a:gd name="connsiteX2" fmla="*/ 1425 w 9962"/>
              <a:gd name="connsiteY2" fmla="*/ 2942 h 10000"/>
              <a:gd name="connsiteX3" fmla="*/ 1425 w 9962"/>
              <a:gd name="connsiteY3" fmla="*/ 8333 h 10000"/>
              <a:gd name="connsiteX4" fmla="*/ 1463 w 9962"/>
              <a:gd name="connsiteY4" fmla="*/ 8647 h 10000"/>
              <a:gd name="connsiteX5" fmla="*/ 3417 w 9962"/>
              <a:gd name="connsiteY5" fmla="*/ 8647 h 10000"/>
              <a:gd name="connsiteX6" fmla="*/ 3455 w 9962"/>
              <a:gd name="connsiteY6" fmla="*/ 8333 h 10000"/>
              <a:gd name="connsiteX7" fmla="*/ 3455 w 9962"/>
              <a:gd name="connsiteY7" fmla="*/ 313 h 10000"/>
              <a:gd name="connsiteX8" fmla="*/ 3493 w 9962"/>
              <a:gd name="connsiteY8" fmla="*/ 0 h 10000"/>
              <a:gd name="connsiteX9" fmla="*/ 5254 w 9962"/>
              <a:gd name="connsiteY9" fmla="*/ 0 h 10000"/>
              <a:gd name="connsiteX10" fmla="*/ 5292 w 9962"/>
              <a:gd name="connsiteY10" fmla="*/ 313 h 10000"/>
              <a:gd name="connsiteX11" fmla="*/ 5292 w 9962"/>
              <a:gd name="connsiteY11" fmla="*/ 5772 h 10000"/>
              <a:gd name="connsiteX12" fmla="*/ 5330 w 9962"/>
              <a:gd name="connsiteY12" fmla="*/ 6085 h 10000"/>
              <a:gd name="connsiteX13" fmla="*/ 5818 w 9962"/>
              <a:gd name="connsiteY13" fmla="*/ 6085 h 10000"/>
              <a:gd name="connsiteX14" fmla="*/ 5856 w 9962"/>
              <a:gd name="connsiteY14" fmla="*/ 5772 h 10000"/>
              <a:gd name="connsiteX15" fmla="*/ 5856 w 9962"/>
              <a:gd name="connsiteY15" fmla="*/ 2293 h 10000"/>
              <a:gd name="connsiteX16" fmla="*/ 5895 w 9962"/>
              <a:gd name="connsiteY16" fmla="*/ 1980 h 10000"/>
              <a:gd name="connsiteX17" fmla="*/ 6978 w 9962"/>
              <a:gd name="connsiteY17" fmla="*/ 1980 h 10000"/>
              <a:gd name="connsiteX18" fmla="*/ 7016 w 9962"/>
              <a:gd name="connsiteY18" fmla="*/ 2293 h 10000"/>
              <a:gd name="connsiteX19" fmla="*/ 7016 w 9962"/>
              <a:gd name="connsiteY19" fmla="*/ 9687 h 10000"/>
              <a:gd name="connsiteX20" fmla="*/ 7054 w 9962"/>
              <a:gd name="connsiteY20" fmla="*/ 10000 h 10000"/>
              <a:gd name="connsiteX21" fmla="*/ 8265 w 9962"/>
              <a:gd name="connsiteY21" fmla="*/ 10000 h 10000"/>
              <a:gd name="connsiteX22" fmla="*/ 8303 w 9962"/>
              <a:gd name="connsiteY22" fmla="*/ 9687 h 10000"/>
              <a:gd name="connsiteX23" fmla="*/ 8303 w 9962"/>
              <a:gd name="connsiteY23" fmla="*/ 6298 h 10000"/>
              <a:gd name="connsiteX24" fmla="*/ 8341 w 9962"/>
              <a:gd name="connsiteY24" fmla="*/ 5984 h 10000"/>
              <a:gd name="connsiteX25" fmla="*/ 9962 w 9962"/>
              <a:gd name="connsiteY25" fmla="*/ 5984 h 10000"/>
              <a:gd name="connsiteX0" fmla="*/ 0 w 8610"/>
              <a:gd name="connsiteY0" fmla="*/ 2629 h 10000"/>
              <a:gd name="connsiteX1" fmla="*/ 40 w 8610"/>
              <a:gd name="connsiteY1" fmla="*/ 2942 h 10000"/>
              <a:gd name="connsiteX2" fmla="*/ 40 w 8610"/>
              <a:gd name="connsiteY2" fmla="*/ 8333 h 10000"/>
              <a:gd name="connsiteX3" fmla="*/ 79 w 8610"/>
              <a:gd name="connsiteY3" fmla="*/ 8647 h 10000"/>
              <a:gd name="connsiteX4" fmla="*/ 2040 w 8610"/>
              <a:gd name="connsiteY4" fmla="*/ 8647 h 10000"/>
              <a:gd name="connsiteX5" fmla="*/ 2078 w 8610"/>
              <a:gd name="connsiteY5" fmla="*/ 8333 h 10000"/>
              <a:gd name="connsiteX6" fmla="*/ 2078 w 8610"/>
              <a:gd name="connsiteY6" fmla="*/ 313 h 10000"/>
              <a:gd name="connsiteX7" fmla="*/ 2116 w 8610"/>
              <a:gd name="connsiteY7" fmla="*/ 0 h 10000"/>
              <a:gd name="connsiteX8" fmla="*/ 3884 w 8610"/>
              <a:gd name="connsiteY8" fmla="*/ 0 h 10000"/>
              <a:gd name="connsiteX9" fmla="*/ 3922 w 8610"/>
              <a:gd name="connsiteY9" fmla="*/ 313 h 10000"/>
              <a:gd name="connsiteX10" fmla="*/ 3922 w 8610"/>
              <a:gd name="connsiteY10" fmla="*/ 5772 h 10000"/>
              <a:gd name="connsiteX11" fmla="*/ 3960 w 8610"/>
              <a:gd name="connsiteY11" fmla="*/ 6085 h 10000"/>
              <a:gd name="connsiteX12" fmla="*/ 4450 w 8610"/>
              <a:gd name="connsiteY12" fmla="*/ 6085 h 10000"/>
              <a:gd name="connsiteX13" fmla="*/ 4488 w 8610"/>
              <a:gd name="connsiteY13" fmla="*/ 5772 h 10000"/>
              <a:gd name="connsiteX14" fmla="*/ 4488 w 8610"/>
              <a:gd name="connsiteY14" fmla="*/ 2293 h 10000"/>
              <a:gd name="connsiteX15" fmla="*/ 4527 w 8610"/>
              <a:gd name="connsiteY15" fmla="*/ 1980 h 10000"/>
              <a:gd name="connsiteX16" fmla="*/ 5615 w 8610"/>
              <a:gd name="connsiteY16" fmla="*/ 1980 h 10000"/>
              <a:gd name="connsiteX17" fmla="*/ 5653 w 8610"/>
              <a:gd name="connsiteY17" fmla="*/ 2293 h 10000"/>
              <a:gd name="connsiteX18" fmla="*/ 5653 w 8610"/>
              <a:gd name="connsiteY18" fmla="*/ 9687 h 10000"/>
              <a:gd name="connsiteX19" fmla="*/ 5691 w 8610"/>
              <a:gd name="connsiteY19" fmla="*/ 10000 h 10000"/>
              <a:gd name="connsiteX20" fmla="*/ 6907 w 8610"/>
              <a:gd name="connsiteY20" fmla="*/ 10000 h 10000"/>
              <a:gd name="connsiteX21" fmla="*/ 6945 w 8610"/>
              <a:gd name="connsiteY21" fmla="*/ 9687 h 10000"/>
              <a:gd name="connsiteX22" fmla="*/ 6945 w 8610"/>
              <a:gd name="connsiteY22" fmla="*/ 6298 h 10000"/>
              <a:gd name="connsiteX23" fmla="*/ 6983 w 8610"/>
              <a:gd name="connsiteY23" fmla="*/ 5984 h 10000"/>
              <a:gd name="connsiteX24" fmla="*/ 8610 w 8610"/>
              <a:gd name="connsiteY24" fmla="*/ 5984 h 10000"/>
              <a:gd name="connsiteX0" fmla="*/ 0 w 9954"/>
              <a:gd name="connsiteY0" fmla="*/ 2942 h 10000"/>
              <a:gd name="connsiteX1" fmla="*/ 0 w 9954"/>
              <a:gd name="connsiteY1" fmla="*/ 8333 h 10000"/>
              <a:gd name="connsiteX2" fmla="*/ 46 w 9954"/>
              <a:gd name="connsiteY2" fmla="*/ 8647 h 10000"/>
              <a:gd name="connsiteX3" fmla="*/ 2323 w 9954"/>
              <a:gd name="connsiteY3" fmla="*/ 8647 h 10000"/>
              <a:gd name="connsiteX4" fmla="*/ 2367 w 9954"/>
              <a:gd name="connsiteY4" fmla="*/ 8333 h 10000"/>
              <a:gd name="connsiteX5" fmla="*/ 2367 w 9954"/>
              <a:gd name="connsiteY5" fmla="*/ 313 h 10000"/>
              <a:gd name="connsiteX6" fmla="*/ 2412 w 9954"/>
              <a:gd name="connsiteY6" fmla="*/ 0 h 10000"/>
              <a:gd name="connsiteX7" fmla="*/ 4465 w 9954"/>
              <a:gd name="connsiteY7" fmla="*/ 0 h 10000"/>
              <a:gd name="connsiteX8" fmla="*/ 4509 w 9954"/>
              <a:gd name="connsiteY8" fmla="*/ 313 h 10000"/>
              <a:gd name="connsiteX9" fmla="*/ 4509 w 9954"/>
              <a:gd name="connsiteY9" fmla="*/ 5772 h 10000"/>
              <a:gd name="connsiteX10" fmla="*/ 4553 w 9954"/>
              <a:gd name="connsiteY10" fmla="*/ 6085 h 10000"/>
              <a:gd name="connsiteX11" fmla="*/ 5122 w 9954"/>
              <a:gd name="connsiteY11" fmla="*/ 6085 h 10000"/>
              <a:gd name="connsiteX12" fmla="*/ 5167 w 9954"/>
              <a:gd name="connsiteY12" fmla="*/ 5772 h 10000"/>
              <a:gd name="connsiteX13" fmla="*/ 5167 w 9954"/>
              <a:gd name="connsiteY13" fmla="*/ 2293 h 10000"/>
              <a:gd name="connsiteX14" fmla="*/ 5212 w 9954"/>
              <a:gd name="connsiteY14" fmla="*/ 1980 h 10000"/>
              <a:gd name="connsiteX15" fmla="*/ 6475 w 9954"/>
              <a:gd name="connsiteY15" fmla="*/ 1980 h 10000"/>
              <a:gd name="connsiteX16" fmla="*/ 6520 w 9954"/>
              <a:gd name="connsiteY16" fmla="*/ 2293 h 10000"/>
              <a:gd name="connsiteX17" fmla="*/ 6520 w 9954"/>
              <a:gd name="connsiteY17" fmla="*/ 9687 h 10000"/>
              <a:gd name="connsiteX18" fmla="*/ 6564 w 9954"/>
              <a:gd name="connsiteY18" fmla="*/ 10000 h 10000"/>
              <a:gd name="connsiteX19" fmla="*/ 7976 w 9954"/>
              <a:gd name="connsiteY19" fmla="*/ 10000 h 10000"/>
              <a:gd name="connsiteX20" fmla="*/ 8020 w 9954"/>
              <a:gd name="connsiteY20" fmla="*/ 9687 h 10000"/>
              <a:gd name="connsiteX21" fmla="*/ 8020 w 9954"/>
              <a:gd name="connsiteY21" fmla="*/ 6298 h 10000"/>
              <a:gd name="connsiteX22" fmla="*/ 8064 w 9954"/>
              <a:gd name="connsiteY22" fmla="*/ 5984 h 10000"/>
              <a:gd name="connsiteX23" fmla="*/ 9954 w 9954"/>
              <a:gd name="connsiteY23" fmla="*/ 5984 h 10000"/>
              <a:gd name="connsiteX0" fmla="*/ 0 w 10000"/>
              <a:gd name="connsiteY0" fmla="*/ 8333 h 10000"/>
              <a:gd name="connsiteX1" fmla="*/ 46 w 10000"/>
              <a:gd name="connsiteY1" fmla="*/ 8647 h 10000"/>
              <a:gd name="connsiteX2" fmla="*/ 2334 w 10000"/>
              <a:gd name="connsiteY2" fmla="*/ 8647 h 10000"/>
              <a:gd name="connsiteX3" fmla="*/ 2378 w 10000"/>
              <a:gd name="connsiteY3" fmla="*/ 8333 h 10000"/>
              <a:gd name="connsiteX4" fmla="*/ 2378 w 10000"/>
              <a:gd name="connsiteY4" fmla="*/ 313 h 10000"/>
              <a:gd name="connsiteX5" fmla="*/ 2423 w 10000"/>
              <a:gd name="connsiteY5" fmla="*/ 0 h 10000"/>
              <a:gd name="connsiteX6" fmla="*/ 4486 w 10000"/>
              <a:gd name="connsiteY6" fmla="*/ 0 h 10000"/>
              <a:gd name="connsiteX7" fmla="*/ 4530 w 10000"/>
              <a:gd name="connsiteY7" fmla="*/ 313 h 10000"/>
              <a:gd name="connsiteX8" fmla="*/ 4530 w 10000"/>
              <a:gd name="connsiteY8" fmla="*/ 5772 h 10000"/>
              <a:gd name="connsiteX9" fmla="*/ 4574 w 10000"/>
              <a:gd name="connsiteY9" fmla="*/ 6085 h 10000"/>
              <a:gd name="connsiteX10" fmla="*/ 5146 w 10000"/>
              <a:gd name="connsiteY10" fmla="*/ 6085 h 10000"/>
              <a:gd name="connsiteX11" fmla="*/ 5191 w 10000"/>
              <a:gd name="connsiteY11" fmla="*/ 5772 h 10000"/>
              <a:gd name="connsiteX12" fmla="*/ 5191 w 10000"/>
              <a:gd name="connsiteY12" fmla="*/ 2293 h 10000"/>
              <a:gd name="connsiteX13" fmla="*/ 5236 w 10000"/>
              <a:gd name="connsiteY13" fmla="*/ 1980 h 10000"/>
              <a:gd name="connsiteX14" fmla="*/ 6505 w 10000"/>
              <a:gd name="connsiteY14" fmla="*/ 1980 h 10000"/>
              <a:gd name="connsiteX15" fmla="*/ 6550 w 10000"/>
              <a:gd name="connsiteY15" fmla="*/ 2293 h 10000"/>
              <a:gd name="connsiteX16" fmla="*/ 6550 w 10000"/>
              <a:gd name="connsiteY16" fmla="*/ 9687 h 10000"/>
              <a:gd name="connsiteX17" fmla="*/ 6594 w 10000"/>
              <a:gd name="connsiteY17" fmla="*/ 10000 h 10000"/>
              <a:gd name="connsiteX18" fmla="*/ 8013 w 10000"/>
              <a:gd name="connsiteY18" fmla="*/ 10000 h 10000"/>
              <a:gd name="connsiteX19" fmla="*/ 8057 w 10000"/>
              <a:gd name="connsiteY19" fmla="*/ 9687 h 10000"/>
              <a:gd name="connsiteX20" fmla="*/ 8057 w 10000"/>
              <a:gd name="connsiteY20" fmla="*/ 6298 h 10000"/>
              <a:gd name="connsiteX21" fmla="*/ 8101 w 10000"/>
              <a:gd name="connsiteY21" fmla="*/ 5984 h 10000"/>
              <a:gd name="connsiteX22" fmla="*/ 10000 w 10000"/>
              <a:gd name="connsiteY22" fmla="*/ 5984 h 10000"/>
              <a:gd name="connsiteX0" fmla="*/ 0 w 8101"/>
              <a:gd name="connsiteY0" fmla="*/ 8333 h 10000"/>
              <a:gd name="connsiteX1" fmla="*/ 46 w 8101"/>
              <a:gd name="connsiteY1" fmla="*/ 8647 h 10000"/>
              <a:gd name="connsiteX2" fmla="*/ 2334 w 8101"/>
              <a:gd name="connsiteY2" fmla="*/ 8647 h 10000"/>
              <a:gd name="connsiteX3" fmla="*/ 2378 w 8101"/>
              <a:gd name="connsiteY3" fmla="*/ 8333 h 10000"/>
              <a:gd name="connsiteX4" fmla="*/ 2378 w 8101"/>
              <a:gd name="connsiteY4" fmla="*/ 313 h 10000"/>
              <a:gd name="connsiteX5" fmla="*/ 2423 w 8101"/>
              <a:gd name="connsiteY5" fmla="*/ 0 h 10000"/>
              <a:gd name="connsiteX6" fmla="*/ 4486 w 8101"/>
              <a:gd name="connsiteY6" fmla="*/ 0 h 10000"/>
              <a:gd name="connsiteX7" fmla="*/ 4530 w 8101"/>
              <a:gd name="connsiteY7" fmla="*/ 313 h 10000"/>
              <a:gd name="connsiteX8" fmla="*/ 4530 w 8101"/>
              <a:gd name="connsiteY8" fmla="*/ 5772 h 10000"/>
              <a:gd name="connsiteX9" fmla="*/ 4574 w 8101"/>
              <a:gd name="connsiteY9" fmla="*/ 6085 h 10000"/>
              <a:gd name="connsiteX10" fmla="*/ 5146 w 8101"/>
              <a:gd name="connsiteY10" fmla="*/ 6085 h 10000"/>
              <a:gd name="connsiteX11" fmla="*/ 5191 w 8101"/>
              <a:gd name="connsiteY11" fmla="*/ 5772 h 10000"/>
              <a:gd name="connsiteX12" fmla="*/ 5191 w 8101"/>
              <a:gd name="connsiteY12" fmla="*/ 2293 h 10000"/>
              <a:gd name="connsiteX13" fmla="*/ 5236 w 8101"/>
              <a:gd name="connsiteY13" fmla="*/ 1980 h 10000"/>
              <a:gd name="connsiteX14" fmla="*/ 6505 w 8101"/>
              <a:gd name="connsiteY14" fmla="*/ 1980 h 10000"/>
              <a:gd name="connsiteX15" fmla="*/ 6550 w 8101"/>
              <a:gd name="connsiteY15" fmla="*/ 2293 h 10000"/>
              <a:gd name="connsiteX16" fmla="*/ 6550 w 8101"/>
              <a:gd name="connsiteY16" fmla="*/ 9687 h 10000"/>
              <a:gd name="connsiteX17" fmla="*/ 6594 w 8101"/>
              <a:gd name="connsiteY17" fmla="*/ 10000 h 10000"/>
              <a:gd name="connsiteX18" fmla="*/ 8013 w 8101"/>
              <a:gd name="connsiteY18" fmla="*/ 10000 h 10000"/>
              <a:gd name="connsiteX19" fmla="*/ 8057 w 8101"/>
              <a:gd name="connsiteY19" fmla="*/ 9687 h 10000"/>
              <a:gd name="connsiteX20" fmla="*/ 8057 w 8101"/>
              <a:gd name="connsiteY20" fmla="*/ 6298 h 10000"/>
              <a:gd name="connsiteX21" fmla="*/ 8101 w 8101"/>
              <a:gd name="connsiteY21" fmla="*/ 5984 h 10000"/>
              <a:gd name="connsiteX0" fmla="*/ 0 w 9946"/>
              <a:gd name="connsiteY0" fmla="*/ 8333 h 10000"/>
              <a:gd name="connsiteX1" fmla="*/ 57 w 9946"/>
              <a:gd name="connsiteY1" fmla="*/ 8647 h 10000"/>
              <a:gd name="connsiteX2" fmla="*/ 2881 w 9946"/>
              <a:gd name="connsiteY2" fmla="*/ 8647 h 10000"/>
              <a:gd name="connsiteX3" fmla="*/ 2935 w 9946"/>
              <a:gd name="connsiteY3" fmla="*/ 8333 h 10000"/>
              <a:gd name="connsiteX4" fmla="*/ 2935 w 9946"/>
              <a:gd name="connsiteY4" fmla="*/ 313 h 10000"/>
              <a:gd name="connsiteX5" fmla="*/ 2991 w 9946"/>
              <a:gd name="connsiteY5" fmla="*/ 0 h 10000"/>
              <a:gd name="connsiteX6" fmla="*/ 5538 w 9946"/>
              <a:gd name="connsiteY6" fmla="*/ 0 h 10000"/>
              <a:gd name="connsiteX7" fmla="*/ 5592 w 9946"/>
              <a:gd name="connsiteY7" fmla="*/ 313 h 10000"/>
              <a:gd name="connsiteX8" fmla="*/ 5592 w 9946"/>
              <a:gd name="connsiteY8" fmla="*/ 5772 h 10000"/>
              <a:gd name="connsiteX9" fmla="*/ 5646 w 9946"/>
              <a:gd name="connsiteY9" fmla="*/ 6085 h 10000"/>
              <a:gd name="connsiteX10" fmla="*/ 6352 w 9946"/>
              <a:gd name="connsiteY10" fmla="*/ 6085 h 10000"/>
              <a:gd name="connsiteX11" fmla="*/ 6408 w 9946"/>
              <a:gd name="connsiteY11" fmla="*/ 5772 h 10000"/>
              <a:gd name="connsiteX12" fmla="*/ 6408 w 9946"/>
              <a:gd name="connsiteY12" fmla="*/ 2293 h 10000"/>
              <a:gd name="connsiteX13" fmla="*/ 6463 w 9946"/>
              <a:gd name="connsiteY13" fmla="*/ 1980 h 10000"/>
              <a:gd name="connsiteX14" fmla="*/ 8030 w 9946"/>
              <a:gd name="connsiteY14" fmla="*/ 1980 h 10000"/>
              <a:gd name="connsiteX15" fmla="*/ 8085 w 9946"/>
              <a:gd name="connsiteY15" fmla="*/ 2293 h 10000"/>
              <a:gd name="connsiteX16" fmla="*/ 8085 w 9946"/>
              <a:gd name="connsiteY16" fmla="*/ 9687 h 10000"/>
              <a:gd name="connsiteX17" fmla="*/ 8140 w 9946"/>
              <a:gd name="connsiteY17" fmla="*/ 10000 h 10000"/>
              <a:gd name="connsiteX18" fmla="*/ 9891 w 9946"/>
              <a:gd name="connsiteY18" fmla="*/ 10000 h 10000"/>
              <a:gd name="connsiteX19" fmla="*/ 9946 w 9946"/>
              <a:gd name="connsiteY19" fmla="*/ 9687 h 10000"/>
              <a:gd name="connsiteX20" fmla="*/ 9946 w 9946"/>
              <a:gd name="connsiteY20" fmla="*/ 6298 h 10000"/>
              <a:gd name="connsiteX0" fmla="*/ 0 w 10000"/>
              <a:gd name="connsiteY0" fmla="*/ 8333 h 10000"/>
              <a:gd name="connsiteX1" fmla="*/ 57 w 10000"/>
              <a:gd name="connsiteY1" fmla="*/ 8647 h 10000"/>
              <a:gd name="connsiteX2" fmla="*/ 2897 w 10000"/>
              <a:gd name="connsiteY2" fmla="*/ 8647 h 10000"/>
              <a:gd name="connsiteX3" fmla="*/ 2951 w 10000"/>
              <a:gd name="connsiteY3" fmla="*/ 8333 h 10000"/>
              <a:gd name="connsiteX4" fmla="*/ 2951 w 10000"/>
              <a:gd name="connsiteY4" fmla="*/ 313 h 10000"/>
              <a:gd name="connsiteX5" fmla="*/ 3007 w 10000"/>
              <a:gd name="connsiteY5" fmla="*/ 0 h 10000"/>
              <a:gd name="connsiteX6" fmla="*/ 5568 w 10000"/>
              <a:gd name="connsiteY6" fmla="*/ 0 h 10000"/>
              <a:gd name="connsiteX7" fmla="*/ 5622 w 10000"/>
              <a:gd name="connsiteY7" fmla="*/ 313 h 10000"/>
              <a:gd name="connsiteX8" fmla="*/ 5622 w 10000"/>
              <a:gd name="connsiteY8" fmla="*/ 5772 h 10000"/>
              <a:gd name="connsiteX9" fmla="*/ 5677 w 10000"/>
              <a:gd name="connsiteY9" fmla="*/ 6085 h 10000"/>
              <a:gd name="connsiteX10" fmla="*/ 6386 w 10000"/>
              <a:gd name="connsiteY10" fmla="*/ 6085 h 10000"/>
              <a:gd name="connsiteX11" fmla="*/ 6443 w 10000"/>
              <a:gd name="connsiteY11" fmla="*/ 5772 h 10000"/>
              <a:gd name="connsiteX12" fmla="*/ 6443 w 10000"/>
              <a:gd name="connsiteY12" fmla="*/ 2293 h 10000"/>
              <a:gd name="connsiteX13" fmla="*/ 6498 w 10000"/>
              <a:gd name="connsiteY13" fmla="*/ 1980 h 10000"/>
              <a:gd name="connsiteX14" fmla="*/ 8074 w 10000"/>
              <a:gd name="connsiteY14" fmla="*/ 1980 h 10000"/>
              <a:gd name="connsiteX15" fmla="*/ 8129 w 10000"/>
              <a:gd name="connsiteY15" fmla="*/ 2293 h 10000"/>
              <a:gd name="connsiteX16" fmla="*/ 8129 w 10000"/>
              <a:gd name="connsiteY16" fmla="*/ 9687 h 10000"/>
              <a:gd name="connsiteX17" fmla="*/ 8184 w 10000"/>
              <a:gd name="connsiteY17" fmla="*/ 10000 h 10000"/>
              <a:gd name="connsiteX18" fmla="*/ 9945 w 10000"/>
              <a:gd name="connsiteY18" fmla="*/ 10000 h 10000"/>
              <a:gd name="connsiteX19" fmla="*/ 10000 w 10000"/>
              <a:gd name="connsiteY19" fmla="*/ 9687 h 10000"/>
              <a:gd name="connsiteX0" fmla="*/ 0 w 9945"/>
              <a:gd name="connsiteY0" fmla="*/ 8333 h 10000"/>
              <a:gd name="connsiteX1" fmla="*/ 57 w 9945"/>
              <a:gd name="connsiteY1" fmla="*/ 8647 h 10000"/>
              <a:gd name="connsiteX2" fmla="*/ 2897 w 9945"/>
              <a:gd name="connsiteY2" fmla="*/ 8647 h 10000"/>
              <a:gd name="connsiteX3" fmla="*/ 2951 w 9945"/>
              <a:gd name="connsiteY3" fmla="*/ 8333 h 10000"/>
              <a:gd name="connsiteX4" fmla="*/ 2951 w 9945"/>
              <a:gd name="connsiteY4" fmla="*/ 313 h 10000"/>
              <a:gd name="connsiteX5" fmla="*/ 3007 w 9945"/>
              <a:gd name="connsiteY5" fmla="*/ 0 h 10000"/>
              <a:gd name="connsiteX6" fmla="*/ 5568 w 9945"/>
              <a:gd name="connsiteY6" fmla="*/ 0 h 10000"/>
              <a:gd name="connsiteX7" fmla="*/ 5622 w 9945"/>
              <a:gd name="connsiteY7" fmla="*/ 313 h 10000"/>
              <a:gd name="connsiteX8" fmla="*/ 5622 w 9945"/>
              <a:gd name="connsiteY8" fmla="*/ 5772 h 10000"/>
              <a:gd name="connsiteX9" fmla="*/ 5677 w 9945"/>
              <a:gd name="connsiteY9" fmla="*/ 6085 h 10000"/>
              <a:gd name="connsiteX10" fmla="*/ 6386 w 9945"/>
              <a:gd name="connsiteY10" fmla="*/ 6085 h 10000"/>
              <a:gd name="connsiteX11" fmla="*/ 6443 w 9945"/>
              <a:gd name="connsiteY11" fmla="*/ 5772 h 10000"/>
              <a:gd name="connsiteX12" fmla="*/ 6443 w 9945"/>
              <a:gd name="connsiteY12" fmla="*/ 2293 h 10000"/>
              <a:gd name="connsiteX13" fmla="*/ 6498 w 9945"/>
              <a:gd name="connsiteY13" fmla="*/ 1980 h 10000"/>
              <a:gd name="connsiteX14" fmla="*/ 8074 w 9945"/>
              <a:gd name="connsiteY14" fmla="*/ 1980 h 10000"/>
              <a:gd name="connsiteX15" fmla="*/ 8129 w 9945"/>
              <a:gd name="connsiteY15" fmla="*/ 2293 h 10000"/>
              <a:gd name="connsiteX16" fmla="*/ 8129 w 9945"/>
              <a:gd name="connsiteY16" fmla="*/ 9687 h 10000"/>
              <a:gd name="connsiteX17" fmla="*/ 8184 w 9945"/>
              <a:gd name="connsiteY17" fmla="*/ 10000 h 10000"/>
              <a:gd name="connsiteX18" fmla="*/ 9945 w 9945"/>
              <a:gd name="connsiteY18" fmla="*/ 10000 h 10000"/>
              <a:gd name="connsiteX0" fmla="*/ 0 w 8229"/>
              <a:gd name="connsiteY0" fmla="*/ 8333 h 10000"/>
              <a:gd name="connsiteX1" fmla="*/ 57 w 8229"/>
              <a:gd name="connsiteY1" fmla="*/ 8647 h 10000"/>
              <a:gd name="connsiteX2" fmla="*/ 2913 w 8229"/>
              <a:gd name="connsiteY2" fmla="*/ 8647 h 10000"/>
              <a:gd name="connsiteX3" fmla="*/ 2967 w 8229"/>
              <a:gd name="connsiteY3" fmla="*/ 8333 h 10000"/>
              <a:gd name="connsiteX4" fmla="*/ 2967 w 8229"/>
              <a:gd name="connsiteY4" fmla="*/ 313 h 10000"/>
              <a:gd name="connsiteX5" fmla="*/ 3024 w 8229"/>
              <a:gd name="connsiteY5" fmla="*/ 0 h 10000"/>
              <a:gd name="connsiteX6" fmla="*/ 5599 w 8229"/>
              <a:gd name="connsiteY6" fmla="*/ 0 h 10000"/>
              <a:gd name="connsiteX7" fmla="*/ 5653 w 8229"/>
              <a:gd name="connsiteY7" fmla="*/ 313 h 10000"/>
              <a:gd name="connsiteX8" fmla="*/ 5653 w 8229"/>
              <a:gd name="connsiteY8" fmla="*/ 5772 h 10000"/>
              <a:gd name="connsiteX9" fmla="*/ 5708 w 8229"/>
              <a:gd name="connsiteY9" fmla="*/ 6085 h 10000"/>
              <a:gd name="connsiteX10" fmla="*/ 6421 w 8229"/>
              <a:gd name="connsiteY10" fmla="*/ 6085 h 10000"/>
              <a:gd name="connsiteX11" fmla="*/ 6479 w 8229"/>
              <a:gd name="connsiteY11" fmla="*/ 5772 h 10000"/>
              <a:gd name="connsiteX12" fmla="*/ 6479 w 8229"/>
              <a:gd name="connsiteY12" fmla="*/ 2293 h 10000"/>
              <a:gd name="connsiteX13" fmla="*/ 6534 w 8229"/>
              <a:gd name="connsiteY13" fmla="*/ 1980 h 10000"/>
              <a:gd name="connsiteX14" fmla="*/ 8119 w 8229"/>
              <a:gd name="connsiteY14" fmla="*/ 1980 h 10000"/>
              <a:gd name="connsiteX15" fmla="*/ 8174 w 8229"/>
              <a:gd name="connsiteY15" fmla="*/ 2293 h 10000"/>
              <a:gd name="connsiteX16" fmla="*/ 8174 w 8229"/>
              <a:gd name="connsiteY16" fmla="*/ 9687 h 10000"/>
              <a:gd name="connsiteX17" fmla="*/ 8229 w 8229"/>
              <a:gd name="connsiteY17" fmla="*/ 10000 h 10000"/>
              <a:gd name="connsiteX0" fmla="*/ 0 w 9933"/>
              <a:gd name="connsiteY0" fmla="*/ 8333 h 9687"/>
              <a:gd name="connsiteX1" fmla="*/ 69 w 9933"/>
              <a:gd name="connsiteY1" fmla="*/ 8647 h 9687"/>
              <a:gd name="connsiteX2" fmla="*/ 3540 w 9933"/>
              <a:gd name="connsiteY2" fmla="*/ 8647 h 9687"/>
              <a:gd name="connsiteX3" fmla="*/ 3606 w 9933"/>
              <a:gd name="connsiteY3" fmla="*/ 8333 h 9687"/>
              <a:gd name="connsiteX4" fmla="*/ 3606 w 9933"/>
              <a:gd name="connsiteY4" fmla="*/ 313 h 9687"/>
              <a:gd name="connsiteX5" fmla="*/ 3675 w 9933"/>
              <a:gd name="connsiteY5" fmla="*/ 0 h 9687"/>
              <a:gd name="connsiteX6" fmla="*/ 6804 w 9933"/>
              <a:gd name="connsiteY6" fmla="*/ 0 h 9687"/>
              <a:gd name="connsiteX7" fmla="*/ 6870 w 9933"/>
              <a:gd name="connsiteY7" fmla="*/ 313 h 9687"/>
              <a:gd name="connsiteX8" fmla="*/ 6870 w 9933"/>
              <a:gd name="connsiteY8" fmla="*/ 5772 h 9687"/>
              <a:gd name="connsiteX9" fmla="*/ 6936 w 9933"/>
              <a:gd name="connsiteY9" fmla="*/ 6085 h 9687"/>
              <a:gd name="connsiteX10" fmla="*/ 7803 w 9933"/>
              <a:gd name="connsiteY10" fmla="*/ 6085 h 9687"/>
              <a:gd name="connsiteX11" fmla="*/ 7873 w 9933"/>
              <a:gd name="connsiteY11" fmla="*/ 5772 h 9687"/>
              <a:gd name="connsiteX12" fmla="*/ 7873 w 9933"/>
              <a:gd name="connsiteY12" fmla="*/ 2293 h 9687"/>
              <a:gd name="connsiteX13" fmla="*/ 7940 w 9933"/>
              <a:gd name="connsiteY13" fmla="*/ 1980 h 9687"/>
              <a:gd name="connsiteX14" fmla="*/ 9866 w 9933"/>
              <a:gd name="connsiteY14" fmla="*/ 1980 h 9687"/>
              <a:gd name="connsiteX15" fmla="*/ 9933 w 9933"/>
              <a:gd name="connsiteY15" fmla="*/ 2293 h 9687"/>
              <a:gd name="connsiteX16" fmla="*/ 9933 w 9933"/>
              <a:gd name="connsiteY16" fmla="*/ 9687 h 9687"/>
              <a:gd name="connsiteX0" fmla="*/ 0 w 10000"/>
              <a:gd name="connsiteY0" fmla="*/ 8602 h 8926"/>
              <a:gd name="connsiteX1" fmla="*/ 69 w 10000"/>
              <a:gd name="connsiteY1" fmla="*/ 8926 h 8926"/>
              <a:gd name="connsiteX2" fmla="*/ 3564 w 10000"/>
              <a:gd name="connsiteY2" fmla="*/ 8926 h 8926"/>
              <a:gd name="connsiteX3" fmla="*/ 3630 w 10000"/>
              <a:gd name="connsiteY3" fmla="*/ 8602 h 8926"/>
              <a:gd name="connsiteX4" fmla="*/ 3630 w 10000"/>
              <a:gd name="connsiteY4" fmla="*/ 323 h 8926"/>
              <a:gd name="connsiteX5" fmla="*/ 3700 w 10000"/>
              <a:gd name="connsiteY5" fmla="*/ 0 h 8926"/>
              <a:gd name="connsiteX6" fmla="*/ 6850 w 10000"/>
              <a:gd name="connsiteY6" fmla="*/ 0 h 8926"/>
              <a:gd name="connsiteX7" fmla="*/ 6916 w 10000"/>
              <a:gd name="connsiteY7" fmla="*/ 323 h 8926"/>
              <a:gd name="connsiteX8" fmla="*/ 6916 w 10000"/>
              <a:gd name="connsiteY8" fmla="*/ 5959 h 8926"/>
              <a:gd name="connsiteX9" fmla="*/ 6983 w 10000"/>
              <a:gd name="connsiteY9" fmla="*/ 6282 h 8926"/>
              <a:gd name="connsiteX10" fmla="*/ 7856 w 10000"/>
              <a:gd name="connsiteY10" fmla="*/ 6282 h 8926"/>
              <a:gd name="connsiteX11" fmla="*/ 7926 w 10000"/>
              <a:gd name="connsiteY11" fmla="*/ 5959 h 8926"/>
              <a:gd name="connsiteX12" fmla="*/ 7926 w 10000"/>
              <a:gd name="connsiteY12" fmla="*/ 2367 h 8926"/>
              <a:gd name="connsiteX13" fmla="*/ 7994 w 10000"/>
              <a:gd name="connsiteY13" fmla="*/ 2044 h 8926"/>
              <a:gd name="connsiteX14" fmla="*/ 9933 w 10000"/>
              <a:gd name="connsiteY14" fmla="*/ 2044 h 8926"/>
              <a:gd name="connsiteX15" fmla="*/ 10000 w 10000"/>
              <a:gd name="connsiteY15" fmla="*/ 2367 h 8926"/>
              <a:gd name="connsiteX0" fmla="*/ 0 w 10000"/>
              <a:gd name="connsiteY0" fmla="*/ 9637 h 10000"/>
              <a:gd name="connsiteX1" fmla="*/ 3564 w 10000"/>
              <a:gd name="connsiteY1" fmla="*/ 10000 h 10000"/>
              <a:gd name="connsiteX2" fmla="*/ 3630 w 10000"/>
              <a:gd name="connsiteY2" fmla="*/ 9637 h 10000"/>
              <a:gd name="connsiteX3" fmla="*/ 3630 w 10000"/>
              <a:gd name="connsiteY3" fmla="*/ 362 h 10000"/>
              <a:gd name="connsiteX4" fmla="*/ 3700 w 10000"/>
              <a:gd name="connsiteY4" fmla="*/ 0 h 10000"/>
              <a:gd name="connsiteX5" fmla="*/ 6850 w 10000"/>
              <a:gd name="connsiteY5" fmla="*/ 0 h 10000"/>
              <a:gd name="connsiteX6" fmla="*/ 6916 w 10000"/>
              <a:gd name="connsiteY6" fmla="*/ 362 h 10000"/>
              <a:gd name="connsiteX7" fmla="*/ 6916 w 10000"/>
              <a:gd name="connsiteY7" fmla="*/ 6676 h 10000"/>
              <a:gd name="connsiteX8" fmla="*/ 6983 w 10000"/>
              <a:gd name="connsiteY8" fmla="*/ 7038 h 10000"/>
              <a:gd name="connsiteX9" fmla="*/ 7856 w 10000"/>
              <a:gd name="connsiteY9" fmla="*/ 7038 h 10000"/>
              <a:gd name="connsiteX10" fmla="*/ 7926 w 10000"/>
              <a:gd name="connsiteY10" fmla="*/ 6676 h 10000"/>
              <a:gd name="connsiteX11" fmla="*/ 7926 w 10000"/>
              <a:gd name="connsiteY11" fmla="*/ 2652 h 10000"/>
              <a:gd name="connsiteX12" fmla="*/ 7994 w 10000"/>
              <a:gd name="connsiteY12" fmla="*/ 2290 h 10000"/>
              <a:gd name="connsiteX13" fmla="*/ 9933 w 10000"/>
              <a:gd name="connsiteY13" fmla="*/ 2290 h 10000"/>
              <a:gd name="connsiteX14" fmla="*/ 10000 w 10000"/>
              <a:gd name="connsiteY14" fmla="*/ 2652 h 10000"/>
              <a:gd name="connsiteX0" fmla="*/ 0 w 9777"/>
              <a:gd name="connsiteY0" fmla="*/ 10089 h 10109"/>
              <a:gd name="connsiteX1" fmla="*/ 3341 w 9777"/>
              <a:gd name="connsiteY1" fmla="*/ 10000 h 10109"/>
              <a:gd name="connsiteX2" fmla="*/ 3407 w 9777"/>
              <a:gd name="connsiteY2" fmla="*/ 9637 h 10109"/>
              <a:gd name="connsiteX3" fmla="*/ 3407 w 9777"/>
              <a:gd name="connsiteY3" fmla="*/ 362 h 10109"/>
              <a:gd name="connsiteX4" fmla="*/ 3477 w 9777"/>
              <a:gd name="connsiteY4" fmla="*/ 0 h 10109"/>
              <a:gd name="connsiteX5" fmla="*/ 6627 w 9777"/>
              <a:gd name="connsiteY5" fmla="*/ 0 h 10109"/>
              <a:gd name="connsiteX6" fmla="*/ 6693 w 9777"/>
              <a:gd name="connsiteY6" fmla="*/ 362 h 10109"/>
              <a:gd name="connsiteX7" fmla="*/ 6693 w 9777"/>
              <a:gd name="connsiteY7" fmla="*/ 6676 h 10109"/>
              <a:gd name="connsiteX8" fmla="*/ 6760 w 9777"/>
              <a:gd name="connsiteY8" fmla="*/ 7038 h 10109"/>
              <a:gd name="connsiteX9" fmla="*/ 7633 w 9777"/>
              <a:gd name="connsiteY9" fmla="*/ 7038 h 10109"/>
              <a:gd name="connsiteX10" fmla="*/ 7703 w 9777"/>
              <a:gd name="connsiteY10" fmla="*/ 6676 h 10109"/>
              <a:gd name="connsiteX11" fmla="*/ 7703 w 9777"/>
              <a:gd name="connsiteY11" fmla="*/ 2652 h 10109"/>
              <a:gd name="connsiteX12" fmla="*/ 7771 w 9777"/>
              <a:gd name="connsiteY12" fmla="*/ 2290 h 10109"/>
              <a:gd name="connsiteX13" fmla="*/ 9710 w 9777"/>
              <a:gd name="connsiteY13" fmla="*/ 2290 h 10109"/>
              <a:gd name="connsiteX14" fmla="*/ 9777 w 9777"/>
              <a:gd name="connsiteY14" fmla="*/ 2652 h 10109"/>
              <a:gd name="connsiteX0" fmla="*/ 0 w 10000"/>
              <a:gd name="connsiteY0" fmla="*/ 9855 h 9901"/>
              <a:gd name="connsiteX1" fmla="*/ 3417 w 10000"/>
              <a:gd name="connsiteY1" fmla="*/ 9892 h 9901"/>
              <a:gd name="connsiteX2" fmla="*/ 3485 w 10000"/>
              <a:gd name="connsiteY2" fmla="*/ 9533 h 9901"/>
              <a:gd name="connsiteX3" fmla="*/ 3485 w 10000"/>
              <a:gd name="connsiteY3" fmla="*/ 358 h 9901"/>
              <a:gd name="connsiteX4" fmla="*/ 3556 w 10000"/>
              <a:gd name="connsiteY4" fmla="*/ 0 h 9901"/>
              <a:gd name="connsiteX5" fmla="*/ 6778 w 10000"/>
              <a:gd name="connsiteY5" fmla="*/ 0 h 9901"/>
              <a:gd name="connsiteX6" fmla="*/ 6846 w 10000"/>
              <a:gd name="connsiteY6" fmla="*/ 358 h 9901"/>
              <a:gd name="connsiteX7" fmla="*/ 6846 w 10000"/>
              <a:gd name="connsiteY7" fmla="*/ 6604 h 9901"/>
              <a:gd name="connsiteX8" fmla="*/ 6914 w 10000"/>
              <a:gd name="connsiteY8" fmla="*/ 6962 h 9901"/>
              <a:gd name="connsiteX9" fmla="*/ 7807 w 10000"/>
              <a:gd name="connsiteY9" fmla="*/ 6962 h 9901"/>
              <a:gd name="connsiteX10" fmla="*/ 7879 w 10000"/>
              <a:gd name="connsiteY10" fmla="*/ 6604 h 9901"/>
              <a:gd name="connsiteX11" fmla="*/ 7879 w 10000"/>
              <a:gd name="connsiteY11" fmla="*/ 2623 h 9901"/>
              <a:gd name="connsiteX12" fmla="*/ 7948 w 10000"/>
              <a:gd name="connsiteY12" fmla="*/ 2265 h 9901"/>
              <a:gd name="connsiteX13" fmla="*/ 9931 w 10000"/>
              <a:gd name="connsiteY13" fmla="*/ 2265 h 9901"/>
              <a:gd name="connsiteX14" fmla="*/ 10000 w 10000"/>
              <a:gd name="connsiteY14" fmla="*/ 2623 h 9901"/>
              <a:gd name="connsiteX0" fmla="*/ 0 w 10000"/>
              <a:gd name="connsiteY0" fmla="*/ 9954 h 10007"/>
              <a:gd name="connsiteX1" fmla="*/ 3417 w 10000"/>
              <a:gd name="connsiteY1" fmla="*/ 9991 h 10007"/>
              <a:gd name="connsiteX2" fmla="*/ 3485 w 10000"/>
              <a:gd name="connsiteY2" fmla="*/ 9628 h 10007"/>
              <a:gd name="connsiteX3" fmla="*/ 3485 w 10000"/>
              <a:gd name="connsiteY3" fmla="*/ 362 h 10007"/>
              <a:gd name="connsiteX4" fmla="*/ 3556 w 10000"/>
              <a:gd name="connsiteY4" fmla="*/ 0 h 10007"/>
              <a:gd name="connsiteX5" fmla="*/ 6778 w 10000"/>
              <a:gd name="connsiteY5" fmla="*/ 0 h 10007"/>
              <a:gd name="connsiteX6" fmla="*/ 6846 w 10000"/>
              <a:gd name="connsiteY6" fmla="*/ 362 h 10007"/>
              <a:gd name="connsiteX7" fmla="*/ 6846 w 10000"/>
              <a:gd name="connsiteY7" fmla="*/ 6670 h 10007"/>
              <a:gd name="connsiteX8" fmla="*/ 6914 w 10000"/>
              <a:gd name="connsiteY8" fmla="*/ 7032 h 10007"/>
              <a:gd name="connsiteX9" fmla="*/ 7807 w 10000"/>
              <a:gd name="connsiteY9" fmla="*/ 7032 h 10007"/>
              <a:gd name="connsiteX10" fmla="*/ 7879 w 10000"/>
              <a:gd name="connsiteY10" fmla="*/ 6670 h 10007"/>
              <a:gd name="connsiteX11" fmla="*/ 7879 w 10000"/>
              <a:gd name="connsiteY11" fmla="*/ 2649 h 10007"/>
              <a:gd name="connsiteX12" fmla="*/ 7948 w 10000"/>
              <a:gd name="connsiteY12" fmla="*/ 2288 h 10007"/>
              <a:gd name="connsiteX13" fmla="*/ 9931 w 10000"/>
              <a:gd name="connsiteY13" fmla="*/ 2288 h 10007"/>
              <a:gd name="connsiteX14" fmla="*/ 10000 w 10000"/>
              <a:gd name="connsiteY14" fmla="*/ 2649 h 10007"/>
              <a:gd name="connsiteX0" fmla="*/ 0 w 10000"/>
              <a:gd name="connsiteY0" fmla="*/ 9954 h 10038"/>
              <a:gd name="connsiteX1" fmla="*/ 3417 w 10000"/>
              <a:gd name="connsiteY1" fmla="*/ 9991 h 10038"/>
              <a:gd name="connsiteX2" fmla="*/ 3485 w 10000"/>
              <a:gd name="connsiteY2" fmla="*/ 9628 h 10038"/>
              <a:gd name="connsiteX3" fmla="*/ 3485 w 10000"/>
              <a:gd name="connsiteY3" fmla="*/ 362 h 10038"/>
              <a:gd name="connsiteX4" fmla="*/ 3556 w 10000"/>
              <a:gd name="connsiteY4" fmla="*/ 0 h 10038"/>
              <a:gd name="connsiteX5" fmla="*/ 6778 w 10000"/>
              <a:gd name="connsiteY5" fmla="*/ 0 h 10038"/>
              <a:gd name="connsiteX6" fmla="*/ 6846 w 10000"/>
              <a:gd name="connsiteY6" fmla="*/ 362 h 10038"/>
              <a:gd name="connsiteX7" fmla="*/ 6846 w 10000"/>
              <a:gd name="connsiteY7" fmla="*/ 6670 h 10038"/>
              <a:gd name="connsiteX8" fmla="*/ 6914 w 10000"/>
              <a:gd name="connsiteY8" fmla="*/ 7032 h 10038"/>
              <a:gd name="connsiteX9" fmla="*/ 7807 w 10000"/>
              <a:gd name="connsiteY9" fmla="*/ 7032 h 10038"/>
              <a:gd name="connsiteX10" fmla="*/ 7879 w 10000"/>
              <a:gd name="connsiteY10" fmla="*/ 6670 h 10038"/>
              <a:gd name="connsiteX11" fmla="*/ 7879 w 10000"/>
              <a:gd name="connsiteY11" fmla="*/ 2649 h 10038"/>
              <a:gd name="connsiteX12" fmla="*/ 7948 w 10000"/>
              <a:gd name="connsiteY12" fmla="*/ 2288 h 10038"/>
              <a:gd name="connsiteX13" fmla="*/ 9931 w 10000"/>
              <a:gd name="connsiteY13" fmla="*/ 2288 h 10038"/>
              <a:gd name="connsiteX14" fmla="*/ 10000 w 10000"/>
              <a:gd name="connsiteY14" fmla="*/ 2649 h 10038"/>
              <a:gd name="connsiteX0" fmla="*/ 0 w 10000"/>
              <a:gd name="connsiteY0" fmla="*/ 9954 h 10007"/>
              <a:gd name="connsiteX1" fmla="*/ 3417 w 10000"/>
              <a:gd name="connsiteY1" fmla="*/ 9991 h 10007"/>
              <a:gd name="connsiteX2" fmla="*/ 3485 w 10000"/>
              <a:gd name="connsiteY2" fmla="*/ 9628 h 10007"/>
              <a:gd name="connsiteX3" fmla="*/ 3485 w 10000"/>
              <a:gd name="connsiteY3" fmla="*/ 362 h 10007"/>
              <a:gd name="connsiteX4" fmla="*/ 3556 w 10000"/>
              <a:gd name="connsiteY4" fmla="*/ 0 h 10007"/>
              <a:gd name="connsiteX5" fmla="*/ 6778 w 10000"/>
              <a:gd name="connsiteY5" fmla="*/ 0 h 10007"/>
              <a:gd name="connsiteX6" fmla="*/ 6846 w 10000"/>
              <a:gd name="connsiteY6" fmla="*/ 362 h 10007"/>
              <a:gd name="connsiteX7" fmla="*/ 6846 w 10000"/>
              <a:gd name="connsiteY7" fmla="*/ 6670 h 10007"/>
              <a:gd name="connsiteX8" fmla="*/ 6914 w 10000"/>
              <a:gd name="connsiteY8" fmla="*/ 7032 h 10007"/>
              <a:gd name="connsiteX9" fmla="*/ 7807 w 10000"/>
              <a:gd name="connsiteY9" fmla="*/ 7032 h 10007"/>
              <a:gd name="connsiteX10" fmla="*/ 7879 w 10000"/>
              <a:gd name="connsiteY10" fmla="*/ 6670 h 10007"/>
              <a:gd name="connsiteX11" fmla="*/ 7879 w 10000"/>
              <a:gd name="connsiteY11" fmla="*/ 2649 h 10007"/>
              <a:gd name="connsiteX12" fmla="*/ 7948 w 10000"/>
              <a:gd name="connsiteY12" fmla="*/ 2288 h 10007"/>
              <a:gd name="connsiteX13" fmla="*/ 9931 w 10000"/>
              <a:gd name="connsiteY13" fmla="*/ 2288 h 10007"/>
              <a:gd name="connsiteX14" fmla="*/ 10000 w 10000"/>
              <a:gd name="connsiteY14" fmla="*/ 2649 h 10007"/>
              <a:gd name="connsiteX0" fmla="*/ 0 w 10000"/>
              <a:gd name="connsiteY0" fmla="*/ 9972 h 10018"/>
              <a:gd name="connsiteX1" fmla="*/ 3417 w 10000"/>
              <a:gd name="connsiteY1" fmla="*/ 9991 h 10018"/>
              <a:gd name="connsiteX2" fmla="*/ 3485 w 10000"/>
              <a:gd name="connsiteY2" fmla="*/ 9628 h 10018"/>
              <a:gd name="connsiteX3" fmla="*/ 3485 w 10000"/>
              <a:gd name="connsiteY3" fmla="*/ 362 h 10018"/>
              <a:gd name="connsiteX4" fmla="*/ 3556 w 10000"/>
              <a:gd name="connsiteY4" fmla="*/ 0 h 10018"/>
              <a:gd name="connsiteX5" fmla="*/ 6778 w 10000"/>
              <a:gd name="connsiteY5" fmla="*/ 0 h 10018"/>
              <a:gd name="connsiteX6" fmla="*/ 6846 w 10000"/>
              <a:gd name="connsiteY6" fmla="*/ 362 h 10018"/>
              <a:gd name="connsiteX7" fmla="*/ 6846 w 10000"/>
              <a:gd name="connsiteY7" fmla="*/ 6670 h 10018"/>
              <a:gd name="connsiteX8" fmla="*/ 6914 w 10000"/>
              <a:gd name="connsiteY8" fmla="*/ 7032 h 10018"/>
              <a:gd name="connsiteX9" fmla="*/ 7807 w 10000"/>
              <a:gd name="connsiteY9" fmla="*/ 7032 h 10018"/>
              <a:gd name="connsiteX10" fmla="*/ 7879 w 10000"/>
              <a:gd name="connsiteY10" fmla="*/ 6670 h 10018"/>
              <a:gd name="connsiteX11" fmla="*/ 7879 w 10000"/>
              <a:gd name="connsiteY11" fmla="*/ 2649 h 10018"/>
              <a:gd name="connsiteX12" fmla="*/ 7948 w 10000"/>
              <a:gd name="connsiteY12" fmla="*/ 2288 h 10018"/>
              <a:gd name="connsiteX13" fmla="*/ 9931 w 10000"/>
              <a:gd name="connsiteY13" fmla="*/ 2288 h 10018"/>
              <a:gd name="connsiteX14" fmla="*/ 10000 w 10000"/>
              <a:gd name="connsiteY14" fmla="*/ 2649 h 10018"/>
              <a:gd name="connsiteX0" fmla="*/ 0 w 10000"/>
              <a:gd name="connsiteY0" fmla="*/ 9972 h 9991"/>
              <a:gd name="connsiteX1" fmla="*/ 3417 w 10000"/>
              <a:gd name="connsiteY1" fmla="*/ 9991 h 9991"/>
              <a:gd name="connsiteX2" fmla="*/ 3485 w 10000"/>
              <a:gd name="connsiteY2" fmla="*/ 9628 h 9991"/>
              <a:gd name="connsiteX3" fmla="*/ 3485 w 10000"/>
              <a:gd name="connsiteY3" fmla="*/ 362 h 9991"/>
              <a:gd name="connsiteX4" fmla="*/ 3556 w 10000"/>
              <a:gd name="connsiteY4" fmla="*/ 0 h 9991"/>
              <a:gd name="connsiteX5" fmla="*/ 6778 w 10000"/>
              <a:gd name="connsiteY5" fmla="*/ 0 h 9991"/>
              <a:gd name="connsiteX6" fmla="*/ 6846 w 10000"/>
              <a:gd name="connsiteY6" fmla="*/ 362 h 9991"/>
              <a:gd name="connsiteX7" fmla="*/ 6846 w 10000"/>
              <a:gd name="connsiteY7" fmla="*/ 6670 h 9991"/>
              <a:gd name="connsiteX8" fmla="*/ 6914 w 10000"/>
              <a:gd name="connsiteY8" fmla="*/ 7032 h 9991"/>
              <a:gd name="connsiteX9" fmla="*/ 7807 w 10000"/>
              <a:gd name="connsiteY9" fmla="*/ 7032 h 9991"/>
              <a:gd name="connsiteX10" fmla="*/ 7879 w 10000"/>
              <a:gd name="connsiteY10" fmla="*/ 6670 h 9991"/>
              <a:gd name="connsiteX11" fmla="*/ 7879 w 10000"/>
              <a:gd name="connsiteY11" fmla="*/ 2649 h 9991"/>
              <a:gd name="connsiteX12" fmla="*/ 7948 w 10000"/>
              <a:gd name="connsiteY12" fmla="*/ 2288 h 9991"/>
              <a:gd name="connsiteX13" fmla="*/ 9931 w 10000"/>
              <a:gd name="connsiteY13" fmla="*/ 2288 h 9991"/>
              <a:gd name="connsiteX14" fmla="*/ 10000 w 10000"/>
              <a:gd name="connsiteY14" fmla="*/ 2649 h 9991"/>
              <a:gd name="connsiteX0" fmla="*/ 0 w 10000"/>
              <a:gd name="connsiteY0" fmla="*/ 10008 h 10015"/>
              <a:gd name="connsiteX1" fmla="*/ 3417 w 10000"/>
              <a:gd name="connsiteY1" fmla="*/ 10000 h 10015"/>
              <a:gd name="connsiteX2" fmla="*/ 3485 w 10000"/>
              <a:gd name="connsiteY2" fmla="*/ 9637 h 10015"/>
              <a:gd name="connsiteX3" fmla="*/ 3485 w 10000"/>
              <a:gd name="connsiteY3" fmla="*/ 362 h 10015"/>
              <a:gd name="connsiteX4" fmla="*/ 3556 w 10000"/>
              <a:gd name="connsiteY4" fmla="*/ 0 h 10015"/>
              <a:gd name="connsiteX5" fmla="*/ 6778 w 10000"/>
              <a:gd name="connsiteY5" fmla="*/ 0 h 10015"/>
              <a:gd name="connsiteX6" fmla="*/ 6846 w 10000"/>
              <a:gd name="connsiteY6" fmla="*/ 362 h 10015"/>
              <a:gd name="connsiteX7" fmla="*/ 6846 w 10000"/>
              <a:gd name="connsiteY7" fmla="*/ 6676 h 10015"/>
              <a:gd name="connsiteX8" fmla="*/ 6914 w 10000"/>
              <a:gd name="connsiteY8" fmla="*/ 7038 h 10015"/>
              <a:gd name="connsiteX9" fmla="*/ 7807 w 10000"/>
              <a:gd name="connsiteY9" fmla="*/ 7038 h 10015"/>
              <a:gd name="connsiteX10" fmla="*/ 7879 w 10000"/>
              <a:gd name="connsiteY10" fmla="*/ 6676 h 10015"/>
              <a:gd name="connsiteX11" fmla="*/ 7879 w 10000"/>
              <a:gd name="connsiteY11" fmla="*/ 2651 h 10015"/>
              <a:gd name="connsiteX12" fmla="*/ 7948 w 10000"/>
              <a:gd name="connsiteY12" fmla="*/ 2290 h 10015"/>
              <a:gd name="connsiteX13" fmla="*/ 9931 w 10000"/>
              <a:gd name="connsiteY13" fmla="*/ 2290 h 10015"/>
              <a:gd name="connsiteX14" fmla="*/ 10000 w 10000"/>
              <a:gd name="connsiteY14" fmla="*/ 2651 h 10015"/>
              <a:gd name="connsiteX0" fmla="*/ 0 w 10000"/>
              <a:gd name="connsiteY0" fmla="*/ 10008 h 10008"/>
              <a:gd name="connsiteX1" fmla="*/ 3417 w 10000"/>
              <a:gd name="connsiteY1" fmla="*/ 10000 h 10008"/>
              <a:gd name="connsiteX2" fmla="*/ 3485 w 10000"/>
              <a:gd name="connsiteY2" fmla="*/ 9637 h 10008"/>
              <a:gd name="connsiteX3" fmla="*/ 3485 w 10000"/>
              <a:gd name="connsiteY3" fmla="*/ 362 h 10008"/>
              <a:gd name="connsiteX4" fmla="*/ 3556 w 10000"/>
              <a:gd name="connsiteY4" fmla="*/ 0 h 10008"/>
              <a:gd name="connsiteX5" fmla="*/ 6778 w 10000"/>
              <a:gd name="connsiteY5" fmla="*/ 0 h 10008"/>
              <a:gd name="connsiteX6" fmla="*/ 6846 w 10000"/>
              <a:gd name="connsiteY6" fmla="*/ 362 h 10008"/>
              <a:gd name="connsiteX7" fmla="*/ 6846 w 10000"/>
              <a:gd name="connsiteY7" fmla="*/ 6676 h 10008"/>
              <a:gd name="connsiteX8" fmla="*/ 6914 w 10000"/>
              <a:gd name="connsiteY8" fmla="*/ 7038 h 10008"/>
              <a:gd name="connsiteX9" fmla="*/ 7807 w 10000"/>
              <a:gd name="connsiteY9" fmla="*/ 7038 h 10008"/>
              <a:gd name="connsiteX10" fmla="*/ 7879 w 10000"/>
              <a:gd name="connsiteY10" fmla="*/ 6676 h 10008"/>
              <a:gd name="connsiteX11" fmla="*/ 7879 w 10000"/>
              <a:gd name="connsiteY11" fmla="*/ 2651 h 10008"/>
              <a:gd name="connsiteX12" fmla="*/ 7948 w 10000"/>
              <a:gd name="connsiteY12" fmla="*/ 2290 h 10008"/>
              <a:gd name="connsiteX13" fmla="*/ 9931 w 10000"/>
              <a:gd name="connsiteY13" fmla="*/ 2290 h 10008"/>
              <a:gd name="connsiteX14" fmla="*/ 10000 w 10000"/>
              <a:gd name="connsiteY14" fmla="*/ 2651 h 10008"/>
              <a:gd name="connsiteX0" fmla="*/ 0 w 10000"/>
              <a:gd name="connsiteY0" fmla="*/ 10008 h 10008"/>
              <a:gd name="connsiteX1" fmla="*/ 3417 w 10000"/>
              <a:gd name="connsiteY1" fmla="*/ 10000 h 10008"/>
              <a:gd name="connsiteX2" fmla="*/ 3485 w 10000"/>
              <a:gd name="connsiteY2" fmla="*/ 9637 h 10008"/>
              <a:gd name="connsiteX3" fmla="*/ 3485 w 10000"/>
              <a:gd name="connsiteY3" fmla="*/ 362 h 10008"/>
              <a:gd name="connsiteX4" fmla="*/ 3556 w 10000"/>
              <a:gd name="connsiteY4" fmla="*/ 0 h 10008"/>
              <a:gd name="connsiteX5" fmla="*/ 6778 w 10000"/>
              <a:gd name="connsiteY5" fmla="*/ 0 h 10008"/>
              <a:gd name="connsiteX6" fmla="*/ 6846 w 10000"/>
              <a:gd name="connsiteY6" fmla="*/ 362 h 10008"/>
              <a:gd name="connsiteX7" fmla="*/ 6846 w 10000"/>
              <a:gd name="connsiteY7" fmla="*/ 6676 h 10008"/>
              <a:gd name="connsiteX8" fmla="*/ 6914 w 10000"/>
              <a:gd name="connsiteY8" fmla="*/ 7038 h 10008"/>
              <a:gd name="connsiteX9" fmla="*/ 7807 w 10000"/>
              <a:gd name="connsiteY9" fmla="*/ 7038 h 10008"/>
              <a:gd name="connsiteX10" fmla="*/ 7879 w 10000"/>
              <a:gd name="connsiteY10" fmla="*/ 6676 h 10008"/>
              <a:gd name="connsiteX11" fmla="*/ 7879 w 10000"/>
              <a:gd name="connsiteY11" fmla="*/ 2651 h 10008"/>
              <a:gd name="connsiteX12" fmla="*/ 7948 w 10000"/>
              <a:gd name="connsiteY12" fmla="*/ 2290 h 10008"/>
              <a:gd name="connsiteX13" fmla="*/ 10000 w 10000"/>
              <a:gd name="connsiteY13" fmla="*/ 2651 h 10008"/>
              <a:gd name="connsiteX0" fmla="*/ 0 w 9969"/>
              <a:gd name="connsiteY0" fmla="*/ 10008 h 10008"/>
              <a:gd name="connsiteX1" fmla="*/ 3417 w 9969"/>
              <a:gd name="connsiteY1" fmla="*/ 10000 h 10008"/>
              <a:gd name="connsiteX2" fmla="*/ 3485 w 9969"/>
              <a:gd name="connsiteY2" fmla="*/ 9637 h 10008"/>
              <a:gd name="connsiteX3" fmla="*/ 3485 w 9969"/>
              <a:gd name="connsiteY3" fmla="*/ 362 h 10008"/>
              <a:gd name="connsiteX4" fmla="*/ 3556 w 9969"/>
              <a:gd name="connsiteY4" fmla="*/ 0 h 10008"/>
              <a:gd name="connsiteX5" fmla="*/ 6778 w 9969"/>
              <a:gd name="connsiteY5" fmla="*/ 0 h 10008"/>
              <a:gd name="connsiteX6" fmla="*/ 6846 w 9969"/>
              <a:gd name="connsiteY6" fmla="*/ 362 h 10008"/>
              <a:gd name="connsiteX7" fmla="*/ 6846 w 9969"/>
              <a:gd name="connsiteY7" fmla="*/ 6676 h 10008"/>
              <a:gd name="connsiteX8" fmla="*/ 6914 w 9969"/>
              <a:gd name="connsiteY8" fmla="*/ 7038 h 10008"/>
              <a:gd name="connsiteX9" fmla="*/ 7807 w 9969"/>
              <a:gd name="connsiteY9" fmla="*/ 7038 h 10008"/>
              <a:gd name="connsiteX10" fmla="*/ 7879 w 9969"/>
              <a:gd name="connsiteY10" fmla="*/ 6676 h 10008"/>
              <a:gd name="connsiteX11" fmla="*/ 7879 w 9969"/>
              <a:gd name="connsiteY11" fmla="*/ 2651 h 10008"/>
              <a:gd name="connsiteX12" fmla="*/ 7948 w 9969"/>
              <a:gd name="connsiteY12" fmla="*/ 2290 h 10008"/>
              <a:gd name="connsiteX13" fmla="*/ 9969 w 9969"/>
              <a:gd name="connsiteY13" fmla="*/ 2271 h 10008"/>
              <a:gd name="connsiteX0" fmla="*/ 0 w 9995"/>
              <a:gd name="connsiteY0" fmla="*/ 10000 h 10000"/>
              <a:gd name="connsiteX1" fmla="*/ 3428 w 9995"/>
              <a:gd name="connsiteY1" fmla="*/ 9992 h 10000"/>
              <a:gd name="connsiteX2" fmla="*/ 3496 w 9995"/>
              <a:gd name="connsiteY2" fmla="*/ 9629 h 10000"/>
              <a:gd name="connsiteX3" fmla="*/ 3496 w 9995"/>
              <a:gd name="connsiteY3" fmla="*/ 362 h 10000"/>
              <a:gd name="connsiteX4" fmla="*/ 3567 w 9995"/>
              <a:gd name="connsiteY4" fmla="*/ 0 h 10000"/>
              <a:gd name="connsiteX5" fmla="*/ 6799 w 9995"/>
              <a:gd name="connsiteY5" fmla="*/ 0 h 10000"/>
              <a:gd name="connsiteX6" fmla="*/ 6867 w 9995"/>
              <a:gd name="connsiteY6" fmla="*/ 362 h 10000"/>
              <a:gd name="connsiteX7" fmla="*/ 6867 w 9995"/>
              <a:gd name="connsiteY7" fmla="*/ 6671 h 10000"/>
              <a:gd name="connsiteX8" fmla="*/ 6936 w 9995"/>
              <a:gd name="connsiteY8" fmla="*/ 7032 h 10000"/>
              <a:gd name="connsiteX9" fmla="*/ 7831 w 9995"/>
              <a:gd name="connsiteY9" fmla="*/ 7032 h 10000"/>
              <a:gd name="connsiteX10" fmla="*/ 7904 w 9995"/>
              <a:gd name="connsiteY10" fmla="*/ 6671 h 10000"/>
              <a:gd name="connsiteX11" fmla="*/ 7904 w 9995"/>
              <a:gd name="connsiteY11" fmla="*/ 2649 h 10000"/>
              <a:gd name="connsiteX12" fmla="*/ 7973 w 9995"/>
              <a:gd name="connsiteY12" fmla="*/ 2288 h 10000"/>
              <a:gd name="connsiteX13" fmla="*/ 9995 w 9995"/>
              <a:gd name="connsiteY13" fmla="*/ 2377 h 10000"/>
              <a:gd name="connsiteX0" fmla="*/ 0 w 10000"/>
              <a:gd name="connsiteY0" fmla="*/ 10000 h 10000"/>
              <a:gd name="connsiteX1" fmla="*/ 3430 w 10000"/>
              <a:gd name="connsiteY1" fmla="*/ 9992 h 10000"/>
              <a:gd name="connsiteX2" fmla="*/ 3498 w 10000"/>
              <a:gd name="connsiteY2" fmla="*/ 9629 h 10000"/>
              <a:gd name="connsiteX3" fmla="*/ 3498 w 10000"/>
              <a:gd name="connsiteY3" fmla="*/ 362 h 10000"/>
              <a:gd name="connsiteX4" fmla="*/ 3569 w 10000"/>
              <a:gd name="connsiteY4" fmla="*/ 0 h 10000"/>
              <a:gd name="connsiteX5" fmla="*/ 6802 w 10000"/>
              <a:gd name="connsiteY5" fmla="*/ 0 h 10000"/>
              <a:gd name="connsiteX6" fmla="*/ 6870 w 10000"/>
              <a:gd name="connsiteY6" fmla="*/ 362 h 10000"/>
              <a:gd name="connsiteX7" fmla="*/ 6870 w 10000"/>
              <a:gd name="connsiteY7" fmla="*/ 6671 h 10000"/>
              <a:gd name="connsiteX8" fmla="*/ 6939 w 10000"/>
              <a:gd name="connsiteY8" fmla="*/ 7032 h 10000"/>
              <a:gd name="connsiteX9" fmla="*/ 7835 w 10000"/>
              <a:gd name="connsiteY9" fmla="*/ 7032 h 10000"/>
              <a:gd name="connsiteX10" fmla="*/ 7908 w 10000"/>
              <a:gd name="connsiteY10" fmla="*/ 6671 h 10000"/>
              <a:gd name="connsiteX11" fmla="*/ 7908 w 10000"/>
              <a:gd name="connsiteY11" fmla="*/ 2649 h 10000"/>
              <a:gd name="connsiteX12" fmla="*/ 7977 w 10000"/>
              <a:gd name="connsiteY12" fmla="*/ 2288 h 10000"/>
              <a:gd name="connsiteX13" fmla="*/ 10000 w 10000"/>
              <a:gd name="connsiteY13" fmla="*/ 2296 h 10000"/>
              <a:gd name="connsiteX0" fmla="*/ 0 w 10049"/>
              <a:gd name="connsiteY0" fmla="*/ 10000 h 10000"/>
              <a:gd name="connsiteX1" fmla="*/ 3479 w 10049"/>
              <a:gd name="connsiteY1" fmla="*/ 9992 h 10000"/>
              <a:gd name="connsiteX2" fmla="*/ 3547 w 10049"/>
              <a:gd name="connsiteY2" fmla="*/ 9629 h 10000"/>
              <a:gd name="connsiteX3" fmla="*/ 3547 w 10049"/>
              <a:gd name="connsiteY3" fmla="*/ 362 h 10000"/>
              <a:gd name="connsiteX4" fmla="*/ 3618 w 10049"/>
              <a:gd name="connsiteY4" fmla="*/ 0 h 10000"/>
              <a:gd name="connsiteX5" fmla="*/ 6851 w 10049"/>
              <a:gd name="connsiteY5" fmla="*/ 0 h 10000"/>
              <a:gd name="connsiteX6" fmla="*/ 6919 w 10049"/>
              <a:gd name="connsiteY6" fmla="*/ 362 h 10000"/>
              <a:gd name="connsiteX7" fmla="*/ 6919 w 10049"/>
              <a:gd name="connsiteY7" fmla="*/ 6671 h 10000"/>
              <a:gd name="connsiteX8" fmla="*/ 6988 w 10049"/>
              <a:gd name="connsiteY8" fmla="*/ 7032 h 10000"/>
              <a:gd name="connsiteX9" fmla="*/ 7884 w 10049"/>
              <a:gd name="connsiteY9" fmla="*/ 7032 h 10000"/>
              <a:gd name="connsiteX10" fmla="*/ 7957 w 10049"/>
              <a:gd name="connsiteY10" fmla="*/ 6671 h 10000"/>
              <a:gd name="connsiteX11" fmla="*/ 7957 w 10049"/>
              <a:gd name="connsiteY11" fmla="*/ 2649 h 10000"/>
              <a:gd name="connsiteX12" fmla="*/ 8026 w 10049"/>
              <a:gd name="connsiteY12" fmla="*/ 2288 h 10000"/>
              <a:gd name="connsiteX13" fmla="*/ 10049 w 10049"/>
              <a:gd name="connsiteY13" fmla="*/ 2296 h 10000"/>
              <a:gd name="connsiteX0" fmla="*/ 0 w 10007"/>
              <a:gd name="connsiteY0" fmla="*/ 10000 h 10000"/>
              <a:gd name="connsiteX1" fmla="*/ 3437 w 10007"/>
              <a:gd name="connsiteY1" fmla="*/ 9992 h 10000"/>
              <a:gd name="connsiteX2" fmla="*/ 3505 w 10007"/>
              <a:gd name="connsiteY2" fmla="*/ 9629 h 10000"/>
              <a:gd name="connsiteX3" fmla="*/ 3505 w 10007"/>
              <a:gd name="connsiteY3" fmla="*/ 362 h 10000"/>
              <a:gd name="connsiteX4" fmla="*/ 3576 w 10007"/>
              <a:gd name="connsiteY4" fmla="*/ 0 h 10000"/>
              <a:gd name="connsiteX5" fmla="*/ 6809 w 10007"/>
              <a:gd name="connsiteY5" fmla="*/ 0 h 10000"/>
              <a:gd name="connsiteX6" fmla="*/ 6877 w 10007"/>
              <a:gd name="connsiteY6" fmla="*/ 362 h 10000"/>
              <a:gd name="connsiteX7" fmla="*/ 6877 w 10007"/>
              <a:gd name="connsiteY7" fmla="*/ 6671 h 10000"/>
              <a:gd name="connsiteX8" fmla="*/ 6946 w 10007"/>
              <a:gd name="connsiteY8" fmla="*/ 7032 h 10000"/>
              <a:gd name="connsiteX9" fmla="*/ 7842 w 10007"/>
              <a:gd name="connsiteY9" fmla="*/ 7032 h 10000"/>
              <a:gd name="connsiteX10" fmla="*/ 7915 w 10007"/>
              <a:gd name="connsiteY10" fmla="*/ 6671 h 10000"/>
              <a:gd name="connsiteX11" fmla="*/ 7915 w 10007"/>
              <a:gd name="connsiteY11" fmla="*/ 2649 h 10000"/>
              <a:gd name="connsiteX12" fmla="*/ 7984 w 10007"/>
              <a:gd name="connsiteY12" fmla="*/ 2288 h 10000"/>
              <a:gd name="connsiteX13" fmla="*/ 10007 w 10007"/>
              <a:gd name="connsiteY13" fmla="*/ 2296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0007" h="10000">
                <a:moveTo>
                  <a:pt x="0" y="10000"/>
                </a:moveTo>
                <a:lnTo>
                  <a:pt x="3437" y="9992"/>
                </a:lnTo>
                <a:cubicBezTo>
                  <a:pt x="3474" y="9992"/>
                  <a:pt x="3505" y="9824"/>
                  <a:pt x="3505" y="9629"/>
                </a:cubicBezTo>
                <a:lnTo>
                  <a:pt x="3505" y="362"/>
                </a:lnTo>
                <a:cubicBezTo>
                  <a:pt x="3505" y="168"/>
                  <a:pt x="3536" y="0"/>
                  <a:pt x="3576" y="0"/>
                </a:cubicBezTo>
                <a:lnTo>
                  <a:pt x="6809" y="0"/>
                </a:lnTo>
                <a:cubicBezTo>
                  <a:pt x="6845" y="0"/>
                  <a:pt x="6877" y="168"/>
                  <a:pt x="6877" y="362"/>
                </a:cubicBezTo>
                <a:lnTo>
                  <a:pt x="6877" y="6671"/>
                </a:lnTo>
                <a:cubicBezTo>
                  <a:pt x="6877" y="6865"/>
                  <a:pt x="6906" y="7032"/>
                  <a:pt x="6946" y="7032"/>
                </a:cubicBezTo>
                <a:lnTo>
                  <a:pt x="7842" y="7032"/>
                </a:lnTo>
                <a:cubicBezTo>
                  <a:pt x="7883" y="7032"/>
                  <a:pt x="7915" y="6865"/>
                  <a:pt x="7915" y="6671"/>
                </a:cubicBezTo>
                <a:lnTo>
                  <a:pt x="7915" y="2649"/>
                </a:lnTo>
                <a:cubicBezTo>
                  <a:pt x="7915" y="2443"/>
                  <a:pt x="7943" y="2288"/>
                  <a:pt x="7984" y="2288"/>
                </a:cubicBezTo>
                <a:lnTo>
                  <a:pt x="10007" y="2296"/>
                </a:lnTo>
              </a:path>
            </a:pathLst>
          </a:custGeom>
          <a:noFill/>
          <a:ln w="12700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endParaRPr lang="en-US" sz="1800">
              <a:solidFill>
                <a:prstClr val="black"/>
              </a:solidFill>
              <a:latin typeface="Arial"/>
            </a:endParaRPr>
          </a:p>
        </p:txBody>
      </p:sp>
      <p:sp>
        <p:nvSpPr>
          <p:cNvPr id="10" name="Freeform 8"/>
          <p:cNvSpPr>
            <a:spLocks/>
          </p:cNvSpPr>
          <p:nvPr userDrawn="1"/>
        </p:nvSpPr>
        <p:spPr bwMode="gray">
          <a:xfrm>
            <a:off x="-10278" y="5966252"/>
            <a:ext cx="9157459" cy="323466"/>
          </a:xfrm>
          <a:custGeom>
            <a:avLst/>
            <a:gdLst>
              <a:gd name="T0" fmla="*/ 0 w 8480"/>
              <a:gd name="T1" fmla="*/ 0 h 144"/>
              <a:gd name="T2" fmla="*/ 776 w 8480"/>
              <a:gd name="T3" fmla="*/ 0 h 144"/>
              <a:gd name="T4" fmla="*/ 804 w 8480"/>
              <a:gd name="T5" fmla="*/ 28 h 144"/>
              <a:gd name="T6" fmla="*/ 804 w 8480"/>
              <a:gd name="T7" fmla="*/ 114 h 144"/>
              <a:gd name="T8" fmla="*/ 831 w 8480"/>
              <a:gd name="T9" fmla="*/ 142 h 144"/>
              <a:gd name="T10" fmla="*/ 2854 w 8480"/>
              <a:gd name="T11" fmla="*/ 142 h 144"/>
              <a:gd name="T12" fmla="*/ 2882 w 8480"/>
              <a:gd name="T13" fmla="*/ 114 h 144"/>
              <a:gd name="T14" fmla="*/ 2882 w 8480"/>
              <a:gd name="T15" fmla="*/ 28 h 144"/>
              <a:gd name="T16" fmla="*/ 2910 w 8480"/>
              <a:gd name="T17" fmla="*/ 0 h 144"/>
              <a:gd name="T18" fmla="*/ 6767 w 8480"/>
              <a:gd name="T19" fmla="*/ 0 h 144"/>
              <a:gd name="T20" fmla="*/ 6795 w 8480"/>
              <a:gd name="T21" fmla="*/ 28 h 144"/>
              <a:gd name="T22" fmla="*/ 6795 w 8480"/>
              <a:gd name="T23" fmla="*/ 116 h 144"/>
              <a:gd name="T24" fmla="*/ 6823 w 8480"/>
              <a:gd name="T25" fmla="*/ 144 h 144"/>
              <a:gd name="T26" fmla="*/ 8480 w 8480"/>
              <a:gd name="T27" fmla="*/ 144 h 144"/>
              <a:gd name="connsiteX0" fmla="*/ 0 w 9085"/>
              <a:gd name="connsiteY0" fmla="*/ 0 h 10000"/>
              <a:gd name="connsiteX1" fmla="*/ 33 w 9085"/>
              <a:gd name="connsiteY1" fmla="*/ 1944 h 10000"/>
              <a:gd name="connsiteX2" fmla="*/ 33 w 9085"/>
              <a:gd name="connsiteY2" fmla="*/ 7917 h 10000"/>
              <a:gd name="connsiteX3" fmla="*/ 65 w 9085"/>
              <a:gd name="connsiteY3" fmla="*/ 9861 h 10000"/>
              <a:gd name="connsiteX4" fmla="*/ 2451 w 9085"/>
              <a:gd name="connsiteY4" fmla="*/ 9861 h 10000"/>
              <a:gd name="connsiteX5" fmla="*/ 2484 w 9085"/>
              <a:gd name="connsiteY5" fmla="*/ 7917 h 10000"/>
              <a:gd name="connsiteX6" fmla="*/ 2484 w 9085"/>
              <a:gd name="connsiteY6" fmla="*/ 1944 h 10000"/>
              <a:gd name="connsiteX7" fmla="*/ 2517 w 9085"/>
              <a:gd name="connsiteY7" fmla="*/ 0 h 10000"/>
              <a:gd name="connsiteX8" fmla="*/ 7065 w 9085"/>
              <a:gd name="connsiteY8" fmla="*/ 0 h 10000"/>
              <a:gd name="connsiteX9" fmla="*/ 7098 w 9085"/>
              <a:gd name="connsiteY9" fmla="*/ 1944 h 10000"/>
              <a:gd name="connsiteX10" fmla="*/ 7098 w 9085"/>
              <a:gd name="connsiteY10" fmla="*/ 8056 h 10000"/>
              <a:gd name="connsiteX11" fmla="*/ 7131 w 9085"/>
              <a:gd name="connsiteY11" fmla="*/ 10000 h 10000"/>
              <a:gd name="connsiteX12" fmla="*/ 9085 w 9085"/>
              <a:gd name="connsiteY12" fmla="*/ 10000 h 10000"/>
              <a:gd name="connsiteX0" fmla="*/ 0 w 9964"/>
              <a:gd name="connsiteY0" fmla="*/ 1944 h 10000"/>
              <a:gd name="connsiteX1" fmla="*/ 0 w 9964"/>
              <a:gd name="connsiteY1" fmla="*/ 7917 h 10000"/>
              <a:gd name="connsiteX2" fmla="*/ 36 w 9964"/>
              <a:gd name="connsiteY2" fmla="*/ 9861 h 10000"/>
              <a:gd name="connsiteX3" fmla="*/ 2662 w 9964"/>
              <a:gd name="connsiteY3" fmla="*/ 9861 h 10000"/>
              <a:gd name="connsiteX4" fmla="*/ 2698 w 9964"/>
              <a:gd name="connsiteY4" fmla="*/ 7917 h 10000"/>
              <a:gd name="connsiteX5" fmla="*/ 2698 w 9964"/>
              <a:gd name="connsiteY5" fmla="*/ 1944 h 10000"/>
              <a:gd name="connsiteX6" fmla="*/ 2735 w 9964"/>
              <a:gd name="connsiteY6" fmla="*/ 0 h 10000"/>
              <a:gd name="connsiteX7" fmla="*/ 7741 w 9964"/>
              <a:gd name="connsiteY7" fmla="*/ 0 h 10000"/>
              <a:gd name="connsiteX8" fmla="*/ 7777 w 9964"/>
              <a:gd name="connsiteY8" fmla="*/ 1944 h 10000"/>
              <a:gd name="connsiteX9" fmla="*/ 7777 w 9964"/>
              <a:gd name="connsiteY9" fmla="*/ 8056 h 10000"/>
              <a:gd name="connsiteX10" fmla="*/ 7813 w 9964"/>
              <a:gd name="connsiteY10" fmla="*/ 10000 h 10000"/>
              <a:gd name="connsiteX11" fmla="*/ 9964 w 9964"/>
              <a:gd name="connsiteY11" fmla="*/ 10000 h 10000"/>
              <a:gd name="connsiteX0" fmla="*/ 0 w 10000"/>
              <a:gd name="connsiteY0" fmla="*/ 7917 h 10000"/>
              <a:gd name="connsiteX1" fmla="*/ 36 w 10000"/>
              <a:gd name="connsiteY1" fmla="*/ 9861 h 10000"/>
              <a:gd name="connsiteX2" fmla="*/ 2672 w 10000"/>
              <a:gd name="connsiteY2" fmla="*/ 9861 h 10000"/>
              <a:gd name="connsiteX3" fmla="*/ 2708 w 10000"/>
              <a:gd name="connsiteY3" fmla="*/ 7917 h 10000"/>
              <a:gd name="connsiteX4" fmla="*/ 2708 w 10000"/>
              <a:gd name="connsiteY4" fmla="*/ 1944 h 10000"/>
              <a:gd name="connsiteX5" fmla="*/ 2745 w 10000"/>
              <a:gd name="connsiteY5" fmla="*/ 0 h 10000"/>
              <a:gd name="connsiteX6" fmla="*/ 7769 w 10000"/>
              <a:gd name="connsiteY6" fmla="*/ 0 h 10000"/>
              <a:gd name="connsiteX7" fmla="*/ 7805 w 10000"/>
              <a:gd name="connsiteY7" fmla="*/ 1944 h 10000"/>
              <a:gd name="connsiteX8" fmla="*/ 7805 w 10000"/>
              <a:gd name="connsiteY8" fmla="*/ 8056 h 10000"/>
              <a:gd name="connsiteX9" fmla="*/ 7841 w 10000"/>
              <a:gd name="connsiteY9" fmla="*/ 10000 h 10000"/>
              <a:gd name="connsiteX10" fmla="*/ 10000 w 10000"/>
              <a:gd name="connsiteY10" fmla="*/ 10000 h 10000"/>
              <a:gd name="connsiteX0" fmla="*/ 0 w 9964"/>
              <a:gd name="connsiteY0" fmla="*/ 9861 h 10000"/>
              <a:gd name="connsiteX1" fmla="*/ 2636 w 9964"/>
              <a:gd name="connsiteY1" fmla="*/ 9861 h 10000"/>
              <a:gd name="connsiteX2" fmla="*/ 2672 w 9964"/>
              <a:gd name="connsiteY2" fmla="*/ 7917 h 10000"/>
              <a:gd name="connsiteX3" fmla="*/ 2672 w 9964"/>
              <a:gd name="connsiteY3" fmla="*/ 1944 h 10000"/>
              <a:gd name="connsiteX4" fmla="*/ 2709 w 9964"/>
              <a:gd name="connsiteY4" fmla="*/ 0 h 10000"/>
              <a:gd name="connsiteX5" fmla="*/ 7733 w 9964"/>
              <a:gd name="connsiteY5" fmla="*/ 0 h 10000"/>
              <a:gd name="connsiteX6" fmla="*/ 7769 w 9964"/>
              <a:gd name="connsiteY6" fmla="*/ 1944 h 10000"/>
              <a:gd name="connsiteX7" fmla="*/ 7769 w 9964"/>
              <a:gd name="connsiteY7" fmla="*/ 8056 h 10000"/>
              <a:gd name="connsiteX8" fmla="*/ 7805 w 9964"/>
              <a:gd name="connsiteY8" fmla="*/ 10000 h 10000"/>
              <a:gd name="connsiteX9" fmla="*/ 9964 w 9964"/>
              <a:gd name="connsiteY9" fmla="*/ 10000 h 10000"/>
              <a:gd name="connsiteX0" fmla="*/ 0 w 7833"/>
              <a:gd name="connsiteY0" fmla="*/ 9861 h 10000"/>
              <a:gd name="connsiteX1" fmla="*/ 2646 w 7833"/>
              <a:gd name="connsiteY1" fmla="*/ 9861 h 10000"/>
              <a:gd name="connsiteX2" fmla="*/ 2682 w 7833"/>
              <a:gd name="connsiteY2" fmla="*/ 7917 h 10000"/>
              <a:gd name="connsiteX3" fmla="*/ 2682 w 7833"/>
              <a:gd name="connsiteY3" fmla="*/ 1944 h 10000"/>
              <a:gd name="connsiteX4" fmla="*/ 2719 w 7833"/>
              <a:gd name="connsiteY4" fmla="*/ 0 h 10000"/>
              <a:gd name="connsiteX5" fmla="*/ 7761 w 7833"/>
              <a:gd name="connsiteY5" fmla="*/ 0 h 10000"/>
              <a:gd name="connsiteX6" fmla="*/ 7797 w 7833"/>
              <a:gd name="connsiteY6" fmla="*/ 1944 h 10000"/>
              <a:gd name="connsiteX7" fmla="*/ 7797 w 7833"/>
              <a:gd name="connsiteY7" fmla="*/ 8056 h 10000"/>
              <a:gd name="connsiteX8" fmla="*/ 7833 w 7833"/>
              <a:gd name="connsiteY8" fmla="*/ 10000 h 10000"/>
              <a:gd name="connsiteX0" fmla="*/ 0 w 9954"/>
              <a:gd name="connsiteY0" fmla="*/ 9861 h 9861"/>
              <a:gd name="connsiteX1" fmla="*/ 3378 w 9954"/>
              <a:gd name="connsiteY1" fmla="*/ 9861 h 9861"/>
              <a:gd name="connsiteX2" fmla="*/ 3424 w 9954"/>
              <a:gd name="connsiteY2" fmla="*/ 7917 h 9861"/>
              <a:gd name="connsiteX3" fmla="*/ 3424 w 9954"/>
              <a:gd name="connsiteY3" fmla="*/ 1944 h 9861"/>
              <a:gd name="connsiteX4" fmla="*/ 3471 w 9954"/>
              <a:gd name="connsiteY4" fmla="*/ 0 h 9861"/>
              <a:gd name="connsiteX5" fmla="*/ 9908 w 9954"/>
              <a:gd name="connsiteY5" fmla="*/ 0 h 9861"/>
              <a:gd name="connsiteX6" fmla="*/ 9954 w 9954"/>
              <a:gd name="connsiteY6" fmla="*/ 1944 h 9861"/>
              <a:gd name="connsiteX7" fmla="*/ 9954 w 9954"/>
              <a:gd name="connsiteY7" fmla="*/ 8056 h 9861"/>
              <a:gd name="connsiteX0" fmla="*/ 0 w 10000"/>
              <a:gd name="connsiteY0" fmla="*/ 10000 h 10000"/>
              <a:gd name="connsiteX1" fmla="*/ 3394 w 10000"/>
              <a:gd name="connsiteY1" fmla="*/ 10000 h 10000"/>
              <a:gd name="connsiteX2" fmla="*/ 3440 w 10000"/>
              <a:gd name="connsiteY2" fmla="*/ 8029 h 10000"/>
              <a:gd name="connsiteX3" fmla="*/ 3440 w 10000"/>
              <a:gd name="connsiteY3" fmla="*/ 1971 h 10000"/>
              <a:gd name="connsiteX4" fmla="*/ 3487 w 10000"/>
              <a:gd name="connsiteY4" fmla="*/ 0 h 10000"/>
              <a:gd name="connsiteX5" fmla="*/ 9954 w 10000"/>
              <a:gd name="connsiteY5" fmla="*/ 0 h 10000"/>
              <a:gd name="connsiteX6" fmla="*/ 10000 w 10000"/>
              <a:gd name="connsiteY6" fmla="*/ 1971 h 10000"/>
              <a:gd name="connsiteX0" fmla="*/ 0 w 7965"/>
              <a:gd name="connsiteY0" fmla="*/ 9803 h 10000"/>
              <a:gd name="connsiteX1" fmla="*/ 1359 w 7965"/>
              <a:gd name="connsiteY1" fmla="*/ 10000 h 10000"/>
              <a:gd name="connsiteX2" fmla="*/ 1405 w 7965"/>
              <a:gd name="connsiteY2" fmla="*/ 8029 h 10000"/>
              <a:gd name="connsiteX3" fmla="*/ 1405 w 7965"/>
              <a:gd name="connsiteY3" fmla="*/ 1971 h 10000"/>
              <a:gd name="connsiteX4" fmla="*/ 1452 w 7965"/>
              <a:gd name="connsiteY4" fmla="*/ 0 h 10000"/>
              <a:gd name="connsiteX5" fmla="*/ 7919 w 7965"/>
              <a:gd name="connsiteY5" fmla="*/ 0 h 10000"/>
              <a:gd name="connsiteX6" fmla="*/ 7965 w 7965"/>
              <a:gd name="connsiteY6" fmla="*/ 1971 h 10000"/>
              <a:gd name="connsiteX0" fmla="*/ 0 w 10000"/>
              <a:gd name="connsiteY0" fmla="*/ 9803 h 10000"/>
              <a:gd name="connsiteX1" fmla="*/ 1706 w 10000"/>
              <a:gd name="connsiteY1" fmla="*/ 10000 h 10000"/>
              <a:gd name="connsiteX2" fmla="*/ 1764 w 10000"/>
              <a:gd name="connsiteY2" fmla="*/ 8029 h 10000"/>
              <a:gd name="connsiteX3" fmla="*/ 1764 w 10000"/>
              <a:gd name="connsiteY3" fmla="*/ 1971 h 10000"/>
              <a:gd name="connsiteX4" fmla="*/ 1823 w 10000"/>
              <a:gd name="connsiteY4" fmla="*/ 0 h 10000"/>
              <a:gd name="connsiteX5" fmla="*/ 9942 w 10000"/>
              <a:gd name="connsiteY5" fmla="*/ 0 h 10000"/>
              <a:gd name="connsiteX6" fmla="*/ 10000 w 10000"/>
              <a:gd name="connsiteY6" fmla="*/ 1971 h 10000"/>
              <a:gd name="connsiteX0" fmla="*/ 0 w 9295"/>
              <a:gd name="connsiteY0" fmla="*/ 9803 h 10000"/>
              <a:gd name="connsiteX1" fmla="*/ 1001 w 9295"/>
              <a:gd name="connsiteY1" fmla="*/ 10000 h 10000"/>
              <a:gd name="connsiteX2" fmla="*/ 1059 w 9295"/>
              <a:gd name="connsiteY2" fmla="*/ 8029 h 10000"/>
              <a:gd name="connsiteX3" fmla="*/ 1059 w 9295"/>
              <a:gd name="connsiteY3" fmla="*/ 1971 h 10000"/>
              <a:gd name="connsiteX4" fmla="*/ 1118 w 9295"/>
              <a:gd name="connsiteY4" fmla="*/ 0 h 10000"/>
              <a:gd name="connsiteX5" fmla="*/ 9237 w 9295"/>
              <a:gd name="connsiteY5" fmla="*/ 0 h 10000"/>
              <a:gd name="connsiteX6" fmla="*/ 9295 w 9295"/>
              <a:gd name="connsiteY6" fmla="*/ 1971 h 10000"/>
              <a:gd name="connsiteX0" fmla="*/ 0 w 10000"/>
              <a:gd name="connsiteY0" fmla="*/ 10246 h 10246"/>
              <a:gd name="connsiteX1" fmla="*/ 1077 w 10000"/>
              <a:gd name="connsiteY1" fmla="*/ 10000 h 10246"/>
              <a:gd name="connsiteX2" fmla="*/ 1139 w 10000"/>
              <a:gd name="connsiteY2" fmla="*/ 8029 h 10246"/>
              <a:gd name="connsiteX3" fmla="*/ 1139 w 10000"/>
              <a:gd name="connsiteY3" fmla="*/ 1971 h 10246"/>
              <a:gd name="connsiteX4" fmla="*/ 1203 w 10000"/>
              <a:gd name="connsiteY4" fmla="*/ 0 h 10246"/>
              <a:gd name="connsiteX5" fmla="*/ 9938 w 10000"/>
              <a:gd name="connsiteY5" fmla="*/ 0 h 10246"/>
              <a:gd name="connsiteX6" fmla="*/ 10000 w 10000"/>
              <a:gd name="connsiteY6" fmla="*/ 1971 h 10246"/>
              <a:gd name="connsiteX0" fmla="*/ 0 w 10000"/>
              <a:gd name="connsiteY0" fmla="*/ 9951 h 10000"/>
              <a:gd name="connsiteX1" fmla="*/ 1077 w 10000"/>
              <a:gd name="connsiteY1" fmla="*/ 10000 h 10000"/>
              <a:gd name="connsiteX2" fmla="*/ 1139 w 10000"/>
              <a:gd name="connsiteY2" fmla="*/ 8029 h 10000"/>
              <a:gd name="connsiteX3" fmla="*/ 1139 w 10000"/>
              <a:gd name="connsiteY3" fmla="*/ 1971 h 10000"/>
              <a:gd name="connsiteX4" fmla="*/ 1203 w 10000"/>
              <a:gd name="connsiteY4" fmla="*/ 0 h 10000"/>
              <a:gd name="connsiteX5" fmla="*/ 9938 w 10000"/>
              <a:gd name="connsiteY5" fmla="*/ 0 h 10000"/>
              <a:gd name="connsiteX6" fmla="*/ 10000 w 10000"/>
              <a:gd name="connsiteY6" fmla="*/ 1971 h 10000"/>
              <a:gd name="connsiteX0" fmla="*/ 0 w 10000"/>
              <a:gd name="connsiteY0" fmla="*/ 9951 h 10000"/>
              <a:gd name="connsiteX1" fmla="*/ 1077 w 10000"/>
              <a:gd name="connsiteY1" fmla="*/ 10000 h 10000"/>
              <a:gd name="connsiteX2" fmla="*/ 1139 w 10000"/>
              <a:gd name="connsiteY2" fmla="*/ 8029 h 10000"/>
              <a:gd name="connsiteX3" fmla="*/ 1139 w 10000"/>
              <a:gd name="connsiteY3" fmla="*/ 1971 h 10000"/>
              <a:gd name="connsiteX4" fmla="*/ 1203 w 10000"/>
              <a:gd name="connsiteY4" fmla="*/ 0 h 10000"/>
              <a:gd name="connsiteX5" fmla="*/ 10000 w 10000"/>
              <a:gd name="connsiteY5" fmla="*/ 1971 h 10000"/>
              <a:gd name="connsiteX0" fmla="*/ 0 w 8215"/>
              <a:gd name="connsiteY0" fmla="*/ 12209 h 12258"/>
              <a:gd name="connsiteX1" fmla="*/ 1077 w 8215"/>
              <a:gd name="connsiteY1" fmla="*/ 12258 h 12258"/>
              <a:gd name="connsiteX2" fmla="*/ 1139 w 8215"/>
              <a:gd name="connsiteY2" fmla="*/ 10287 h 12258"/>
              <a:gd name="connsiteX3" fmla="*/ 1139 w 8215"/>
              <a:gd name="connsiteY3" fmla="*/ 4229 h 12258"/>
              <a:gd name="connsiteX4" fmla="*/ 1203 w 8215"/>
              <a:gd name="connsiteY4" fmla="*/ 2258 h 12258"/>
              <a:gd name="connsiteX5" fmla="*/ 8215 w 8215"/>
              <a:gd name="connsiteY5" fmla="*/ 0 h 12258"/>
              <a:gd name="connsiteX0" fmla="*/ 0 w 10000"/>
              <a:gd name="connsiteY0" fmla="*/ 8195 h 8235"/>
              <a:gd name="connsiteX1" fmla="*/ 1311 w 10000"/>
              <a:gd name="connsiteY1" fmla="*/ 8235 h 8235"/>
              <a:gd name="connsiteX2" fmla="*/ 1386 w 10000"/>
              <a:gd name="connsiteY2" fmla="*/ 6627 h 8235"/>
              <a:gd name="connsiteX3" fmla="*/ 1386 w 10000"/>
              <a:gd name="connsiteY3" fmla="*/ 1685 h 8235"/>
              <a:gd name="connsiteX4" fmla="*/ 1464 w 10000"/>
              <a:gd name="connsiteY4" fmla="*/ 77 h 8235"/>
              <a:gd name="connsiteX5" fmla="*/ 10000 w 10000"/>
              <a:gd name="connsiteY5" fmla="*/ 0 h 8235"/>
              <a:gd name="connsiteX0" fmla="*/ 0 w 10000"/>
              <a:gd name="connsiteY0" fmla="*/ 9951 h 10000"/>
              <a:gd name="connsiteX1" fmla="*/ 1311 w 10000"/>
              <a:gd name="connsiteY1" fmla="*/ 10000 h 10000"/>
              <a:gd name="connsiteX2" fmla="*/ 1386 w 10000"/>
              <a:gd name="connsiteY2" fmla="*/ 8047 h 10000"/>
              <a:gd name="connsiteX3" fmla="*/ 1386 w 10000"/>
              <a:gd name="connsiteY3" fmla="*/ 2046 h 10000"/>
              <a:gd name="connsiteX4" fmla="*/ 1464 w 10000"/>
              <a:gd name="connsiteY4" fmla="*/ 94 h 10000"/>
              <a:gd name="connsiteX5" fmla="*/ 10000 w 10000"/>
              <a:gd name="connsiteY5" fmla="*/ 0 h 10000"/>
              <a:gd name="connsiteX0" fmla="*/ 0 w 9993"/>
              <a:gd name="connsiteY0" fmla="*/ 9857 h 9906"/>
              <a:gd name="connsiteX1" fmla="*/ 1311 w 9993"/>
              <a:gd name="connsiteY1" fmla="*/ 9906 h 9906"/>
              <a:gd name="connsiteX2" fmla="*/ 1386 w 9993"/>
              <a:gd name="connsiteY2" fmla="*/ 7953 h 9906"/>
              <a:gd name="connsiteX3" fmla="*/ 1386 w 9993"/>
              <a:gd name="connsiteY3" fmla="*/ 1952 h 9906"/>
              <a:gd name="connsiteX4" fmla="*/ 1464 w 9993"/>
              <a:gd name="connsiteY4" fmla="*/ 0 h 9906"/>
              <a:gd name="connsiteX5" fmla="*/ 9993 w 9993"/>
              <a:gd name="connsiteY5" fmla="*/ 101 h 9906"/>
              <a:gd name="connsiteX0" fmla="*/ 0 w 10007"/>
              <a:gd name="connsiteY0" fmla="*/ 10439 h 10488"/>
              <a:gd name="connsiteX1" fmla="*/ 1312 w 10007"/>
              <a:gd name="connsiteY1" fmla="*/ 10488 h 10488"/>
              <a:gd name="connsiteX2" fmla="*/ 1387 w 10007"/>
              <a:gd name="connsiteY2" fmla="*/ 8516 h 10488"/>
              <a:gd name="connsiteX3" fmla="*/ 1387 w 10007"/>
              <a:gd name="connsiteY3" fmla="*/ 2459 h 10488"/>
              <a:gd name="connsiteX4" fmla="*/ 1465 w 10007"/>
              <a:gd name="connsiteY4" fmla="*/ 488 h 10488"/>
              <a:gd name="connsiteX5" fmla="*/ 10007 w 10007"/>
              <a:gd name="connsiteY5" fmla="*/ 0 h 10488"/>
              <a:gd name="connsiteX0" fmla="*/ 0 w 10007"/>
              <a:gd name="connsiteY0" fmla="*/ 9951 h 10000"/>
              <a:gd name="connsiteX1" fmla="*/ 1312 w 10007"/>
              <a:gd name="connsiteY1" fmla="*/ 10000 h 10000"/>
              <a:gd name="connsiteX2" fmla="*/ 1387 w 10007"/>
              <a:gd name="connsiteY2" fmla="*/ 8028 h 10000"/>
              <a:gd name="connsiteX3" fmla="*/ 1387 w 10007"/>
              <a:gd name="connsiteY3" fmla="*/ 1971 h 10000"/>
              <a:gd name="connsiteX4" fmla="*/ 1465 w 10007"/>
              <a:gd name="connsiteY4" fmla="*/ 0 h 10000"/>
              <a:gd name="connsiteX5" fmla="*/ 10007 w 10007"/>
              <a:gd name="connsiteY5" fmla="*/ 496 h 10000"/>
              <a:gd name="connsiteX0" fmla="*/ 0 w 10007"/>
              <a:gd name="connsiteY0" fmla="*/ 9951 h 10000"/>
              <a:gd name="connsiteX1" fmla="*/ 1312 w 10007"/>
              <a:gd name="connsiteY1" fmla="*/ 10000 h 10000"/>
              <a:gd name="connsiteX2" fmla="*/ 1387 w 10007"/>
              <a:gd name="connsiteY2" fmla="*/ 8028 h 10000"/>
              <a:gd name="connsiteX3" fmla="*/ 1387 w 10007"/>
              <a:gd name="connsiteY3" fmla="*/ 1971 h 10000"/>
              <a:gd name="connsiteX4" fmla="*/ 1465 w 10007"/>
              <a:gd name="connsiteY4" fmla="*/ 0 h 10000"/>
              <a:gd name="connsiteX5" fmla="*/ 10007 w 10007"/>
              <a:gd name="connsiteY5" fmla="*/ 1480 h 10000"/>
              <a:gd name="connsiteX0" fmla="*/ 0 w 10007"/>
              <a:gd name="connsiteY0" fmla="*/ 9951 h 10000"/>
              <a:gd name="connsiteX1" fmla="*/ 1312 w 10007"/>
              <a:gd name="connsiteY1" fmla="*/ 10000 h 10000"/>
              <a:gd name="connsiteX2" fmla="*/ 1387 w 10007"/>
              <a:gd name="connsiteY2" fmla="*/ 8028 h 10000"/>
              <a:gd name="connsiteX3" fmla="*/ 1387 w 10007"/>
              <a:gd name="connsiteY3" fmla="*/ 1971 h 10000"/>
              <a:gd name="connsiteX4" fmla="*/ 1465 w 10007"/>
              <a:gd name="connsiteY4" fmla="*/ 0 h 10000"/>
              <a:gd name="connsiteX5" fmla="*/ 10007 w 10007"/>
              <a:gd name="connsiteY5" fmla="*/ 496 h 10000"/>
              <a:gd name="connsiteX0" fmla="*/ 0 w 10021"/>
              <a:gd name="connsiteY0" fmla="*/ 10045 h 10094"/>
              <a:gd name="connsiteX1" fmla="*/ 1312 w 10021"/>
              <a:gd name="connsiteY1" fmla="*/ 10094 h 10094"/>
              <a:gd name="connsiteX2" fmla="*/ 1387 w 10021"/>
              <a:gd name="connsiteY2" fmla="*/ 8122 h 10094"/>
              <a:gd name="connsiteX3" fmla="*/ 1387 w 10021"/>
              <a:gd name="connsiteY3" fmla="*/ 2065 h 10094"/>
              <a:gd name="connsiteX4" fmla="*/ 1465 w 10021"/>
              <a:gd name="connsiteY4" fmla="*/ 94 h 10094"/>
              <a:gd name="connsiteX5" fmla="*/ 10021 w 10021"/>
              <a:gd name="connsiteY5" fmla="*/ 0 h 10094"/>
              <a:gd name="connsiteX0" fmla="*/ 0 w 10021"/>
              <a:gd name="connsiteY0" fmla="*/ 10438 h 10487"/>
              <a:gd name="connsiteX1" fmla="*/ 1312 w 10021"/>
              <a:gd name="connsiteY1" fmla="*/ 10487 h 10487"/>
              <a:gd name="connsiteX2" fmla="*/ 1387 w 10021"/>
              <a:gd name="connsiteY2" fmla="*/ 8515 h 10487"/>
              <a:gd name="connsiteX3" fmla="*/ 1387 w 10021"/>
              <a:gd name="connsiteY3" fmla="*/ 2458 h 10487"/>
              <a:gd name="connsiteX4" fmla="*/ 1465 w 10021"/>
              <a:gd name="connsiteY4" fmla="*/ 487 h 10487"/>
              <a:gd name="connsiteX5" fmla="*/ 10021 w 10021"/>
              <a:gd name="connsiteY5" fmla="*/ 0 h 10487"/>
              <a:gd name="connsiteX0" fmla="*/ 0 w 10021"/>
              <a:gd name="connsiteY0" fmla="*/ 9951 h 10000"/>
              <a:gd name="connsiteX1" fmla="*/ 1312 w 10021"/>
              <a:gd name="connsiteY1" fmla="*/ 10000 h 10000"/>
              <a:gd name="connsiteX2" fmla="*/ 1387 w 10021"/>
              <a:gd name="connsiteY2" fmla="*/ 8028 h 10000"/>
              <a:gd name="connsiteX3" fmla="*/ 1387 w 10021"/>
              <a:gd name="connsiteY3" fmla="*/ 1971 h 10000"/>
              <a:gd name="connsiteX4" fmla="*/ 1465 w 10021"/>
              <a:gd name="connsiteY4" fmla="*/ 0 h 10000"/>
              <a:gd name="connsiteX5" fmla="*/ 10021 w 10021"/>
              <a:gd name="connsiteY5" fmla="*/ 300 h 10000"/>
              <a:gd name="connsiteX0" fmla="*/ 0 w 10021"/>
              <a:gd name="connsiteY0" fmla="*/ 10241 h 10290"/>
              <a:gd name="connsiteX1" fmla="*/ 1312 w 10021"/>
              <a:gd name="connsiteY1" fmla="*/ 10290 h 10290"/>
              <a:gd name="connsiteX2" fmla="*/ 1387 w 10021"/>
              <a:gd name="connsiteY2" fmla="*/ 8318 h 10290"/>
              <a:gd name="connsiteX3" fmla="*/ 1387 w 10021"/>
              <a:gd name="connsiteY3" fmla="*/ 2261 h 10290"/>
              <a:gd name="connsiteX4" fmla="*/ 1465 w 10021"/>
              <a:gd name="connsiteY4" fmla="*/ 290 h 10290"/>
              <a:gd name="connsiteX5" fmla="*/ 10021 w 10021"/>
              <a:gd name="connsiteY5" fmla="*/ 0 h 10290"/>
              <a:gd name="connsiteX0" fmla="*/ 0 w 10018"/>
              <a:gd name="connsiteY0" fmla="*/ 10020 h 10069"/>
              <a:gd name="connsiteX1" fmla="*/ 1312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69"/>
              <a:gd name="connsiteX1" fmla="*/ 1312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217"/>
              <a:gd name="connsiteX1" fmla="*/ 1312 w 10018"/>
              <a:gd name="connsiteY1" fmla="*/ 10217 h 10217"/>
              <a:gd name="connsiteX2" fmla="*/ 1387 w 10018"/>
              <a:gd name="connsiteY2" fmla="*/ 8097 h 10217"/>
              <a:gd name="connsiteX3" fmla="*/ 1387 w 10018"/>
              <a:gd name="connsiteY3" fmla="*/ 2040 h 10217"/>
              <a:gd name="connsiteX4" fmla="*/ 1465 w 10018"/>
              <a:gd name="connsiteY4" fmla="*/ 69 h 10217"/>
              <a:gd name="connsiteX5" fmla="*/ 10018 w 10018"/>
              <a:gd name="connsiteY5" fmla="*/ 0 h 10217"/>
              <a:gd name="connsiteX0" fmla="*/ 0 w 10018"/>
              <a:gd name="connsiteY0" fmla="*/ 10020 h 10069"/>
              <a:gd name="connsiteX1" fmla="*/ 1312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69"/>
              <a:gd name="connsiteX1" fmla="*/ 1312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20"/>
              <a:gd name="connsiteX1" fmla="*/ 1312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12 w 10018"/>
              <a:gd name="connsiteY1" fmla="*/ 9921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9"/>
              <a:gd name="connsiteX1" fmla="*/ 1309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69"/>
              <a:gd name="connsiteX1" fmla="*/ 1309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20"/>
              <a:gd name="connsiteX1" fmla="*/ 1309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09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09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9"/>
              <a:gd name="connsiteX1" fmla="*/ 1304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20"/>
              <a:gd name="connsiteX1" fmla="*/ 1304 w 10018"/>
              <a:gd name="connsiteY1" fmla="*/ 9921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142"/>
              <a:gd name="connsiteX1" fmla="*/ 1304 w 10018"/>
              <a:gd name="connsiteY1" fmla="*/ 10142 h 10142"/>
              <a:gd name="connsiteX2" fmla="*/ 1387 w 10018"/>
              <a:gd name="connsiteY2" fmla="*/ 8097 h 10142"/>
              <a:gd name="connsiteX3" fmla="*/ 1387 w 10018"/>
              <a:gd name="connsiteY3" fmla="*/ 2040 h 10142"/>
              <a:gd name="connsiteX4" fmla="*/ 1465 w 10018"/>
              <a:gd name="connsiteY4" fmla="*/ 69 h 10142"/>
              <a:gd name="connsiteX5" fmla="*/ 10018 w 10018"/>
              <a:gd name="connsiteY5" fmla="*/ 0 h 10142"/>
              <a:gd name="connsiteX0" fmla="*/ 0 w 10018"/>
              <a:gd name="connsiteY0" fmla="*/ 10020 h 10142"/>
              <a:gd name="connsiteX1" fmla="*/ 1309 w 10018"/>
              <a:gd name="connsiteY1" fmla="*/ 10142 h 10142"/>
              <a:gd name="connsiteX2" fmla="*/ 1387 w 10018"/>
              <a:gd name="connsiteY2" fmla="*/ 8097 h 10142"/>
              <a:gd name="connsiteX3" fmla="*/ 1387 w 10018"/>
              <a:gd name="connsiteY3" fmla="*/ 2040 h 10142"/>
              <a:gd name="connsiteX4" fmla="*/ 1465 w 10018"/>
              <a:gd name="connsiteY4" fmla="*/ 69 h 10142"/>
              <a:gd name="connsiteX5" fmla="*/ 10018 w 10018"/>
              <a:gd name="connsiteY5" fmla="*/ 0 h 10142"/>
              <a:gd name="connsiteX0" fmla="*/ 0 w 10018"/>
              <a:gd name="connsiteY0" fmla="*/ 10020 h 10020"/>
              <a:gd name="connsiteX1" fmla="*/ 1309 w 10018"/>
              <a:gd name="connsiteY1" fmla="*/ 9921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01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9"/>
              <a:gd name="connsiteX1" fmla="*/ 1298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20"/>
              <a:gd name="connsiteX1" fmla="*/ 1301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01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290"/>
              <a:gd name="connsiteX1" fmla="*/ 1301 w 10018"/>
              <a:gd name="connsiteY1" fmla="*/ 10290 h 10290"/>
              <a:gd name="connsiteX2" fmla="*/ 1387 w 10018"/>
              <a:gd name="connsiteY2" fmla="*/ 8097 h 10290"/>
              <a:gd name="connsiteX3" fmla="*/ 1387 w 10018"/>
              <a:gd name="connsiteY3" fmla="*/ 2040 h 10290"/>
              <a:gd name="connsiteX4" fmla="*/ 1465 w 10018"/>
              <a:gd name="connsiteY4" fmla="*/ 69 h 10290"/>
              <a:gd name="connsiteX5" fmla="*/ 10018 w 10018"/>
              <a:gd name="connsiteY5" fmla="*/ 0 h 10290"/>
              <a:gd name="connsiteX0" fmla="*/ 0 w 10018"/>
              <a:gd name="connsiteY0" fmla="*/ 10020 h 10020"/>
              <a:gd name="connsiteX1" fmla="*/ 1301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9"/>
              <a:gd name="connsiteX1" fmla="*/ 1301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73"/>
              <a:gd name="connsiteX1" fmla="*/ 1301 w 10018"/>
              <a:gd name="connsiteY1" fmla="*/ 10069 h 10073"/>
              <a:gd name="connsiteX2" fmla="*/ 1387 w 10018"/>
              <a:gd name="connsiteY2" fmla="*/ 8097 h 10073"/>
              <a:gd name="connsiteX3" fmla="*/ 1387 w 10018"/>
              <a:gd name="connsiteY3" fmla="*/ 2040 h 10073"/>
              <a:gd name="connsiteX4" fmla="*/ 1465 w 10018"/>
              <a:gd name="connsiteY4" fmla="*/ 69 h 10073"/>
              <a:gd name="connsiteX5" fmla="*/ 10018 w 10018"/>
              <a:gd name="connsiteY5" fmla="*/ 0 h 10073"/>
              <a:gd name="connsiteX0" fmla="*/ 70 w 10088"/>
              <a:gd name="connsiteY0" fmla="*/ 10020 h 10069"/>
              <a:gd name="connsiteX1" fmla="*/ 1371 w 10088"/>
              <a:gd name="connsiteY1" fmla="*/ 10069 h 10069"/>
              <a:gd name="connsiteX2" fmla="*/ 1457 w 10088"/>
              <a:gd name="connsiteY2" fmla="*/ 8097 h 10069"/>
              <a:gd name="connsiteX3" fmla="*/ 1457 w 10088"/>
              <a:gd name="connsiteY3" fmla="*/ 2040 h 10069"/>
              <a:gd name="connsiteX4" fmla="*/ 1535 w 10088"/>
              <a:gd name="connsiteY4" fmla="*/ 69 h 10069"/>
              <a:gd name="connsiteX5" fmla="*/ 10088 w 10088"/>
              <a:gd name="connsiteY5" fmla="*/ 0 h 10069"/>
              <a:gd name="connsiteX0" fmla="*/ 46 w 10064"/>
              <a:gd name="connsiteY0" fmla="*/ 10020 h 10230"/>
              <a:gd name="connsiteX1" fmla="*/ 1347 w 10064"/>
              <a:gd name="connsiteY1" fmla="*/ 10069 h 10230"/>
              <a:gd name="connsiteX2" fmla="*/ 1433 w 10064"/>
              <a:gd name="connsiteY2" fmla="*/ 8097 h 10230"/>
              <a:gd name="connsiteX3" fmla="*/ 1433 w 10064"/>
              <a:gd name="connsiteY3" fmla="*/ 2040 h 10230"/>
              <a:gd name="connsiteX4" fmla="*/ 1511 w 10064"/>
              <a:gd name="connsiteY4" fmla="*/ 69 h 10230"/>
              <a:gd name="connsiteX5" fmla="*/ 10064 w 10064"/>
              <a:gd name="connsiteY5" fmla="*/ 0 h 10230"/>
              <a:gd name="connsiteX0" fmla="*/ 50 w 10068"/>
              <a:gd name="connsiteY0" fmla="*/ 10020 h 10133"/>
              <a:gd name="connsiteX1" fmla="*/ 1351 w 10068"/>
              <a:gd name="connsiteY1" fmla="*/ 10069 h 10133"/>
              <a:gd name="connsiteX2" fmla="*/ 1437 w 10068"/>
              <a:gd name="connsiteY2" fmla="*/ 8097 h 10133"/>
              <a:gd name="connsiteX3" fmla="*/ 1437 w 10068"/>
              <a:gd name="connsiteY3" fmla="*/ 2040 h 10133"/>
              <a:gd name="connsiteX4" fmla="*/ 1515 w 10068"/>
              <a:gd name="connsiteY4" fmla="*/ 69 h 10133"/>
              <a:gd name="connsiteX5" fmla="*/ 10068 w 10068"/>
              <a:gd name="connsiteY5" fmla="*/ 0 h 10133"/>
              <a:gd name="connsiteX0" fmla="*/ 0 w 10018"/>
              <a:gd name="connsiteY0" fmla="*/ 10020 h 10073"/>
              <a:gd name="connsiteX1" fmla="*/ 1301 w 10018"/>
              <a:gd name="connsiteY1" fmla="*/ 10069 h 10073"/>
              <a:gd name="connsiteX2" fmla="*/ 1387 w 10018"/>
              <a:gd name="connsiteY2" fmla="*/ 8097 h 10073"/>
              <a:gd name="connsiteX3" fmla="*/ 1387 w 10018"/>
              <a:gd name="connsiteY3" fmla="*/ 2040 h 10073"/>
              <a:gd name="connsiteX4" fmla="*/ 1465 w 10018"/>
              <a:gd name="connsiteY4" fmla="*/ 69 h 10073"/>
              <a:gd name="connsiteX5" fmla="*/ 10018 w 10018"/>
              <a:gd name="connsiteY5" fmla="*/ 0 h 10073"/>
              <a:gd name="connsiteX0" fmla="*/ 0 w 10018"/>
              <a:gd name="connsiteY0" fmla="*/ 10020 h 10073"/>
              <a:gd name="connsiteX1" fmla="*/ 1301 w 10018"/>
              <a:gd name="connsiteY1" fmla="*/ 10069 h 10073"/>
              <a:gd name="connsiteX2" fmla="*/ 1387 w 10018"/>
              <a:gd name="connsiteY2" fmla="*/ 8097 h 10073"/>
              <a:gd name="connsiteX3" fmla="*/ 1387 w 10018"/>
              <a:gd name="connsiteY3" fmla="*/ 2040 h 10073"/>
              <a:gd name="connsiteX4" fmla="*/ 1465 w 10018"/>
              <a:gd name="connsiteY4" fmla="*/ 69 h 10073"/>
              <a:gd name="connsiteX5" fmla="*/ 10018 w 10018"/>
              <a:gd name="connsiteY5" fmla="*/ 0 h 10073"/>
              <a:gd name="connsiteX0" fmla="*/ 3 w 10021"/>
              <a:gd name="connsiteY0" fmla="*/ 10020 h 10069"/>
              <a:gd name="connsiteX1" fmla="*/ 1304 w 10021"/>
              <a:gd name="connsiteY1" fmla="*/ 10069 h 10069"/>
              <a:gd name="connsiteX2" fmla="*/ 1390 w 10021"/>
              <a:gd name="connsiteY2" fmla="*/ 8097 h 10069"/>
              <a:gd name="connsiteX3" fmla="*/ 1390 w 10021"/>
              <a:gd name="connsiteY3" fmla="*/ 2040 h 10069"/>
              <a:gd name="connsiteX4" fmla="*/ 1468 w 10021"/>
              <a:gd name="connsiteY4" fmla="*/ 69 h 10069"/>
              <a:gd name="connsiteX5" fmla="*/ 10021 w 10021"/>
              <a:gd name="connsiteY5" fmla="*/ 0 h 10069"/>
              <a:gd name="connsiteX0" fmla="*/ 3 w 10021"/>
              <a:gd name="connsiteY0" fmla="*/ 10020 h 10217"/>
              <a:gd name="connsiteX1" fmla="*/ 1304 w 10021"/>
              <a:gd name="connsiteY1" fmla="*/ 10217 h 10217"/>
              <a:gd name="connsiteX2" fmla="*/ 1390 w 10021"/>
              <a:gd name="connsiteY2" fmla="*/ 8097 h 10217"/>
              <a:gd name="connsiteX3" fmla="*/ 1390 w 10021"/>
              <a:gd name="connsiteY3" fmla="*/ 2040 h 10217"/>
              <a:gd name="connsiteX4" fmla="*/ 1468 w 10021"/>
              <a:gd name="connsiteY4" fmla="*/ 69 h 10217"/>
              <a:gd name="connsiteX5" fmla="*/ 10021 w 10021"/>
              <a:gd name="connsiteY5" fmla="*/ 0 h 10217"/>
              <a:gd name="connsiteX0" fmla="*/ 3 w 10021"/>
              <a:gd name="connsiteY0" fmla="*/ 10020 h 10020"/>
              <a:gd name="connsiteX1" fmla="*/ 1304 w 10021"/>
              <a:gd name="connsiteY1" fmla="*/ 9996 h 10020"/>
              <a:gd name="connsiteX2" fmla="*/ 1390 w 10021"/>
              <a:gd name="connsiteY2" fmla="*/ 8097 h 10020"/>
              <a:gd name="connsiteX3" fmla="*/ 1390 w 10021"/>
              <a:gd name="connsiteY3" fmla="*/ 2040 h 10020"/>
              <a:gd name="connsiteX4" fmla="*/ 1468 w 10021"/>
              <a:gd name="connsiteY4" fmla="*/ 69 h 10020"/>
              <a:gd name="connsiteX5" fmla="*/ 10021 w 10021"/>
              <a:gd name="connsiteY5" fmla="*/ 0 h 10020"/>
              <a:gd name="connsiteX0" fmla="*/ 0 w 10018"/>
              <a:gd name="connsiteY0" fmla="*/ 10020 h 10020"/>
              <a:gd name="connsiteX1" fmla="*/ 1301 w 10018"/>
              <a:gd name="connsiteY1" fmla="*/ 9996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4"/>
              <a:gd name="connsiteX1" fmla="*/ 1301 w 10018"/>
              <a:gd name="connsiteY1" fmla="*/ 9996 h 10064"/>
              <a:gd name="connsiteX2" fmla="*/ 1387 w 10018"/>
              <a:gd name="connsiteY2" fmla="*/ 8097 h 10064"/>
              <a:gd name="connsiteX3" fmla="*/ 1387 w 10018"/>
              <a:gd name="connsiteY3" fmla="*/ 2040 h 10064"/>
              <a:gd name="connsiteX4" fmla="*/ 1465 w 10018"/>
              <a:gd name="connsiteY4" fmla="*/ 69 h 10064"/>
              <a:gd name="connsiteX5" fmla="*/ 10018 w 10018"/>
              <a:gd name="connsiteY5" fmla="*/ 0 h 10064"/>
              <a:gd name="connsiteX0" fmla="*/ 0 w 10018"/>
              <a:gd name="connsiteY0" fmla="*/ 10020 h 10047"/>
              <a:gd name="connsiteX1" fmla="*/ 1301 w 10018"/>
              <a:gd name="connsiteY1" fmla="*/ 9996 h 10047"/>
              <a:gd name="connsiteX2" fmla="*/ 1387 w 10018"/>
              <a:gd name="connsiteY2" fmla="*/ 8097 h 10047"/>
              <a:gd name="connsiteX3" fmla="*/ 1387 w 10018"/>
              <a:gd name="connsiteY3" fmla="*/ 2040 h 10047"/>
              <a:gd name="connsiteX4" fmla="*/ 1465 w 10018"/>
              <a:gd name="connsiteY4" fmla="*/ 69 h 10047"/>
              <a:gd name="connsiteX5" fmla="*/ 10018 w 10018"/>
              <a:gd name="connsiteY5" fmla="*/ 0 h 10047"/>
              <a:gd name="connsiteX0" fmla="*/ 0 w 10018"/>
              <a:gd name="connsiteY0" fmla="*/ 10020 h 10047"/>
              <a:gd name="connsiteX1" fmla="*/ 1301 w 10018"/>
              <a:gd name="connsiteY1" fmla="*/ 9996 h 10047"/>
              <a:gd name="connsiteX2" fmla="*/ 1387 w 10018"/>
              <a:gd name="connsiteY2" fmla="*/ 8097 h 10047"/>
              <a:gd name="connsiteX3" fmla="*/ 1387 w 10018"/>
              <a:gd name="connsiteY3" fmla="*/ 2040 h 10047"/>
              <a:gd name="connsiteX4" fmla="*/ 1465 w 10018"/>
              <a:gd name="connsiteY4" fmla="*/ 69 h 10047"/>
              <a:gd name="connsiteX5" fmla="*/ 10018 w 10018"/>
              <a:gd name="connsiteY5" fmla="*/ 0 h 10047"/>
              <a:gd name="connsiteX0" fmla="*/ 0 w 10018"/>
              <a:gd name="connsiteY0" fmla="*/ 10020 h 10020"/>
              <a:gd name="connsiteX1" fmla="*/ 1301 w 10018"/>
              <a:gd name="connsiteY1" fmla="*/ 9996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8"/>
              <a:gd name="connsiteX1" fmla="*/ 1301 w 10018"/>
              <a:gd name="connsiteY1" fmla="*/ 9996 h 10068"/>
              <a:gd name="connsiteX2" fmla="*/ 1387 w 10018"/>
              <a:gd name="connsiteY2" fmla="*/ 8097 h 10068"/>
              <a:gd name="connsiteX3" fmla="*/ 1387 w 10018"/>
              <a:gd name="connsiteY3" fmla="*/ 2040 h 10068"/>
              <a:gd name="connsiteX4" fmla="*/ 1465 w 10018"/>
              <a:gd name="connsiteY4" fmla="*/ 69 h 10068"/>
              <a:gd name="connsiteX5" fmla="*/ 10018 w 10018"/>
              <a:gd name="connsiteY5" fmla="*/ 0 h 10068"/>
              <a:gd name="connsiteX0" fmla="*/ 0 w 10018"/>
              <a:gd name="connsiteY0" fmla="*/ 10020 h 10020"/>
              <a:gd name="connsiteX1" fmla="*/ 1301 w 10018"/>
              <a:gd name="connsiteY1" fmla="*/ 9996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01 w 10018"/>
              <a:gd name="connsiteY1" fmla="*/ 9996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018" h="10020">
                <a:moveTo>
                  <a:pt x="0" y="10020"/>
                </a:moveTo>
                <a:cubicBezTo>
                  <a:pt x="522" y="10020"/>
                  <a:pt x="1266" y="9996"/>
                  <a:pt x="1301" y="9996"/>
                </a:cubicBezTo>
                <a:cubicBezTo>
                  <a:pt x="1344" y="9996"/>
                  <a:pt x="1387" y="9224"/>
                  <a:pt x="1387" y="8097"/>
                </a:cubicBezTo>
                <a:lnTo>
                  <a:pt x="1387" y="2040"/>
                </a:lnTo>
                <a:cubicBezTo>
                  <a:pt x="1387" y="913"/>
                  <a:pt x="1424" y="69"/>
                  <a:pt x="1465" y="69"/>
                </a:cubicBezTo>
                <a:lnTo>
                  <a:pt x="10018" y="0"/>
                </a:lnTo>
              </a:path>
            </a:pathLst>
          </a:custGeom>
          <a:noFill/>
          <a:ln w="12700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endParaRPr lang="en-US" sz="1800">
              <a:solidFill>
                <a:prstClr val="black"/>
              </a:solidFill>
              <a:latin typeface="Arial"/>
            </a:endParaRPr>
          </a:p>
        </p:txBody>
      </p:sp>
      <p:sp>
        <p:nvSpPr>
          <p:cNvPr id="6" name="textruta 5"/>
          <p:cNvSpPr txBox="1"/>
          <p:nvPr userDrawn="1"/>
        </p:nvSpPr>
        <p:spPr>
          <a:xfrm>
            <a:off x="7103422" y="263482"/>
            <a:ext cx="1779654" cy="4308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sv-SE" sz="1100" b="1" dirty="0">
                <a:solidFill>
                  <a:prstClr val="black"/>
                </a:solidFill>
                <a:latin typeface="Arial"/>
              </a:rPr>
              <a:t>KTH ROYAL INSTITUTE</a:t>
            </a:r>
            <a:br>
              <a:rPr lang="sv-SE" sz="1100" b="1" dirty="0">
                <a:solidFill>
                  <a:prstClr val="black"/>
                </a:solidFill>
                <a:latin typeface="Arial"/>
              </a:rPr>
            </a:br>
            <a:r>
              <a:rPr lang="sv-SE" sz="1100" b="1" dirty="0">
                <a:solidFill>
                  <a:prstClr val="black"/>
                </a:solidFill>
                <a:latin typeface="Arial"/>
              </a:rPr>
              <a:t>OF TECHNOLOGY</a:t>
            </a:r>
          </a:p>
        </p:txBody>
      </p:sp>
    </p:spTree>
    <p:extLst>
      <p:ext uri="{BB962C8B-B14F-4D97-AF65-F5344CB8AC3E}">
        <p14:creationId xmlns:p14="http://schemas.microsoft.com/office/powerpoint/2010/main" val="376746532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2"/>
          <p:cNvGrpSpPr>
            <a:grpSpLocks/>
          </p:cNvGrpSpPr>
          <p:nvPr/>
        </p:nvGrpSpPr>
        <p:grpSpPr bwMode="auto">
          <a:xfrm>
            <a:off x="0" y="0"/>
            <a:ext cx="9144000" cy="6858000"/>
            <a:chOff x="0" y="0"/>
            <a:chExt cx="5760" cy="4320"/>
          </a:xfrm>
        </p:grpSpPr>
        <p:sp>
          <p:nvSpPr>
            <p:cNvPr id="5" name="Rectangle 3"/>
            <p:cNvSpPr>
              <a:spLocks noChangeArrowheads="1"/>
            </p:cNvSpPr>
            <p:nvPr/>
          </p:nvSpPr>
          <p:spPr bwMode="hidden">
            <a:xfrm>
              <a:off x="0" y="0"/>
              <a:ext cx="2208" cy="4320"/>
            </a:xfrm>
            <a:prstGeom prst="rect">
              <a:avLst/>
            </a:prstGeom>
            <a:gradFill rotWithShape="0">
              <a:gsLst>
                <a:gs pos="0">
                  <a:schemeClr val="folHlink"/>
                </a:gs>
                <a:gs pos="100000">
                  <a:schemeClr val="bg1"/>
                </a:gs>
              </a:gsLst>
              <a:lin ang="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>
                <a:spcBef>
                  <a:spcPct val="20000"/>
                </a:spcBef>
                <a:buClr>
                  <a:schemeClr val="accent1"/>
                </a:buClr>
                <a:buSzPct val="65000"/>
                <a:buFont typeface="Wingdings" panose="05000000000000000000" pitchFamily="2" charset="2"/>
                <a:buChar char="n"/>
                <a:defRPr sz="30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spcBef>
                  <a:spcPct val="20000"/>
                </a:spcBef>
                <a:buClr>
                  <a:schemeClr val="accent1"/>
                </a:buClr>
                <a:buSzPct val="65000"/>
                <a:buFont typeface="Wingdings" panose="05000000000000000000" pitchFamily="2" charset="2"/>
                <a:buChar char="n"/>
                <a:defRPr sz="30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spcBef>
                  <a:spcPct val="20000"/>
                </a:spcBef>
                <a:buClr>
                  <a:schemeClr val="accent1"/>
                </a:buClr>
                <a:buSzPct val="65000"/>
                <a:buFont typeface="Wingdings" panose="05000000000000000000" pitchFamily="2" charset="2"/>
                <a:buChar char="n"/>
                <a:defRPr sz="30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spcBef>
                  <a:spcPct val="20000"/>
                </a:spcBef>
                <a:buClr>
                  <a:schemeClr val="accent1"/>
                </a:buClr>
                <a:buSzPct val="65000"/>
                <a:buFont typeface="Wingdings" panose="05000000000000000000" pitchFamily="2" charset="2"/>
                <a:buChar char="n"/>
                <a:defRPr sz="30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spcBef>
                  <a:spcPct val="20000"/>
                </a:spcBef>
                <a:buClr>
                  <a:schemeClr val="accent1"/>
                </a:buClr>
                <a:buSzPct val="65000"/>
                <a:buFont typeface="Wingdings" panose="05000000000000000000" pitchFamily="2" charset="2"/>
                <a:buChar char="n"/>
                <a:defRPr sz="30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accent1"/>
                </a:buClr>
                <a:buSzPct val="65000"/>
                <a:buFont typeface="Wingdings" panose="05000000000000000000" pitchFamily="2" charset="2"/>
                <a:buChar char="n"/>
                <a:defRPr sz="30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accent1"/>
                </a:buClr>
                <a:buSzPct val="65000"/>
                <a:buFont typeface="Wingdings" panose="05000000000000000000" pitchFamily="2" charset="2"/>
                <a:buChar char="n"/>
                <a:defRPr sz="30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accent1"/>
                </a:buClr>
                <a:buSzPct val="65000"/>
                <a:buFont typeface="Wingdings" panose="05000000000000000000" pitchFamily="2" charset="2"/>
                <a:buChar char="n"/>
                <a:defRPr sz="30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accent1"/>
                </a:buClr>
                <a:buSzPct val="65000"/>
                <a:buFont typeface="Wingdings" panose="05000000000000000000" pitchFamily="2" charset="2"/>
                <a:buChar char="n"/>
                <a:defRPr sz="30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 eaLnBrk="1" hangingPunct="1"/>
              <a:endParaRPr lang="en-GB" altLang="en-US" sz="2400">
                <a:latin typeface="Times New Roman" panose="02020603050405020304" pitchFamily="18" charset="0"/>
              </a:endParaRPr>
            </a:p>
          </p:txBody>
        </p:sp>
        <p:sp>
          <p:nvSpPr>
            <p:cNvPr id="6" name="Rectangle 4"/>
            <p:cNvSpPr>
              <a:spLocks noChangeArrowheads="1"/>
            </p:cNvSpPr>
            <p:nvPr/>
          </p:nvSpPr>
          <p:spPr bwMode="hidden">
            <a:xfrm>
              <a:off x="1081" y="1065"/>
              <a:ext cx="4679" cy="1596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buClr>
                  <a:schemeClr val="accent1"/>
                </a:buClr>
                <a:buSzPct val="65000"/>
                <a:buFont typeface="Wingdings" panose="05000000000000000000" pitchFamily="2" charset="2"/>
                <a:buChar char="n"/>
                <a:defRPr sz="30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spcBef>
                  <a:spcPct val="20000"/>
                </a:spcBef>
                <a:buClr>
                  <a:schemeClr val="accent1"/>
                </a:buClr>
                <a:buSzPct val="65000"/>
                <a:buFont typeface="Wingdings" panose="05000000000000000000" pitchFamily="2" charset="2"/>
                <a:buChar char="n"/>
                <a:defRPr sz="30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spcBef>
                  <a:spcPct val="20000"/>
                </a:spcBef>
                <a:buClr>
                  <a:schemeClr val="accent1"/>
                </a:buClr>
                <a:buSzPct val="65000"/>
                <a:buFont typeface="Wingdings" panose="05000000000000000000" pitchFamily="2" charset="2"/>
                <a:buChar char="n"/>
                <a:defRPr sz="30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spcBef>
                  <a:spcPct val="20000"/>
                </a:spcBef>
                <a:buClr>
                  <a:schemeClr val="accent1"/>
                </a:buClr>
                <a:buSzPct val="65000"/>
                <a:buFont typeface="Wingdings" panose="05000000000000000000" pitchFamily="2" charset="2"/>
                <a:buChar char="n"/>
                <a:defRPr sz="30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spcBef>
                  <a:spcPct val="20000"/>
                </a:spcBef>
                <a:buClr>
                  <a:schemeClr val="accent1"/>
                </a:buClr>
                <a:buSzPct val="65000"/>
                <a:buFont typeface="Wingdings" panose="05000000000000000000" pitchFamily="2" charset="2"/>
                <a:buChar char="n"/>
                <a:defRPr sz="30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accent1"/>
                </a:buClr>
                <a:buSzPct val="65000"/>
                <a:buFont typeface="Wingdings" panose="05000000000000000000" pitchFamily="2" charset="2"/>
                <a:buChar char="n"/>
                <a:defRPr sz="30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accent1"/>
                </a:buClr>
                <a:buSzPct val="65000"/>
                <a:buFont typeface="Wingdings" panose="05000000000000000000" pitchFamily="2" charset="2"/>
                <a:buChar char="n"/>
                <a:defRPr sz="30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accent1"/>
                </a:buClr>
                <a:buSzPct val="65000"/>
                <a:buFont typeface="Wingdings" panose="05000000000000000000" pitchFamily="2" charset="2"/>
                <a:buChar char="n"/>
                <a:defRPr sz="30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accent1"/>
                </a:buClr>
                <a:buSzPct val="65000"/>
                <a:buFont typeface="Wingdings" panose="05000000000000000000" pitchFamily="2" charset="2"/>
                <a:buChar char="n"/>
                <a:defRPr sz="30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endParaRPr lang="en-GB" altLang="en-US" sz="2400">
                <a:latin typeface="Times New Roman" panose="02020603050405020304" pitchFamily="18" charset="0"/>
              </a:endParaRPr>
            </a:p>
          </p:txBody>
        </p:sp>
        <p:grpSp>
          <p:nvGrpSpPr>
            <p:cNvPr id="7" name="Group 5"/>
            <p:cNvGrpSpPr>
              <a:grpSpLocks/>
            </p:cNvGrpSpPr>
            <p:nvPr/>
          </p:nvGrpSpPr>
          <p:grpSpPr bwMode="auto">
            <a:xfrm>
              <a:off x="0" y="672"/>
              <a:ext cx="1806" cy="1989"/>
              <a:chOff x="0" y="672"/>
              <a:chExt cx="1806" cy="1989"/>
            </a:xfrm>
          </p:grpSpPr>
          <p:sp>
            <p:nvSpPr>
              <p:cNvPr id="8" name="Rectangle 6"/>
              <p:cNvSpPr>
                <a:spLocks noChangeArrowheads="1"/>
              </p:cNvSpPr>
              <p:nvPr userDrawn="1"/>
            </p:nvSpPr>
            <p:spPr bwMode="auto">
              <a:xfrm>
                <a:off x="361" y="2257"/>
                <a:ext cx="363" cy="404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>
                  <a:spcBef>
                    <a:spcPct val="20000"/>
                  </a:spcBef>
                  <a:buClr>
                    <a:schemeClr val="accent1"/>
                  </a:buClr>
                  <a:buSzPct val="65000"/>
                  <a:buFont typeface="Wingdings" panose="05000000000000000000" pitchFamily="2" charset="2"/>
                  <a:buChar char="n"/>
                  <a:defRPr sz="30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742950" indent="-285750">
                  <a:spcBef>
                    <a:spcPct val="20000"/>
                  </a:spcBef>
                  <a:buClr>
                    <a:schemeClr val="accent1"/>
                  </a:buClr>
                  <a:buSzPct val="65000"/>
                  <a:buFont typeface="Wingdings" panose="05000000000000000000" pitchFamily="2" charset="2"/>
                  <a:buChar char="n"/>
                  <a:defRPr sz="30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1143000" indent="-228600">
                  <a:spcBef>
                    <a:spcPct val="20000"/>
                  </a:spcBef>
                  <a:buClr>
                    <a:schemeClr val="accent1"/>
                  </a:buClr>
                  <a:buSzPct val="65000"/>
                  <a:buFont typeface="Wingdings" panose="05000000000000000000" pitchFamily="2" charset="2"/>
                  <a:buChar char="n"/>
                  <a:defRPr sz="30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600200" indent="-228600">
                  <a:spcBef>
                    <a:spcPct val="20000"/>
                  </a:spcBef>
                  <a:buClr>
                    <a:schemeClr val="accent1"/>
                  </a:buClr>
                  <a:buSzPct val="65000"/>
                  <a:buFont typeface="Wingdings" panose="05000000000000000000" pitchFamily="2" charset="2"/>
                  <a:buChar char="n"/>
                  <a:defRPr sz="30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2057400" indent="-228600">
                  <a:spcBef>
                    <a:spcPct val="20000"/>
                  </a:spcBef>
                  <a:buClr>
                    <a:schemeClr val="accent1"/>
                  </a:buClr>
                  <a:buSzPct val="65000"/>
                  <a:buFont typeface="Wingdings" panose="05000000000000000000" pitchFamily="2" charset="2"/>
                  <a:buChar char="n"/>
                  <a:defRPr sz="30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chemeClr val="accent1"/>
                  </a:buClr>
                  <a:buSzPct val="65000"/>
                  <a:buFont typeface="Wingdings" panose="05000000000000000000" pitchFamily="2" charset="2"/>
                  <a:buChar char="n"/>
                  <a:defRPr sz="30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chemeClr val="accent1"/>
                  </a:buClr>
                  <a:buSzPct val="65000"/>
                  <a:buFont typeface="Wingdings" panose="05000000000000000000" pitchFamily="2" charset="2"/>
                  <a:buChar char="n"/>
                  <a:defRPr sz="30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chemeClr val="accent1"/>
                  </a:buClr>
                  <a:buSzPct val="65000"/>
                  <a:buFont typeface="Wingdings" panose="05000000000000000000" pitchFamily="2" charset="2"/>
                  <a:buChar char="n"/>
                  <a:defRPr sz="30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chemeClr val="accent1"/>
                  </a:buClr>
                  <a:buSzPct val="65000"/>
                  <a:buFont typeface="Wingdings" panose="05000000000000000000" pitchFamily="2" charset="2"/>
                  <a:buChar char="n"/>
                  <a:defRPr sz="30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eaLnBrk="1" hangingPunct="1"/>
                <a:endParaRPr lang="en-GB" altLang="en-US" sz="2400">
                  <a:latin typeface="Times New Roman" panose="02020603050405020304" pitchFamily="18" charset="0"/>
                </a:endParaRPr>
              </a:p>
            </p:txBody>
          </p:sp>
          <p:sp>
            <p:nvSpPr>
              <p:cNvPr id="9" name="Rectangle 7"/>
              <p:cNvSpPr>
                <a:spLocks noChangeArrowheads="1"/>
              </p:cNvSpPr>
              <p:nvPr userDrawn="1"/>
            </p:nvSpPr>
            <p:spPr bwMode="auto">
              <a:xfrm>
                <a:off x="1081" y="1065"/>
                <a:ext cx="362" cy="405"/>
              </a:xfrm>
              <a:prstGeom prst="rect">
                <a:avLst/>
              </a:prstGeom>
              <a:solidFill>
                <a:schemeClr val="folHlink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>
                  <a:spcBef>
                    <a:spcPct val="20000"/>
                  </a:spcBef>
                  <a:buClr>
                    <a:schemeClr val="accent1"/>
                  </a:buClr>
                  <a:buSzPct val="65000"/>
                  <a:buFont typeface="Wingdings" panose="05000000000000000000" pitchFamily="2" charset="2"/>
                  <a:buChar char="n"/>
                  <a:defRPr sz="30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742950" indent="-285750">
                  <a:spcBef>
                    <a:spcPct val="20000"/>
                  </a:spcBef>
                  <a:buClr>
                    <a:schemeClr val="accent1"/>
                  </a:buClr>
                  <a:buSzPct val="65000"/>
                  <a:buFont typeface="Wingdings" panose="05000000000000000000" pitchFamily="2" charset="2"/>
                  <a:buChar char="n"/>
                  <a:defRPr sz="30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1143000" indent="-228600">
                  <a:spcBef>
                    <a:spcPct val="20000"/>
                  </a:spcBef>
                  <a:buClr>
                    <a:schemeClr val="accent1"/>
                  </a:buClr>
                  <a:buSzPct val="65000"/>
                  <a:buFont typeface="Wingdings" panose="05000000000000000000" pitchFamily="2" charset="2"/>
                  <a:buChar char="n"/>
                  <a:defRPr sz="30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600200" indent="-228600">
                  <a:spcBef>
                    <a:spcPct val="20000"/>
                  </a:spcBef>
                  <a:buClr>
                    <a:schemeClr val="accent1"/>
                  </a:buClr>
                  <a:buSzPct val="65000"/>
                  <a:buFont typeface="Wingdings" panose="05000000000000000000" pitchFamily="2" charset="2"/>
                  <a:buChar char="n"/>
                  <a:defRPr sz="30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2057400" indent="-228600">
                  <a:spcBef>
                    <a:spcPct val="20000"/>
                  </a:spcBef>
                  <a:buClr>
                    <a:schemeClr val="accent1"/>
                  </a:buClr>
                  <a:buSzPct val="65000"/>
                  <a:buFont typeface="Wingdings" panose="05000000000000000000" pitchFamily="2" charset="2"/>
                  <a:buChar char="n"/>
                  <a:defRPr sz="30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chemeClr val="accent1"/>
                  </a:buClr>
                  <a:buSzPct val="65000"/>
                  <a:buFont typeface="Wingdings" panose="05000000000000000000" pitchFamily="2" charset="2"/>
                  <a:buChar char="n"/>
                  <a:defRPr sz="30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chemeClr val="accent1"/>
                  </a:buClr>
                  <a:buSzPct val="65000"/>
                  <a:buFont typeface="Wingdings" panose="05000000000000000000" pitchFamily="2" charset="2"/>
                  <a:buChar char="n"/>
                  <a:defRPr sz="30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chemeClr val="accent1"/>
                  </a:buClr>
                  <a:buSzPct val="65000"/>
                  <a:buFont typeface="Wingdings" panose="05000000000000000000" pitchFamily="2" charset="2"/>
                  <a:buChar char="n"/>
                  <a:defRPr sz="30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chemeClr val="accent1"/>
                  </a:buClr>
                  <a:buSzPct val="65000"/>
                  <a:buFont typeface="Wingdings" panose="05000000000000000000" pitchFamily="2" charset="2"/>
                  <a:buChar char="n"/>
                  <a:defRPr sz="30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eaLnBrk="1" hangingPunct="1"/>
                <a:endParaRPr lang="en-GB" altLang="en-US" sz="2400">
                  <a:latin typeface="Times New Roman" panose="02020603050405020304" pitchFamily="18" charset="0"/>
                </a:endParaRPr>
              </a:p>
            </p:txBody>
          </p:sp>
          <p:sp>
            <p:nvSpPr>
              <p:cNvPr id="10" name="Rectangle 8"/>
              <p:cNvSpPr>
                <a:spLocks noChangeArrowheads="1"/>
              </p:cNvSpPr>
              <p:nvPr userDrawn="1"/>
            </p:nvSpPr>
            <p:spPr bwMode="auto">
              <a:xfrm>
                <a:off x="1437" y="672"/>
                <a:ext cx="369" cy="400"/>
              </a:xfrm>
              <a:prstGeom prst="rect">
                <a:avLst/>
              </a:prstGeom>
              <a:solidFill>
                <a:schemeClr val="folHlink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>
                  <a:spcBef>
                    <a:spcPct val="20000"/>
                  </a:spcBef>
                  <a:buClr>
                    <a:schemeClr val="accent1"/>
                  </a:buClr>
                  <a:buSzPct val="65000"/>
                  <a:buFont typeface="Wingdings" panose="05000000000000000000" pitchFamily="2" charset="2"/>
                  <a:buChar char="n"/>
                  <a:defRPr sz="30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742950" indent="-285750">
                  <a:spcBef>
                    <a:spcPct val="20000"/>
                  </a:spcBef>
                  <a:buClr>
                    <a:schemeClr val="accent1"/>
                  </a:buClr>
                  <a:buSzPct val="65000"/>
                  <a:buFont typeface="Wingdings" panose="05000000000000000000" pitchFamily="2" charset="2"/>
                  <a:buChar char="n"/>
                  <a:defRPr sz="30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1143000" indent="-228600">
                  <a:spcBef>
                    <a:spcPct val="20000"/>
                  </a:spcBef>
                  <a:buClr>
                    <a:schemeClr val="accent1"/>
                  </a:buClr>
                  <a:buSzPct val="65000"/>
                  <a:buFont typeface="Wingdings" panose="05000000000000000000" pitchFamily="2" charset="2"/>
                  <a:buChar char="n"/>
                  <a:defRPr sz="30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600200" indent="-228600">
                  <a:spcBef>
                    <a:spcPct val="20000"/>
                  </a:spcBef>
                  <a:buClr>
                    <a:schemeClr val="accent1"/>
                  </a:buClr>
                  <a:buSzPct val="65000"/>
                  <a:buFont typeface="Wingdings" panose="05000000000000000000" pitchFamily="2" charset="2"/>
                  <a:buChar char="n"/>
                  <a:defRPr sz="30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2057400" indent="-228600">
                  <a:spcBef>
                    <a:spcPct val="20000"/>
                  </a:spcBef>
                  <a:buClr>
                    <a:schemeClr val="accent1"/>
                  </a:buClr>
                  <a:buSzPct val="65000"/>
                  <a:buFont typeface="Wingdings" panose="05000000000000000000" pitchFamily="2" charset="2"/>
                  <a:buChar char="n"/>
                  <a:defRPr sz="30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chemeClr val="accent1"/>
                  </a:buClr>
                  <a:buSzPct val="65000"/>
                  <a:buFont typeface="Wingdings" panose="05000000000000000000" pitchFamily="2" charset="2"/>
                  <a:buChar char="n"/>
                  <a:defRPr sz="30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chemeClr val="accent1"/>
                  </a:buClr>
                  <a:buSzPct val="65000"/>
                  <a:buFont typeface="Wingdings" panose="05000000000000000000" pitchFamily="2" charset="2"/>
                  <a:buChar char="n"/>
                  <a:defRPr sz="30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chemeClr val="accent1"/>
                  </a:buClr>
                  <a:buSzPct val="65000"/>
                  <a:buFont typeface="Wingdings" panose="05000000000000000000" pitchFamily="2" charset="2"/>
                  <a:buChar char="n"/>
                  <a:defRPr sz="30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chemeClr val="accent1"/>
                  </a:buClr>
                  <a:buSzPct val="65000"/>
                  <a:buFont typeface="Wingdings" panose="05000000000000000000" pitchFamily="2" charset="2"/>
                  <a:buChar char="n"/>
                  <a:defRPr sz="30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eaLnBrk="1" hangingPunct="1"/>
                <a:endParaRPr lang="en-GB" altLang="en-US" sz="2400">
                  <a:latin typeface="Times New Roman" panose="02020603050405020304" pitchFamily="18" charset="0"/>
                </a:endParaRPr>
              </a:p>
            </p:txBody>
          </p:sp>
          <p:sp>
            <p:nvSpPr>
              <p:cNvPr id="11" name="Rectangle 9"/>
              <p:cNvSpPr>
                <a:spLocks noChangeArrowheads="1"/>
              </p:cNvSpPr>
              <p:nvPr userDrawn="1"/>
            </p:nvSpPr>
            <p:spPr bwMode="auto">
              <a:xfrm>
                <a:off x="719" y="2257"/>
                <a:ext cx="368" cy="404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>
                  <a:spcBef>
                    <a:spcPct val="20000"/>
                  </a:spcBef>
                  <a:buClr>
                    <a:schemeClr val="accent1"/>
                  </a:buClr>
                  <a:buSzPct val="65000"/>
                  <a:buFont typeface="Wingdings" panose="05000000000000000000" pitchFamily="2" charset="2"/>
                  <a:buChar char="n"/>
                  <a:defRPr sz="30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742950" indent="-285750">
                  <a:spcBef>
                    <a:spcPct val="20000"/>
                  </a:spcBef>
                  <a:buClr>
                    <a:schemeClr val="accent1"/>
                  </a:buClr>
                  <a:buSzPct val="65000"/>
                  <a:buFont typeface="Wingdings" panose="05000000000000000000" pitchFamily="2" charset="2"/>
                  <a:buChar char="n"/>
                  <a:defRPr sz="30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1143000" indent="-228600">
                  <a:spcBef>
                    <a:spcPct val="20000"/>
                  </a:spcBef>
                  <a:buClr>
                    <a:schemeClr val="accent1"/>
                  </a:buClr>
                  <a:buSzPct val="65000"/>
                  <a:buFont typeface="Wingdings" panose="05000000000000000000" pitchFamily="2" charset="2"/>
                  <a:buChar char="n"/>
                  <a:defRPr sz="30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600200" indent="-228600">
                  <a:spcBef>
                    <a:spcPct val="20000"/>
                  </a:spcBef>
                  <a:buClr>
                    <a:schemeClr val="accent1"/>
                  </a:buClr>
                  <a:buSzPct val="65000"/>
                  <a:buFont typeface="Wingdings" panose="05000000000000000000" pitchFamily="2" charset="2"/>
                  <a:buChar char="n"/>
                  <a:defRPr sz="30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2057400" indent="-228600">
                  <a:spcBef>
                    <a:spcPct val="20000"/>
                  </a:spcBef>
                  <a:buClr>
                    <a:schemeClr val="accent1"/>
                  </a:buClr>
                  <a:buSzPct val="65000"/>
                  <a:buFont typeface="Wingdings" panose="05000000000000000000" pitchFamily="2" charset="2"/>
                  <a:buChar char="n"/>
                  <a:defRPr sz="30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chemeClr val="accent1"/>
                  </a:buClr>
                  <a:buSzPct val="65000"/>
                  <a:buFont typeface="Wingdings" panose="05000000000000000000" pitchFamily="2" charset="2"/>
                  <a:buChar char="n"/>
                  <a:defRPr sz="30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chemeClr val="accent1"/>
                  </a:buClr>
                  <a:buSzPct val="65000"/>
                  <a:buFont typeface="Wingdings" panose="05000000000000000000" pitchFamily="2" charset="2"/>
                  <a:buChar char="n"/>
                  <a:defRPr sz="30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chemeClr val="accent1"/>
                  </a:buClr>
                  <a:buSzPct val="65000"/>
                  <a:buFont typeface="Wingdings" panose="05000000000000000000" pitchFamily="2" charset="2"/>
                  <a:buChar char="n"/>
                  <a:defRPr sz="30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chemeClr val="accent1"/>
                  </a:buClr>
                  <a:buSzPct val="65000"/>
                  <a:buFont typeface="Wingdings" panose="05000000000000000000" pitchFamily="2" charset="2"/>
                  <a:buChar char="n"/>
                  <a:defRPr sz="30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eaLnBrk="1" hangingPunct="1"/>
                <a:endParaRPr lang="en-GB" altLang="en-US" sz="2400">
                  <a:latin typeface="Times New Roman" panose="02020603050405020304" pitchFamily="18" charset="0"/>
                </a:endParaRPr>
              </a:p>
            </p:txBody>
          </p:sp>
          <p:sp>
            <p:nvSpPr>
              <p:cNvPr id="12" name="Rectangle 10"/>
              <p:cNvSpPr>
                <a:spLocks noChangeArrowheads="1"/>
              </p:cNvSpPr>
              <p:nvPr userDrawn="1"/>
            </p:nvSpPr>
            <p:spPr bwMode="auto">
              <a:xfrm>
                <a:off x="1437" y="1065"/>
                <a:ext cx="369" cy="405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>
                  <a:spcBef>
                    <a:spcPct val="20000"/>
                  </a:spcBef>
                  <a:buClr>
                    <a:schemeClr val="accent1"/>
                  </a:buClr>
                  <a:buSzPct val="65000"/>
                  <a:buFont typeface="Wingdings" panose="05000000000000000000" pitchFamily="2" charset="2"/>
                  <a:buChar char="n"/>
                  <a:defRPr sz="30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742950" indent="-285750">
                  <a:spcBef>
                    <a:spcPct val="20000"/>
                  </a:spcBef>
                  <a:buClr>
                    <a:schemeClr val="accent1"/>
                  </a:buClr>
                  <a:buSzPct val="65000"/>
                  <a:buFont typeface="Wingdings" panose="05000000000000000000" pitchFamily="2" charset="2"/>
                  <a:buChar char="n"/>
                  <a:defRPr sz="30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1143000" indent="-228600">
                  <a:spcBef>
                    <a:spcPct val="20000"/>
                  </a:spcBef>
                  <a:buClr>
                    <a:schemeClr val="accent1"/>
                  </a:buClr>
                  <a:buSzPct val="65000"/>
                  <a:buFont typeface="Wingdings" panose="05000000000000000000" pitchFamily="2" charset="2"/>
                  <a:buChar char="n"/>
                  <a:defRPr sz="30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600200" indent="-228600">
                  <a:spcBef>
                    <a:spcPct val="20000"/>
                  </a:spcBef>
                  <a:buClr>
                    <a:schemeClr val="accent1"/>
                  </a:buClr>
                  <a:buSzPct val="65000"/>
                  <a:buFont typeface="Wingdings" panose="05000000000000000000" pitchFamily="2" charset="2"/>
                  <a:buChar char="n"/>
                  <a:defRPr sz="30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2057400" indent="-228600">
                  <a:spcBef>
                    <a:spcPct val="20000"/>
                  </a:spcBef>
                  <a:buClr>
                    <a:schemeClr val="accent1"/>
                  </a:buClr>
                  <a:buSzPct val="65000"/>
                  <a:buFont typeface="Wingdings" panose="05000000000000000000" pitchFamily="2" charset="2"/>
                  <a:buChar char="n"/>
                  <a:defRPr sz="30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chemeClr val="accent1"/>
                  </a:buClr>
                  <a:buSzPct val="65000"/>
                  <a:buFont typeface="Wingdings" panose="05000000000000000000" pitchFamily="2" charset="2"/>
                  <a:buChar char="n"/>
                  <a:defRPr sz="30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chemeClr val="accent1"/>
                  </a:buClr>
                  <a:buSzPct val="65000"/>
                  <a:buFont typeface="Wingdings" panose="05000000000000000000" pitchFamily="2" charset="2"/>
                  <a:buChar char="n"/>
                  <a:defRPr sz="30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chemeClr val="accent1"/>
                  </a:buClr>
                  <a:buSzPct val="65000"/>
                  <a:buFont typeface="Wingdings" panose="05000000000000000000" pitchFamily="2" charset="2"/>
                  <a:buChar char="n"/>
                  <a:defRPr sz="30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chemeClr val="accent1"/>
                  </a:buClr>
                  <a:buSzPct val="65000"/>
                  <a:buFont typeface="Wingdings" panose="05000000000000000000" pitchFamily="2" charset="2"/>
                  <a:buChar char="n"/>
                  <a:defRPr sz="30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eaLnBrk="1" hangingPunct="1"/>
                <a:endParaRPr lang="en-GB" altLang="en-US" sz="2400">
                  <a:latin typeface="Times New Roman" panose="02020603050405020304" pitchFamily="18" charset="0"/>
                </a:endParaRPr>
              </a:p>
            </p:txBody>
          </p:sp>
          <p:sp>
            <p:nvSpPr>
              <p:cNvPr id="13" name="Rectangle 11"/>
              <p:cNvSpPr>
                <a:spLocks noChangeArrowheads="1"/>
              </p:cNvSpPr>
              <p:nvPr userDrawn="1"/>
            </p:nvSpPr>
            <p:spPr bwMode="auto">
              <a:xfrm>
                <a:off x="719" y="1464"/>
                <a:ext cx="368" cy="399"/>
              </a:xfrm>
              <a:prstGeom prst="rect">
                <a:avLst/>
              </a:prstGeom>
              <a:solidFill>
                <a:schemeClr val="folHlink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>
                  <a:spcBef>
                    <a:spcPct val="20000"/>
                  </a:spcBef>
                  <a:buClr>
                    <a:schemeClr val="accent1"/>
                  </a:buClr>
                  <a:buSzPct val="65000"/>
                  <a:buFont typeface="Wingdings" panose="05000000000000000000" pitchFamily="2" charset="2"/>
                  <a:buChar char="n"/>
                  <a:defRPr sz="30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742950" indent="-285750">
                  <a:spcBef>
                    <a:spcPct val="20000"/>
                  </a:spcBef>
                  <a:buClr>
                    <a:schemeClr val="accent1"/>
                  </a:buClr>
                  <a:buSzPct val="65000"/>
                  <a:buFont typeface="Wingdings" panose="05000000000000000000" pitchFamily="2" charset="2"/>
                  <a:buChar char="n"/>
                  <a:defRPr sz="30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1143000" indent="-228600">
                  <a:spcBef>
                    <a:spcPct val="20000"/>
                  </a:spcBef>
                  <a:buClr>
                    <a:schemeClr val="accent1"/>
                  </a:buClr>
                  <a:buSzPct val="65000"/>
                  <a:buFont typeface="Wingdings" panose="05000000000000000000" pitchFamily="2" charset="2"/>
                  <a:buChar char="n"/>
                  <a:defRPr sz="30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600200" indent="-228600">
                  <a:spcBef>
                    <a:spcPct val="20000"/>
                  </a:spcBef>
                  <a:buClr>
                    <a:schemeClr val="accent1"/>
                  </a:buClr>
                  <a:buSzPct val="65000"/>
                  <a:buFont typeface="Wingdings" panose="05000000000000000000" pitchFamily="2" charset="2"/>
                  <a:buChar char="n"/>
                  <a:defRPr sz="30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2057400" indent="-228600">
                  <a:spcBef>
                    <a:spcPct val="20000"/>
                  </a:spcBef>
                  <a:buClr>
                    <a:schemeClr val="accent1"/>
                  </a:buClr>
                  <a:buSzPct val="65000"/>
                  <a:buFont typeface="Wingdings" panose="05000000000000000000" pitchFamily="2" charset="2"/>
                  <a:buChar char="n"/>
                  <a:defRPr sz="30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chemeClr val="accent1"/>
                  </a:buClr>
                  <a:buSzPct val="65000"/>
                  <a:buFont typeface="Wingdings" panose="05000000000000000000" pitchFamily="2" charset="2"/>
                  <a:buChar char="n"/>
                  <a:defRPr sz="30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chemeClr val="accent1"/>
                  </a:buClr>
                  <a:buSzPct val="65000"/>
                  <a:buFont typeface="Wingdings" panose="05000000000000000000" pitchFamily="2" charset="2"/>
                  <a:buChar char="n"/>
                  <a:defRPr sz="30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chemeClr val="accent1"/>
                  </a:buClr>
                  <a:buSzPct val="65000"/>
                  <a:buFont typeface="Wingdings" panose="05000000000000000000" pitchFamily="2" charset="2"/>
                  <a:buChar char="n"/>
                  <a:defRPr sz="30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chemeClr val="accent1"/>
                  </a:buClr>
                  <a:buSzPct val="65000"/>
                  <a:buFont typeface="Wingdings" panose="05000000000000000000" pitchFamily="2" charset="2"/>
                  <a:buChar char="n"/>
                  <a:defRPr sz="30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eaLnBrk="1" hangingPunct="1"/>
                <a:endParaRPr lang="en-GB" altLang="en-US" sz="2400">
                  <a:latin typeface="Times New Roman" panose="02020603050405020304" pitchFamily="18" charset="0"/>
                </a:endParaRPr>
              </a:p>
            </p:txBody>
          </p:sp>
          <p:sp>
            <p:nvSpPr>
              <p:cNvPr id="14" name="Rectangle 12"/>
              <p:cNvSpPr>
                <a:spLocks noChangeArrowheads="1"/>
              </p:cNvSpPr>
              <p:nvPr userDrawn="1"/>
            </p:nvSpPr>
            <p:spPr bwMode="auto">
              <a:xfrm>
                <a:off x="0" y="1464"/>
                <a:ext cx="367" cy="399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>
                  <a:spcBef>
                    <a:spcPct val="20000"/>
                  </a:spcBef>
                  <a:buClr>
                    <a:schemeClr val="accent1"/>
                  </a:buClr>
                  <a:buSzPct val="65000"/>
                  <a:buFont typeface="Wingdings" panose="05000000000000000000" pitchFamily="2" charset="2"/>
                  <a:buChar char="n"/>
                  <a:defRPr sz="30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742950" indent="-285750">
                  <a:spcBef>
                    <a:spcPct val="20000"/>
                  </a:spcBef>
                  <a:buClr>
                    <a:schemeClr val="accent1"/>
                  </a:buClr>
                  <a:buSzPct val="65000"/>
                  <a:buFont typeface="Wingdings" panose="05000000000000000000" pitchFamily="2" charset="2"/>
                  <a:buChar char="n"/>
                  <a:defRPr sz="30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1143000" indent="-228600">
                  <a:spcBef>
                    <a:spcPct val="20000"/>
                  </a:spcBef>
                  <a:buClr>
                    <a:schemeClr val="accent1"/>
                  </a:buClr>
                  <a:buSzPct val="65000"/>
                  <a:buFont typeface="Wingdings" panose="05000000000000000000" pitchFamily="2" charset="2"/>
                  <a:buChar char="n"/>
                  <a:defRPr sz="30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600200" indent="-228600">
                  <a:spcBef>
                    <a:spcPct val="20000"/>
                  </a:spcBef>
                  <a:buClr>
                    <a:schemeClr val="accent1"/>
                  </a:buClr>
                  <a:buSzPct val="65000"/>
                  <a:buFont typeface="Wingdings" panose="05000000000000000000" pitchFamily="2" charset="2"/>
                  <a:buChar char="n"/>
                  <a:defRPr sz="30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2057400" indent="-228600">
                  <a:spcBef>
                    <a:spcPct val="20000"/>
                  </a:spcBef>
                  <a:buClr>
                    <a:schemeClr val="accent1"/>
                  </a:buClr>
                  <a:buSzPct val="65000"/>
                  <a:buFont typeface="Wingdings" panose="05000000000000000000" pitchFamily="2" charset="2"/>
                  <a:buChar char="n"/>
                  <a:defRPr sz="30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chemeClr val="accent1"/>
                  </a:buClr>
                  <a:buSzPct val="65000"/>
                  <a:buFont typeface="Wingdings" panose="05000000000000000000" pitchFamily="2" charset="2"/>
                  <a:buChar char="n"/>
                  <a:defRPr sz="30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chemeClr val="accent1"/>
                  </a:buClr>
                  <a:buSzPct val="65000"/>
                  <a:buFont typeface="Wingdings" panose="05000000000000000000" pitchFamily="2" charset="2"/>
                  <a:buChar char="n"/>
                  <a:defRPr sz="30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chemeClr val="accent1"/>
                  </a:buClr>
                  <a:buSzPct val="65000"/>
                  <a:buFont typeface="Wingdings" panose="05000000000000000000" pitchFamily="2" charset="2"/>
                  <a:buChar char="n"/>
                  <a:defRPr sz="30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chemeClr val="accent1"/>
                  </a:buClr>
                  <a:buSzPct val="65000"/>
                  <a:buFont typeface="Wingdings" panose="05000000000000000000" pitchFamily="2" charset="2"/>
                  <a:buChar char="n"/>
                  <a:defRPr sz="30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eaLnBrk="1" hangingPunct="1"/>
                <a:endParaRPr lang="en-GB" altLang="en-US" sz="2400">
                  <a:latin typeface="Times New Roman" panose="02020603050405020304" pitchFamily="18" charset="0"/>
                </a:endParaRPr>
              </a:p>
            </p:txBody>
          </p:sp>
          <p:sp>
            <p:nvSpPr>
              <p:cNvPr id="15" name="Rectangle 13"/>
              <p:cNvSpPr>
                <a:spLocks noChangeArrowheads="1"/>
              </p:cNvSpPr>
              <p:nvPr userDrawn="1"/>
            </p:nvSpPr>
            <p:spPr bwMode="auto">
              <a:xfrm>
                <a:off x="1081" y="1464"/>
                <a:ext cx="362" cy="399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>
                  <a:spcBef>
                    <a:spcPct val="20000"/>
                  </a:spcBef>
                  <a:buClr>
                    <a:schemeClr val="accent1"/>
                  </a:buClr>
                  <a:buSzPct val="65000"/>
                  <a:buFont typeface="Wingdings" panose="05000000000000000000" pitchFamily="2" charset="2"/>
                  <a:buChar char="n"/>
                  <a:defRPr sz="30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742950" indent="-285750">
                  <a:spcBef>
                    <a:spcPct val="20000"/>
                  </a:spcBef>
                  <a:buClr>
                    <a:schemeClr val="accent1"/>
                  </a:buClr>
                  <a:buSzPct val="65000"/>
                  <a:buFont typeface="Wingdings" panose="05000000000000000000" pitchFamily="2" charset="2"/>
                  <a:buChar char="n"/>
                  <a:defRPr sz="30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1143000" indent="-228600">
                  <a:spcBef>
                    <a:spcPct val="20000"/>
                  </a:spcBef>
                  <a:buClr>
                    <a:schemeClr val="accent1"/>
                  </a:buClr>
                  <a:buSzPct val="65000"/>
                  <a:buFont typeface="Wingdings" panose="05000000000000000000" pitchFamily="2" charset="2"/>
                  <a:buChar char="n"/>
                  <a:defRPr sz="30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600200" indent="-228600">
                  <a:spcBef>
                    <a:spcPct val="20000"/>
                  </a:spcBef>
                  <a:buClr>
                    <a:schemeClr val="accent1"/>
                  </a:buClr>
                  <a:buSzPct val="65000"/>
                  <a:buFont typeface="Wingdings" panose="05000000000000000000" pitchFamily="2" charset="2"/>
                  <a:buChar char="n"/>
                  <a:defRPr sz="30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2057400" indent="-228600">
                  <a:spcBef>
                    <a:spcPct val="20000"/>
                  </a:spcBef>
                  <a:buClr>
                    <a:schemeClr val="accent1"/>
                  </a:buClr>
                  <a:buSzPct val="65000"/>
                  <a:buFont typeface="Wingdings" panose="05000000000000000000" pitchFamily="2" charset="2"/>
                  <a:buChar char="n"/>
                  <a:defRPr sz="30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chemeClr val="accent1"/>
                  </a:buClr>
                  <a:buSzPct val="65000"/>
                  <a:buFont typeface="Wingdings" panose="05000000000000000000" pitchFamily="2" charset="2"/>
                  <a:buChar char="n"/>
                  <a:defRPr sz="30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chemeClr val="accent1"/>
                  </a:buClr>
                  <a:buSzPct val="65000"/>
                  <a:buFont typeface="Wingdings" panose="05000000000000000000" pitchFamily="2" charset="2"/>
                  <a:buChar char="n"/>
                  <a:defRPr sz="30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chemeClr val="accent1"/>
                  </a:buClr>
                  <a:buSzPct val="65000"/>
                  <a:buFont typeface="Wingdings" panose="05000000000000000000" pitchFamily="2" charset="2"/>
                  <a:buChar char="n"/>
                  <a:defRPr sz="30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chemeClr val="accent1"/>
                  </a:buClr>
                  <a:buSzPct val="65000"/>
                  <a:buFont typeface="Wingdings" panose="05000000000000000000" pitchFamily="2" charset="2"/>
                  <a:buChar char="n"/>
                  <a:defRPr sz="30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eaLnBrk="1" hangingPunct="1"/>
                <a:endParaRPr lang="en-GB" altLang="en-US" sz="2400">
                  <a:latin typeface="Times New Roman" panose="02020603050405020304" pitchFamily="18" charset="0"/>
                </a:endParaRPr>
              </a:p>
            </p:txBody>
          </p:sp>
          <p:sp>
            <p:nvSpPr>
              <p:cNvPr id="16" name="Rectangle 14"/>
              <p:cNvSpPr>
                <a:spLocks noChangeArrowheads="1"/>
              </p:cNvSpPr>
              <p:nvPr userDrawn="1"/>
            </p:nvSpPr>
            <p:spPr bwMode="auto">
              <a:xfrm>
                <a:off x="361" y="1857"/>
                <a:ext cx="363" cy="406"/>
              </a:xfrm>
              <a:prstGeom prst="rect">
                <a:avLst/>
              </a:prstGeom>
              <a:solidFill>
                <a:schemeClr val="folHlink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>
                  <a:spcBef>
                    <a:spcPct val="20000"/>
                  </a:spcBef>
                  <a:buClr>
                    <a:schemeClr val="accent1"/>
                  </a:buClr>
                  <a:buSzPct val="65000"/>
                  <a:buFont typeface="Wingdings" panose="05000000000000000000" pitchFamily="2" charset="2"/>
                  <a:buChar char="n"/>
                  <a:defRPr sz="30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742950" indent="-285750">
                  <a:spcBef>
                    <a:spcPct val="20000"/>
                  </a:spcBef>
                  <a:buClr>
                    <a:schemeClr val="accent1"/>
                  </a:buClr>
                  <a:buSzPct val="65000"/>
                  <a:buFont typeface="Wingdings" panose="05000000000000000000" pitchFamily="2" charset="2"/>
                  <a:buChar char="n"/>
                  <a:defRPr sz="30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1143000" indent="-228600">
                  <a:spcBef>
                    <a:spcPct val="20000"/>
                  </a:spcBef>
                  <a:buClr>
                    <a:schemeClr val="accent1"/>
                  </a:buClr>
                  <a:buSzPct val="65000"/>
                  <a:buFont typeface="Wingdings" panose="05000000000000000000" pitchFamily="2" charset="2"/>
                  <a:buChar char="n"/>
                  <a:defRPr sz="30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600200" indent="-228600">
                  <a:spcBef>
                    <a:spcPct val="20000"/>
                  </a:spcBef>
                  <a:buClr>
                    <a:schemeClr val="accent1"/>
                  </a:buClr>
                  <a:buSzPct val="65000"/>
                  <a:buFont typeface="Wingdings" panose="05000000000000000000" pitchFamily="2" charset="2"/>
                  <a:buChar char="n"/>
                  <a:defRPr sz="30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2057400" indent="-228600">
                  <a:spcBef>
                    <a:spcPct val="20000"/>
                  </a:spcBef>
                  <a:buClr>
                    <a:schemeClr val="accent1"/>
                  </a:buClr>
                  <a:buSzPct val="65000"/>
                  <a:buFont typeface="Wingdings" panose="05000000000000000000" pitchFamily="2" charset="2"/>
                  <a:buChar char="n"/>
                  <a:defRPr sz="30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chemeClr val="accent1"/>
                  </a:buClr>
                  <a:buSzPct val="65000"/>
                  <a:buFont typeface="Wingdings" panose="05000000000000000000" pitchFamily="2" charset="2"/>
                  <a:buChar char="n"/>
                  <a:defRPr sz="30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chemeClr val="accent1"/>
                  </a:buClr>
                  <a:buSzPct val="65000"/>
                  <a:buFont typeface="Wingdings" panose="05000000000000000000" pitchFamily="2" charset="2"/>
                  <a:buChar char="n"/>
                  <a:defRPr sz="30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chemeClr val="accent1"/>
                  </a:buClr>
                  <a:buSzPct val="65000"/>
                  <a:buFont typeface="Wingdings" panose="05000000000000000000" pitchFamily="2" charset="2"/>
                  <a:buChar char="n"/>
                  <a:defRPr sz="30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chemeClr val="accent1"/>
                  </a:buClr>
                  <a:buSzPct val="65000"/>
                  <a:buFont typeface="Wingdings" panose="05000000000000000000" pitchFamily="2" charset="2"/>
                  <a:buChar char="n"/>
                  <a:defRPr sz="30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eaLnBrk="1" hangingPunct="1"/>
                <a:endParaRPr lang="en-GB" altLang="en-US" sz="2400">
                  <a:latin typeface="Times New Roman" panose="02020603050405020304" pitchFamily="18" charset="0"/>
                </a:endParaRPr>
              </a:p>
            </p:txBody>
          </p:sp>
          <p:sp>
            <p:nvSpPr>
              <p:cNvPr id="17" name="Rectangle 15"/>
              <p:cNvSpPr>
                <a:spLocks noChangeArrowheads="1"/>
              </p:cNvSpPr>
              <p:nvPr userDrawn="1"/>
            </p:nvSpPr>
            <p:spPr bwMode="auto">
              <a:xfrm>
                <a:off x="719" y="1857"/>
                <a:ext cx="368" cy="406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>
                  <a:spcBef>
                    <a:spcPct val="20000"/>
                  </a:spcBef>
                  <a:buClr>
                    <a:schemeClr val="accent1"/>
                  </a:buClr>
                  <a:buSzPct val="65000"/>
                  <a:buFont typeface="Wingdings" panose="05000000000000000000" pitchFamily="2" charset="2"/>
                  <a:buChar char="n"/>
                  <a:defRPr sz="30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742950" indent="-285750">
                  <a:spcBef>
                    <a:spcPct val="20000"/>
                  </a:spcBef>
                  <a:buClr>
                    <a:schemeClr val="accent1"/>
                  </a:buClr>
                  <a:buSzPct val="65000"/>
                  <a:buFont typeface="Wingdings" panose="05000000000000000000" pitchFamily="2" charset="2"/>
                  <a:buChar char="n"/>
                  <a:defRPr sz="30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1143000" indent="-228600">
                  <a:spcBef>
                    <a:spcPct val="20000"/>
                  </a:spcBef>
                  <a:buClr>
                    <a:schemeClr val="accent1"/>
                  </a:buClr>
                  <a:buSzPct val="65000"/>
                  <a:buFont typeface="Wingdings" panose="05000000000000000000" pitchFamily="2" charset="2"/>
                  <a:buChar char="n"/>
                  <a:defRPr sz="30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600200" indent="-228600">
                  <a:spcBef>
                    <a:spcPct val="20000"/>
                  </a:spcBef>
                  <a:buClr>
                    <a:schemeClr val="accent1"/>
                  </a:buClr>
                  <a:buSzPct val="65000"/>
                  <a:buFont typeface="Wingdings" panose="05000000000000000000" pitchFamily="2" charset="2"/>
                  <a:buChar char="n"/>
                  <a:defRPr sz="30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2057400" indent="-228600">
                  <a:spcBef>
                    <a:spcPct val="20000"/>
                  </a:spcBef>
                  <a:buClr>
                    <a:schemeClr val="accent1"/>
                  </a:buClr>
                  <a:buSzPct val="65000"/>
                  <a:buFont typeface="Wingdings" panose="05000000000000000000" pitchFamily="2" charset="2"/>
                  <a:buChar char="n"/>
                  <a:defRPr sz="30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chemeClr val="accent1"/>
                  </a:buClr>
                  <a:buSzPct val="65000"/>
                  <a:buFont typeface="Wingdings" panose="05000000000000000000" pitchFamily="2" charset="2"/>
                  <a:buChar char="n"/>
                  <a:defRPr sz="30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chemeClr val="accent1"/>
                  </a:buClr>
                  <a:buSzPct val="65000"/>
                  <a:buFont typeface="Wingdings" panose="05000000000000000000" pitchFamily="2" charset="2"/>
                  <a:buChar char="n"/>
                  <a:defRPr sz="30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chemeClr val="accent1"/>
                  </a:buClr>
                  <a:buSzPct val="65000"/>
                  <a:buFont typeface="Wingdings" panose="05000000000000000000" pitchFamily="2" charset="2"/>
                  <a:buChar char="n"/>
                  <a:defRPr sz="30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chemeClr val="accent1"/>
                  </a:buClr>
                  <a:buSzPct val="65000"/>
                  <a:buFont typeface="Wingdings" panose="05000000000000000000" pitchFamily="2" charset="2"/>
                  <a:buChar char="n"/>
                  <a:defRPr sz="30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eaLnBrk="1" hangingPunct="1"/>
                <a:endParaRPr lang="en-GB" altLang="en-US" sz="2400">
                  <a:latin typeface="Times New Roman" panose="02020603050405020304" pitchFamily="18" charset="0"/>
                </a:endParaRPr>
              </a:p>
            </p:txBody>
          </p:sp>
        </p:grpSp>
      </p:grpSp>
      <p:sp>
        <p:nvSpPr>
          <p:cNvPr id="36883" name="Rectangle 19"/>
          <p:cNvSpPr>
            <a:spLocks noGrp="1" noChangeArrowheads="1"/>
          </p:cNvSpPr>
          <p:nvPr>
            <p:ph type="ctrTitle"/>
          </p:nvPr>
        </p:nvSpPr>
        <p:spPr>
          <a:xfrm>
            <a:off x="2971800" y="1828800"/>
            <a:ext cx="6019800" cy="2209800"/>
          </a:xfrm>
        </p:spPr>
        <p:txBody>
          <a:bodyPr/>
          <a:lstStyle>
            <a:lvl1pPr>
              <a:defRPr sz="4800">
                <a:solidFill>
                  <a:srgbClr val="FFFFFF"/>
                </a:solidFill>
                <a:latin typeface="Palatino Linotype" pitchFamily="18" charset="0"/>
              </a:defRPr>
            </a:lvl1pPr>
          </a:lstStyle>
          <a:p>
            <a:r>
              <a:rPr lang="tr-TR"/>
              <a:t>Click to edit Master title style</a:t>
            </a:r>
          </a:p>
        </p:txBody>
      </p:sp>
      <p:sp>
        <p:nvSpPr>
          <p:cNvPr id="36884" name="Rectangle 20"/>
          <p:cNvSpPr>
            <a:spLocks noGrp="1" noChangeArrowheads="1"/>
          </p:cNvSpPr>
          <p:nvPr>
            <p:ph type="subTitle" idx="1"/>
          </p:nvPr>
        </p:nvSpPr>
        <p:spPr>
          <a:xfrm>
            <a:off x="2971800" y="4267200"/>
            <a:ext cx="6019800" cy="1752600"/>
          </a:xfrm>
        </p:spPr>
        <p:txBody>
          <a:bodyPr/>
          <a:lstStyle>
            <a:lvl1pPr marL="0" indent="0">
              <a:buFont typeface="Wingdings" pitchFamily="2" charset="2"/>
              <a:buNone/>
              <a:defRPr sz="2600">
                <a:latin typeface="Palatino Linotype" pitchFamily="18" charset="0"/>
              </a:defRPr>
            </a:lvl1pPr>
          </a:lstStyle>
          <a:p>
            <a:r>
              <a:rPr lang="tr-TR"/>
              <a:t>Click to edit Master subtitle style</a:t>
            </a:r>
          </a:p>
        </p:txBody>
      </p:sp>
      <p:sp>
        <p:nvSpPr>
          <p:cNvPr id="18" name="Rectangle 16"/>
          <p:cNvSpPr>
            <a:spLocks noGrp="1" noChangeArrowheads="1"/>
          </p:cNvSpPr>
          <p:nvPr>
            <p:ph type="dt" sz="half" idx="10"/>
          </p:nvPr>
        </p:nvSpPr>
        <p:spPr bwMode="auto">
          <a:xfrm>
            <a:off x="468313" y="5373688"/>
            <a:ext cx="2133600" cy="457200"/>
          </a:xfrm>
          <a:prstGeom prst="rect">
            <a:avLst/>
          </a:prstGeom>
          <a:ln>
            <a:miter lim="800000"/>
            <a:headEnd/>
            <a:tailEnd/>
          </a:ln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eaLnBrk="1" hangingPunct="1">
              <a:spcBef>
                <a:spcPct val="20000"/>
              </a:spcBef>
              <a:buClr>
                <a:schemeClr val="accent1"/>
              </a:buClr>
              <a:buSzPct val="65000"/>
              <a:buFont typeface="Wingdings" panose="05000000000000000000" pitchFamily="2" charset="2"/>
              <a:buChar char="n"/>
              <a:defRPr sz="1200">
                <a:latin typeface="Arial" charset="0"/>
              </a:defRPr>
            </a:lvl1pPr>
          </a:lstStyle>
          <a:p>
            <a:pPr>
              <a:defRPr/>
            </a:pPr>
            <a:endParaRPr lang="tr-TR"/>
          </a:p>
        </p:txBody>
      </p:sp>
      <p:sp>
        <p:nvSpPr>
          <p:cNvPr id="19" name="Rectangle 21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Ch. </a:t>
            </a:r>
            <a:r>
              <a:rPr lang="en-US" err="1"/>
              <a:t>Eick</a:t>
            </a:r>
            <a:r>
              <a:rPr lang="en-US"/>
              <a:t>: COSC 6342 ML Topic`</a:t>
            </a:r>
            <a:endParaRPr lang="tr-TR"/>
          </a:p>
        </p:txBody>
      </p:sp>
      <p:sp>
        <p:nvSpPr>
          <p:cNvPr id="20" name="Rectangle 22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2387218A-0498-4FE4-923B-8E06E2C65794}" type="slidenum">
              <a:rPr lang="tr-TR" altLang="en-US"/>
              <a:pPr>
                <a:defRPr/>
              </a:pPr>
              <a:t>‹#›</a:t>
            </a:fld>
            <a:endParaRPr lang="tr-TR" altLang="en-US"/>
          </a:p>
        </p:txBody>
      </p:sp>
    </p:spTree>
    <p:extLst>
      <p:ext uri="{BB962C8B-B14F-4D97-AF65-F5344CB8AC3E}">
        <p14:creationId xmlns:p14="http://schemas.microsoft.com/office/powerpoint/2010/main" val="3823340959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ktangel 13"/>
          <p:cNvSpPr/>
          <p:nvPr userDrawn="1"/>
        </p:nvSpPr>
        <p:spPr bwMode="gray">
          <a:xfrm>
            <a:off x="0" y="3613150"/>
            <a:ext cx="9144000" cy="32448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en-GB" sz="1800">
              <a:solidFill>
                <a:prstClr val="white"/>
              </a:solidFill>
            </a:endParaRPr>
          </a:p>
        </p:txBody>
      </p:sp>
      <p:sp>
        <p:nvSpPr>
          <p:cNvPr id="2" name="Rubrik 1"/>
          <p:cNvSpPr>
            <a:spLocks noGrp="1"/>
          </p:cNvSpPr>
          <p:nvPr>
            <p:ph type="ctrTitle"/>
          </p:nvPr>
        </p:nvSpPr>
        <p:spPr bwMode="gray">
          <a:xfrm>
            <a:off x="1568185" y="1161181"/>
            <a:ext cx="6984337" cy="1043684"/>
          </a:xfrm>
        </p:spPr>
        <p:txBody>
          <a:bodyPr>
            <a:normAutofit/>
          </a:bodyPr>
          <a:lstStyle>
            <a:lvl1pPr algn="l">
              <a:lnSpc>
                <a:spcPts val="3800"/>
              </a:lnSpc>
              <a:defRPr sz="3600" b="1"/>
            </a:lvl1pPr>
          </a:lstStyle>
          <a:p>
            <a:r>
              <a:rPr lang="sv-SE" smtClean="0"/>
              <a:t>Klicka här för att ändra format</a:t>
            </a:r>
            <a:endParaRPr lang="en-GB" dirty="0"/>
          </a:p>
        </p:txBody>
      </p:sp>
      <p:sp>
        <p:nvSpPr>
          <p:cNvPr id="3" name="Underrubrik 2"/>
          <p:cNvSpPr>
            <a:spLocks noGrp="1"/>
          </p:cNvSpPr>
          <p:nvPr>
            <p:ph type="subTitle" idx="1"/>
          </p:nvPr>
        </p:nvSpPr>
        <p:spPr bwMode="gray">
          <a:xfrm>
            <a:off x="1567963" y="2276872"/>
            <a:ext cx="6987075" cy="936104"/>
          </a:xfrm>
        </p:spPr>
        <p:txBody>
          <a:bodyPr>
            <a:normAutofit/>
          </a:bodyPr>
          <a:lstStyle>
            <a:lvl1pPr marL="0" indent="0" algn="l">
              <a:lnSpc>
                <a:spcPts val="2800"/>
              </a:lnSpc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sv-SE" smtClean="0"/>
              <a:t>Klicka här för att ändra format på underrubrik i bakgrunden</a:t>
            </a:r>
            <a:endParaRPr lang="en-GB" dirty="0"/>
          </a:p>
        </p:txBody>
      </p:sp>
      <p:pic>
        <p:nvPicPr>
          <p:cNvPr id="1026" name="Picture 2" descr="http://intra.kth.se/polopoly_fs/1.383275!/image/KTH_pngs.png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469" b="7207"/>
          <a:stretch/>
        </p:blipFill>
        <p:spPr bwMode="gray">
          <a:xfrm>
            <a:off x="347663" y="344488"/>
            <a:ext cx="803938" cy="8032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Line 6"/>
          <p:cNvSpPr>
            <a:spLocks noChangeShapeType="1"/>
          </p:cNvSpPr>
          <p:nvPr userDrawn="1"/>
        </p:nvSpPr>
        <p:spPr bwMode="gray">
          <a:xfrm>
            <a:off x="-1375645" y="5596697"/>
            <a:ext cx="0" cy="0"/>
          </a:xfrm>
          <a:prstGeom prst="line">
            <a:avLst/>
          </a:prstGeom>
          <a:noFill/>
          <a:ln w="3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endParaRPr lang="en-US" sz="1800">
              <a:solidFill>
                <a:prstClr val="black"/>
              </a:solidFill>
              <a:latin typeface="Arial"/>
            </a:endParaRPr>
          </a:p>
        </p:txBody>
      </p:sp>
      <p:sp>
        <p:nvSpPr>
          <p:cNvPr id="9" name="Freeform 7"/>
          <p:cNvSpPr>
            <a:spLocks/>
          </p:cNvSpPr>
          <p:nvPr userDrawn="1"/>
        </p:nvSpPr>
        <p:spPr bwMode="gray">
          <a:xfrm>
            <a:off x="-3236" y="4049403"/>
            <a:ext cx="9150869" cy="1215998"/>
          </a:xfrm>
          <a:custGeom>
            <a:avLst/>
            <a:gdLst>
              <a:gd name="T0" fmla="*/ 0 w 8479"/>
              <a:gd name="T1" fmla="*/ 356 h 535"/>
              <a:gd name="T2" fmla="*/ 597 w 8479"/>
              <a:gd name="T3" fmla="*/ 356 h 535"/>
              <a:gd name="T4" fmla="*/ 625 w 8479"/>
              <a:gd name="T5" fmla="*/ 328 h 535"/>
              <a:gd name="T6" fmla="*/ 625 w 8479"/>
              <a:gd name="T7" fmla="*/ 28 h 535"/>
              <a:gd name="T8" fmla="*/ 653 w 8479"/>
              <a:gd name="T9" fmla="*/ 0 h 535"/>
              <a:gd name="T10" fmla="*/ 954 w 8479"/>
              <a:gd name="T11" fmla="*/ 0 h 535"/>
              <a:gd name="T12" fmla="*/ 982 w 8479"/>
              <a:gd name="T13" fmla="*/ 28 h 535"/>
              <a:gd name="T14" fmla="*/ 982 w 8479"/>
              <a:gd name="T15" fmla="*/ 507 h 535"/>
              <a:gd name="T16" fmla="*/ 1010 w 8479"/>
              <a:gd name="T17" fmla="*/ 535 h 535"/>
              <a:gd name="T18" fmla="*/ 1545 w 8479"/>
              <a:gd name="T19" fmla="*/ 535 h 535"/>
              <a:gd name="T20" fmla="*/ 1573 w 8479"/>
              <a:gd name="T21" fmla="*/ 507 h 535"/>
              <a:gd name="T22" fmla="*/ 1573 w 8479"/>
              <a:gd name="T23" fmla="*/ 328 h 535"/>
              <a:gd name="T24" fmla="*/ 1601 w 8479"/>
              <a:gd name="T25" fmla="*/ 300 h 535"/>
              <a:gd name="T26" fmla="*/ 2497 w 8479"/>
              <a:gd name="T27" fmla="*/ 300 h 535"/>
              <a:gd name="T28" fmla="*/ 2524 w 8479"/>
              <a:gd name="T29" fmla="*/ 328 h 535"/>
              <a:gd name="T30" fmla="*/ 2524 w 8479"/>
              <a:gd name="T31" fmla="*/ 507 h 535"/>
              <a:gd name="T32" fmla="*/ 2552 w 8479"/>
              <a:gd name="T33" fmla="*/ 535 h 535"/>
              <a:gd name="T34" fmla="*/ 2797 w 8479"/>
              <a:gd name="T35" fmla="*/ 535 h 535"/>
              <a:gd name="T36" fmla="*/ 2825 w 8479"/>
              <a:gd name="T37" fmla="*/ 507 h 535"/>
              <a:gd name="T38" fmla="*/ 2825 w 8479"/>
              <a:gd name="T39" fmla="*/ 384 h 535"/>
              <a:gd name="T40" fmla="*/ 2852 w 8479"/>
              <a:gd name="T41" fmla="*/ 356 h 535"/>
              <a:gd name="T42" fmla="*/ 3153 w 8479"/>
              <a:gd name="T43" fmla="*/ 356 h 535"/>
              <a:gd name="T44" fmla="*/ 3181 w 8479"/>
              <a:gd name="T45" fmla="*/ 384 h 535"/>
              <a:gd name="T46" fmla="*/ 3181 w 8479"/>
              <a:gd name="T47" fmla="*/ 450 h 535"/>
              <a:gd name="T48" fmla="*/ 3209 w 8479"/>
              <a:gd name="T49" fmla="*/ 478 h 535"/>
              <a:gd name="T50" fmla="*/ 5290 w 8479"/>
              <a:gd name="T51" fmla="*/ 478 h 535"/>
              <a:gd name="T52" fmla="*/ 5317 w 8479"/>
              <a:gd name="T53" fmla="*/ 450 h 535"/>
              <a:gd name="T54" fmla="*/ 5317 w 8479"/>
              <a:gd name="T55" fmla="*/ 28 h 535"/>
              <a:gd name="T56" fmla="*/ 5345 w 8479"/>
              <a:gd name="T57" fmla="*/ 0 h 535"/>
              <a:gd name="T58" fmla="*/ 6031 w 8479"/>
              <a:gd name="T59" fmla="*/ 0 h 535"/>
              <a:gd name="T60" fmla="*/ 6059 w 8479"/>
              <a:gd name="T61" fmla="*/ 28 h 535"/>
              <a:gd name="T62" fmla="*/ 6059 w 8479"/>
              <a:gd name="T63" fmla="*/ 383 h 535"/>
              <a:gd name="T64" fmla="*/ 6087 w 8479"/>
              <a:gd name="T65" fmla="*/ 411 h 535"/>
              <a:gd name="T66" fmla="*/ 7130 w 8479"/>
              <a:gd name="T67" fmla="*/ 411 h 535"/>
              <a:gd name="T68" fmla="*/ 7158 w 8479"/>
              <a:gd name="T69" fmla="*/ 383 h 535"/>
              <a:gd name="T70" fmla="*/ 7158 w 8479"/>
              <a:gd name="T71" fmla="*/ 111 h 535"/>
              <a:gd name="T72" fmla="*/ 7186 w 8479"/>
              <a:gd name="T73" fmla="*/ 83 h 535"/>
              <a:gd name="T74" fmla="*/ 8479 w 8479"/>
              <a:gd name="T75" fmla="*/ 83 h 535"/>
              <a:gd name="connsiteX0" fmla="*/ 0 w 9296"/>
              <a:gd name="connsiteY0" fmla="*/ 6654 h 10000"/>
              <a:gd name="connsiteX1" fmla="*/ 33 w 9296"/>
              <a:gd name="connsiteY1" fmla="*/ 6131 h 10000"/>
              <a:gd name="connsiteX2" fmla="*/ 33 w 9296"/>
              <a:gd name="connsiteY2" fmla="*/ 523 h 10000"/>
              <a:gd name="connsiteX3" fmla="*/ 66 w 9296"/>
              <a:gd name="connsiteY3" fmla="*/ 0 h 10000"/>
              <a:gd name="connsiteX4" fmla="*/ 421 w 9296"/>
              <a:gd name="connsiteY4" fmla="*/ 0 h 10000"/>
              <a:gd name="connsiteX5" fmla="*/ 454 w 9296"/>
              <a:gd name="connsiteY5" fmla="*/ 523 h 10000"/>
              <a:gd name="connsiteX6" fmla="*/ 454 w 9296"/>
              <a:gd name="connsiteY6" fmla="*/ 9477 h 10000"/>
              <a:gd name="connsiteX7" fmla="*/ 487 w 9296"/>
              <a:gd name="connsiteY7" fmla="*/ 10000 h 10000"/>
              <a:gd name="connsiteX8" fmla="*/ 1118 w 9296"/>
              <a:gd name="connsiteY8" fmla="*/ 10000 h 10000"/>
              <a:gd name="connsiteX9" fmla="*/ 1151 w 9296"/>
              <a:gd name="connsiteY9" fmla="*/ 9477 h 10000"/>
              <a:gd name="connsiteX10" fmla="*/ 1151 w 9296"/>
              <a:gd name="connsiteY10" fmla="*/ 6131 h 10000"/>
              <a:gd name="connsiteX11" fmla="*/ 1184 w 9296"/>
              <a:gd name="connsiteY11" fmla="*/ 5607 h 10000"/>
              <a:gd name="connsiteX12" fmla="*/ 2241 w 9296"/>
              <a:gd name="connsiteY12" fmla="*/ 5607 h 10000"/>
              <a:gd name="connsiteX13" fmla="*/ 2273 w 9296"/>
              <a:gd name="connsiteY13" fmla="*/ 6131 h 10000"/>
              <a:gd name="connsiteX14" fmla="*/ 2273 w 9296"/>
              <a:gd name="connsiteY14" fmla="*/ 9477 h 10000"/>
              <a:gd name="connsiteX15" fmla="*/ 2306 w 9296"/>
              <a:gd name="connsiteY15" fmla="*/ 10000 h 10000"/>
              <a:gd name="connsiteX16" fmla="*/ 2595 w 9296"/>
              <a:gd name="connsiteY16" fmla="*/ 10000 h 10000"/>
              <a:gd name="connsiteX17" fmla="*/ 2628 w 9296"/>
              <a:gd name="connsiteY17" fmla="*/ 9477 h 10000"/>
              <a:gd name="connsiteX18" fmla="*/ 2628 w 9296"/>
              <a:gd name="connsiteY18" fmla="*/ 7178 h 10000"/>
              <a:gd name="connsiteX19" fmla="*/ 2660 w 9296"/>
              <a:gd name="connsiteY19" fmla="*/ 6654 h 10000"/>
              <a:gd name="connsiteX20" fmla="*/ 3015 w 9296"/>
              <a:gd name="connsiteY20" fmla="*/ 6654 h 10000"/>
              <a:gd name="connsiteX21" fmla="*/ 3048 w 9296"/>
              <a:gd name="connsiteY21" fmla="*/ 7178 h 10000"/>
              <a:gd name="connsiteX22" fmla="*/ 3048 w 9296"/>
              <a:gd name="connsiteY22" fmla="*/ 8411 h 10000"/>
              <a:gd name="connsiteX23" fmla="*/ 3081 w 9296"/>
              <a:gd name="connsiteY23" fmla="*/ 8935 h 10000"/>
              <a:gd name="connsiteX24" fmla="*/ 5535 w 9296"/>
              <a:gd name="connsiteY24" fmla="*/ 8935 h 10000"/>
              <a:gd name="connsiteX25" fmla="*/ 5567 w 9296"/>
              <a:gd name="connsiteY25" fmla="*/ 8411 h 10000"/>
              <a:gd name="connsiteX26" fmla="*/ 5567 w 9296"/>
              <a:gd name="connsiteY26" fmla="*/ 523 h 10000"/>
              <a:gd name="connsiteX27" fmla="*/ 5600 w 9296"/>
              <a:gd name="connsiteY27" fmla="*/ 0 h 10000"/>
              <a:gd name="connsiteX28" fmla="*/ 6409 w 9296"/>
              <a:gd name="connsiteY28" fmla="*/ 0 h 10000"/>
              <a:gd name="connsiteX29" fmla="*/ 6442 w 9296"/>
              <a:gd name="connsiteY29" fmla="*/ 523 h 10000"/>
              <a:gd name="connsiteX30" fmla="*/ 6442 w 9296"/>
              <a:gd name="connsiteY30" fmla="*/ 7159 h 10000"/>
              <a:gd name="connsiteX31" fmla="*/ 6475 w 9296"/>
              <a:gd name="connsiteY31" fmla="*/ 7682 h 10000"/>
              <a:gd name="connsiteX32" fmla="*/ 7705 w 9296"/>
              <a:gd name="connsiteY32" fmla="*/ 7682 h 10000"/>
              <a:gd name="connsiteX33" fmla="*/ 7738 w 9296"/>
              <a:gd name="connsiteY33" fmla="*/ 7159 h 10000"/>
              <a:gd name="connsiteX34" fmla="*/ 7738 w 9296"/>
              <a:gd name="connsiteY34" fmla="*/ 2075 h 10000"/>
              <a:gd name="connsiteX35" fmla="*/ 7771 w 9296"/>
              <a:gd name="connsiteY35" fmla="*/ 1551 h 10000"/>
              <a:gd name="connsiteX36" fmla="*/ 9296 w 9296"/>
              <a:gd name="connsiteY36" fmla="*/ 1551 h 10000"/>
              <a:gd name="connsiteX0" fmla="*/ 0 w 9965"/>
              <a:gd name="connsiteY0" fmla="*/ 6131 h 10000"/>
              <a:gd name="connsiteX1" fmla="*/ 0 w 9965"/>
              <a:gd name="connsiteY1" fmla="*/ 523 h 10000"/>
              <a:gd name="connsiteX2" fmla="*/ 36 w 9965"/>
              <a:gd name="connsiteY2" fmla="*/ 0 h 10000"/>
              <a:gd name="connsiteX3" fmla="*/ 418 w 9965"/>
              <a:gd name="connsiteY3" fmla="*/ 0 h 10000"/>
              <a:gd name="connsiteX4" fmla="*/ 453 w 9965"/>
              <a:gd name="connsiteY4" fmla="*/ 523 h 10000"/>
              <a:gd name="connsiteX5" fmla="*/ 453 w 9965"/>
              <a:gd name="connsiteY5" fmla="*/ 9477 h 10000"/>
              <a:gd name="connsiteX6" fmla="*/ 489 w 9965"/>
              <a:gd name="connsiteY6" fmla="*/ 10000 h 10000"/>
              <a:gd name="connsiteX7" fmla="*/ 1168 w 9965"/>
              <a:gd name="connsiteY7" fmla="*/ 10000 h 10000"/>
              <a:gd name="connsiteX8" fmla="*/ 1203 w 9965"/>
              <a:gd name="connsiteY8" fmla="*/ 9477 h 10000"/>
              <a:gd name="connsiteX9" fmla="*/ 1203 w 9965"/>
              <a:gd name="connsiteY9" fmla="*/ 6131 h 10000"/>
              <a:gd name="connsiteX10" fmla="*/ 1239 w 9965"/>
              <a:gd name="connsiteY10" fmla="*/ 5607 h 10000"/>
              <a:gd name="connsiteX11" fmla="*/ 2376 w 9965"/>
              <a:gd name="connsiteY11" fmla="*/ 5607 h 10000"/>
              <a:gd name="connsiteX12" fmla="*/ 2410 w 9965"/>
              <a:gd name="connsiteY12" fmla="*/ 6131 h 10000"/>
              <a:gd name="connsiteX13" fmla="*/ 2410 w 9965"/>
              <a:gd name="connsiteY13" fmla="*/ 9477 h 10000"/>
              <a:gd name="connsiteX14" fmla="*/ 2446 w 9965"/>
              <a:gd name="connsiteY14" fmla="*/ 10000 h 10000"/>
              <a:gd name="connsiteX15" fmla="*/ 2757 w 9965"/>
              <a:gd name="connsiteY15" fmla="*/ 10000 h 10000"/>
              <a:gd name="connsiteX16" fmla="*/ 2792 w 9965"/>
              <a:gd name="connsiteY16" fmla="*/ 9477 h 10000"/>
              <a:gd name="connsiteX17" fmla="*/ 2792 w 9965"/>
              <a:gd name="connsiteY17" fmla="*/ 7178 h 10000"/>
              <a:gd name="connsiteX18" fmla="*/ 2826 w 9965"/>
              <a:gd name="connsiteY18" fmla="*/ 6654 h 10000"/>
              <a:gd name="connsiteX19" fmla="*/ 3208 w 9965"/>
              <a:gd name="connsiteY19" fmla="*/ 6654 h 10000"/>
              <a:gd name="connsiteX20" fmla="*/ 3244 w 9965"/>
              <a:gd name="connsiteY20" fmla="*/ 7178 h 10000"/>
              <a:gd name="connsiteX21" fmla="*/ 3244 w 9965"/>
              <a:gd name="connsiteY21" fmla="*/ 8411 h 10000"/>
              <a:gd name="connsiteX22" fmla="*/ 3279 w 9965"/>
              <a:gd name="connsiteY22" fmla="*/ 8935 h 10000"/>
              <a:gd name="connsiteX23" fmla="*/ 5919 w 9965"/>
              <a:gd name="connsiteY23" fmla="*/ 8935 h 10000"/>
              <a:gd name="connsiteX24" fmla="*/ 5954 w 9965"/>
              <a:gd name="connsiteY24" fmla="*/ 8411 h 10000"/>
              <a:gd name="connsiteX25" fmla="*/ 5954 w 9965"/>
              <a:gd name="connsiteY25" fmla="*/ 523 h 10000"/>
              <a:gd name="connsiteX26" fmla="*/ 5989 w 9965"/>
              <a:gd name="connsiteY26" fmla="*/ 0 h 10000"/>
              <a:gd name="connsiteX27" fmla="*/ 6859 w 9965"/>
              <a:gd name="connsiteY27" fmla="*/ 0 h 10000"/>
              <a:gd name="connsiteX28" fmla="*/ 6895 w 9965"/>
              <a:gd name="connsiteY28" fmla="*/ 523 h 10000"/>
              <a:gd name="connsiteX29" fmla="*/ 6895 w 9965"/>
              <a:gd name="connsiteY29" fmla="*/ 7159 h 10000"/>
              <a:gd name="connsiteX30" fmla="*/ 6930 w 9965"/>
              <a:gd name="connsiteY30" fmla="*/ 7682 h 10000"/>
              <a:gd name="connsiteX31" fmla="*/ 8254 w 9965"/>
              <a:gd name="connsiteY31" fmla="*/ 7682 h 10000"/>
              <a:gd name="connsiteX32" fmla="*/ 8289 w 9965"/>
              <a:gd name="connsiteY32" fmla="*/ 7159 h 10000"/>
              <a:gd name="connsiteX33" fmla="*/ 8289 w 9965"/>
              <a:gd name="connsiteY33" fmla="*/ 2075 h 10000"/>
              <a:gd name="connsiteX34" fmla="*/ 8325 w 9965"/>
              <a:gd name="connsiteY34" fmla="*/ 1551 h 10000"/>
              <a:gd name="connsiteX35" fmla="*/ 9965 w 9965"/>
              <a:gd name="connsiteY35" fmla="*/ 1551 h 10000"/>
              <a:gd name="connsiteX0" fmla="*/ 0 w 10000"/>
              <a:gd name="connsiteY0" fmla="*/ 523 h 10000"/>
              <a:gd name="connsiteX1" fmla="*/ 36 w 10000"/>
              <a:gd name="connsiteY1" fmla="*/ 0 h 10000"/>
              <a:gd name="connsiteX2" fmla="*/ 419 w 10000"/>
              <a:gd name="connsiteY2" fmla="*/ 0 h 10000"/>
              <a:gd name="connsiteX3" fmla="*/ 455 w 10000"/>
              <a:gd name="connsiteY3" fmla="*/ 523 h 10000"/>
              <a:gd name="connsiteX4" fmla="*/ 455 w 10000"/>
              <a:gd name="connsiteY4" fmla="*/ 9477 h 10000"/>
              <a:gd name="connsiteX5" fmla="*/ 491 w 10000"/>
              <a:gd name="connsiteY5" fmla="*/ 10000 h 10000"/>
              <a:gd name="connsiteX6" fmla="*/ 1172 w 10000"/>
              <a:gd name="connsiteY6" fmla="*/ 10000 h 10000"/>
              <a:gd name="connsiteX7" fmla="*/ 1207 w 10000"/>
              <a:gd name="connsiteY7" fmla="*/ 9477 h 10000"/>
              <a:gd name="connsiteX8" fmla="*/ 1207 w 10000"/>
              <a:gd name="connsiteY8" fmla="*/ 6131 h 10000"/>
              <a:gd name="connsiteX9" fmla="*/ 1243 w 10000"/>
              <a:gd name="connsiteY9" fmla="*/ 5607 h 10000"/>
              <a:gd name="connsiteX10" fmla="*/ 2384 w 10000"/>
              <a:gd name="connsiteY10" fmla="*/ 5607 h 10000"/>
              <a:gd name="connsiteX11" fmla="*/ 2418 w 10000"/>
              <a:gd name="connsiteY11" fmla="*/ 6131 h 10000"/>
              <a:gd name="connsiteX12" fmla="*/ 2418 w 10000"/>
              <a:gd name="connsiteY12" fmla="*/ 9477 h 10000"/>
              <a:gd name="connsiteX13" fmla="*/ 2455 w 10000"/>
              <a:gd name="connsiteY13" fmla="*/ 10000 h 10000"/>
              <a:gd name="connsiteX14" fmla="*/ 2767 w 10000"/>
              <a:gd name="connsiteY14" fmla="*/ 10000 h 10000"/>
              <a:gd name="connsiteX15" fmla="*/ 2802 w 10000"/>
              <a:gd name="connsiteY15" fmla="*/ 9477 h 10000"/>
              <a:gd name="connsiteX16" fmla="*/ 2802 w 10000"/>
              <a:gd name="connsiteY16" fmla="*/ 7178 h 10000"/>
              <a:gd name="connsiteX17" fmla="*/ 2836 w 10000"/>
              <a:gd name="connsiteY17" fmla="*/ 6654 h 10000"/>
              <a:gd name="connsiteX18" fmla="*/ 3219 w 10000"/>
              <a:gd name="connsiteY18" fmla="*/ 6654 h 10000"/>
              <a:gd name="connsiteX19" fmla="*/ 3255 w 10000"/>
              <a:gd name="connsiteY19" fmla="*/ 7178 h 10000"/>
              <a:gd name="connsiteX20" fmla="*/ 3255 w 10000"/>
              <a:gd name="connsiteY20" fmla="*/ 8411 h 10000"/>
              <a:gd name="connsiteX21" fmla="*/ 3291 w 10000"/>
              <a:gd name="connsiteY21" fmla="*/ 8935 h 10000"/>
              <a:gd name="connsiteX22" fmla="*/ 5940 w 10000"/>
              <a:gd name="connsiteY22" fmla="*/ 8935 h 10000"/>
              <a:gd name="connsiteX23" fmla="*/ 5975 w 10000"/>
              <a:gd name="connsiteY23" fmla="*/ 8411 h 10000"/>
              <a:gd name="connsiteX24" fmla="*/ 5975 w 10000"/>
              <a:gd name="connsiteY24" fmla="*/ 523 h 10000"/>
              <a:gd name="connsiteX25" fmla="*/ 6010 w 10000"/>
              <a:gd name="connsiteY25" fmla="*/ 0 h 10000"/>
              <a:gd name="connsiteX26" fmla="*/ 6883 w 10000"/>
              <a:gd name="connsiteY26" fmla="*/ 0 h 10000"/>
              <a:gd name="connsiteX27" fmla="*/ 6919 w 10000"/>
              <a:gd name="connsiteY27" fmla="*/ 523 h 10000"/>
              <a:gd name="connsiteX28" fmla="*/ 6919 w 10000"/>
              <a:gd name="connsiteY28" fmla="*/ 7159 h 10000"/>
              <a:gd name="connsiteX29" fmla="*/ 6954 w 10000"/>
              <a:gd name="connsiteY29" fmla="*/ 7682 h 10000"/>
              <a:gd name="connsiteX30" fmla="*/ 8283 w 10000"/>
              <a:gd name="connsiteY30" fmla="*/ 7682 h 10000"/>
              <a:gd name="connsiteX31" fmla="*/ 8318 w 10000"/>
              <a:gd name="connsiteY31" fmla="*/ 7159 h 10000"/>
              <a:gd name="connsiteX32" fmla="*/ 8318 w 10000"/>
              <a:gd name="connsiteY32" fmla="*/ 2075 h 10000"/>
              <a:gd name="connsiteX33" fmla="*/ 8354 w 10000"/>
              <a:gd name="connsiteY33" fmla="*/ 1551 h 10000"/>
              <a:gd name="connsiteX34" fmla="*/ 10000 w 10000"/>
              <a:gd name="connsiteY34" fmla="*/ 1551 h 10000"/>
              <a:gd name="connsiteX0" fmla="*/ 0 w 9964"/>
              <a:gd name="connsiteY0" fmla="*/ 0 h 10000"/>
              <a:gd name="connsiteX1" fmla="*/ 383 w 9964"/>
              <a:gd name="connsiteY1" fmla="*/ 0 h 10000"/>
              <a:gd name="connsiteX2" fmla="*/ 419 w 9964"/>
              <a:gd name="connsiteY2" fmla="*/ 523 h 10000"/>
              <a:gd name="connsiteX3" fmla="*/ 419 w 9964"/>
              <a:gd name="connsiteY3" fmla="*/ 9477 h 10000"/>
              <a:gd name="connsiteX4" fmla="*/ 455 w 9964"/>
              <a:gd name="connsiteY4" fmla="*/ 10000 h 10000"/>
              <a:gd name="connsiteX5" fmla="*/ 1136 w 9964"/>
              <a:gd name="connsiteY5" fmla="*/ 10000 h 10000"/>
              <a:gd name="connsiteX6" fmla="*/ 1171 w 9964"/>
              <a:gd name="connsiteY6" fmla="*/ 9477 h 10000"/>
              <a:gd name="connsiteX7" fmla="*/ 1171 w 9964"/>
              <a:gd name="connsiteY7" fmla="*/ 6131 h 10000"/>
              <a:gd name="connsiteX8" fmla="*/ 1207 w 9964"/>
              <a:gd name="connsiteY8" fmla="*/ 5607 h 10000"/>
              <a:gd name="connsiteX9" fmla="*/ 2348 w 9964"/>
              <a:gd name="connsiteY9" fmla="*/ 5607 h 10000"/>
              <a:gd name="connsiteX10" fmla="*/ 2382 w 9964"/>
              <a:gd name="connsiteY10" fmla="*/ 6131 h 10000"/>
              <a:gd name="connsiteX11" fmla="*/ 2382 w 9964"/>
              <a:gd name="connsiteY11" fmla="*/ 9477 h 10000"/>
              <a:gd name="connsiteX12" fmla="*/ 2419 w 9964"/>
              <a:gd name="connsiteY12" fmla="*/ 10000 h 10000"/>
              <a:gd name="connsiteX13" fmla="*/ 2731 w 9964"/>
              <a:gd name="connsiteY13" fmla="*/ 10000 h 10000"/>
              <a:gd name="connsiteX14" fmla="*/ 2766 w 9964"/>
              <a:gd name="connsiteY14" fmla="*/ 9477 h 10000"/>
              <a:gd name="connsiteX15" fmla="*/ 2766 w 9964"/>
              <a:gd name="connsiteY15" fmla="*/ 7178 h 10000"/>
              <a:gd name="connsiteX16" fmla="*/ 2800 w 9964"/>
              <a:gd name="connsiteY16" fmla="*/ 6654 h 10000"/>
              <a:gd name="connsiteX17" fmla="*/ 3183 w 9964"/>
              <a:gd name="connsiteY17" fmla="*/ 6654 h 10000"/>
              <a:gd name="connsiteX18" fmla="*/ 3219 w 9964"/>
              <a:gd name="connsiteY18" fmla="*/ 7178 h 10000"/>
              <a:gd name="connsiteX19" fmla="*/ 3219 w 9964"/>
              <a:gd name="connsiteY19" fmla="*/ 8411 h 10000"/>
              <a:gd name="connsiteX20" fmla="*/ 3255 w 9964"/>
              <a:gd name="connsiteY20" fmla="*/ 8935 h 10000"/>
              <a:gd name="connsiteX21" fmla="*/ 5904 w 9964"/>
              <a:gd name="connsiteY21" fmla="*/ 8935 h 10000"/>
              <a:gd name="connsiteX22" fmla="*/ 5939 w 9964"/>
              <a:gd name="connsiteY22" fmla="*/ 8411 h 10000"/>
              <a:gd name="connsiteX23" fmla="*/ 5939 w 9964"/>
              <a:gd name="connsiteY23" fmla="*/ 523 h 10000"/>
              <a:gd name="connsiteX24" fmla="*/ 5974 w 9964"/>
              <a:gd name="connsiteY24" fmla="*/ 0 h 10000"/>
              <a:gd name="connsiteX25" fmla="*/ 6847 w 9964"/>
              <a:gd name="connsiteY25" fmla="*/ 0 h 10000"/>
              <a:gd name="connsiteX26" fmla="*/ 6883 w 9964"/>
              <a:gd name="connsiteY26" fmla="*/ 523 h 10000"/>
              <a:gd name="connsiteX27" fmla="*/ 6883 w 9964"/>
              <a:gd name="connsiteY27" fmla="*/ 7159 h 10000"/>
              <a:gd name="connsiteX28" fmla="*/ 6918 w 9964"/>
              <a:gd name="connsiteY28" fmla="*/ 7682 h 10000"/>
              <a:gd name="connsiteX29" fmla="*/ 8247 w 9964"/>
              <a:gd name="connsiteY29" fmla="*/ 7682 h 10000"/>
              <a:gd name="connsiteX30" fmla="*/ 8282 w 9964"/>
              <a:gd name="connsiteY30" fmla="*/ 7159 h 10000"/>
              <a:gd name="connsiteX31" fmla="*/ 8282 w 9964"/>
              <a:gd name="connsiteY31" fmla="*/ 2075 h 10000"/>
              <a:gd name="connsiteX32" fmla="*/ 8318 w 9964"/>
              <a:gd name="connsiteY32" fmla="*/ 1551 h 10000"/>
              <a:gd name="connsiteX33" fmla="*/ 9964 w 9964"/>
              <a:gd name="connsiteY33" fmla="*/ 1551 h 10000"/>
              <a:gd name="connsiteX0" fmla="*/ 0 w 9616"/>
              <a:gd name="connsiteY0" fmla="*/ 0 h 10000"/>
              <a:gd name="connsiteX1" fmla="*/ 37 w 9616"/>
              <a:gd name="connsiteY1" fmla="*/ 523 h 10000"/>
              <a:gd name="connsiteX2" fmla="*/ 37 w 9616"/>
              <a:gd name="connsiteY2" fmla="*/ 9477 h 10000"/>
              <a:gd name="connsiteX3" fmla="*/ 73 w 9616"/>
              <a:gd name="connsiteY3" fmla="*/ 10000 h 10000"/>
              <a:gd name="connsiteX4" fmla="*/ 756 w 9616"/>
              <a:gd name="connsiteY4" fmla="*/ 10000 h 10000"/>
              <a:gd name="connsiteX5" fmla="*/ 791 w 9616"/>
              <a:gd name="connsiteY5" fmla="*/ 9477 h 10000"/>
              <a:gd name="connsiteX6" fmla="*/ 791 w 9616"/>
              <a:gd name="connsiteY6" fmla="*/ 6131 h 10000"/>
              <a:gd name="connsiteX7" fmla="*/ 827 w 9616"/>
              <a:gd name="connsiteY7" fmla="*/ 5607 h 10000"/>
              <a:gd name="connsiteX8" fmla="*/ 1972 w 9616"/>
              <a:gd name="connsiteY8" fmla="*/ 5607 h 10000"/>
              <a:gd name="connsiteX9" fmla="*/ 2007 w 9616"/>
              <a:gd name="connsiteY9" fmla="*/ 6131 h 10000"/>
              <a:gd name="connsiteX10" fmla="*/ 2007 w 9616"/>
              <a:gd name="connsiteY10" fmla="*/ 9477 h 10000"/>
              <a:gd name="connsiteX11" fmla="*/ 2044 w 9616"/>
              <a:gd name="connsiteY11" fmla="*/ 10000 h 10000"/>
              <a:gd name="connsiteX12" fmla="*/ 2357 w 9616"/>
              <a:gd name="connsiteY12" fmla="*/ 10000 h 10000"/>
              <a:gd name="connsiteX13" fmla="*/ 2392 w 9616"/>
              <a:gd name="connsiteY13" fmla="*/ 9477 h 10000"/>
              <a:gd name="connsiteX14" fmla="*/ 2392 w 9616"/>
              <a:gd name="connsiteY14" fmla="*/ 7178 h 10000"/>
              <a:gd name="connsiteX15" fmla="*/ 2426 w 9616"/>
              <a:gd name="connsiteY15" fmla="*/ 6654 h 10000"/>
              <a:gd name="connsiteX16" fmla="*/ 2811 w 9616"/>
              <a:gd name="connsiteY16" fmla="*/ 6654 h 10000"/>
              <a:gd name="connsiteX17" fmla="*/ 2847 w 9616"/>
              <a:gd name="connsiteY17" fmla="*/ 7178 h 10000"/>
              <a:gd name="connsiteX18" fmla="*/ 2847 w 9616"/>
              <a:gd name="connsiteY18" fmla="*/ 8411 h 10000"/>
              <a:gd name="connsiteX19" fmla="*/ 2883 w 9616"/>
              <a:gd name="connsiteY19" fmla="*/ 8935 h 10000"/>
              <a:gd name="connsiteX20" fmla="*/ 5541 w 9616"/>
              <a:gd name="connsiteY20" fmla="*/ 8935 h 10000"/>
              <a:gd name="connsiteX21" fmla="*/ 5576 w 9616"/>
              <a:gd name="connsiteY21" fmla="*/ 8411 h 10000"/>
              <a:gd name="connsiteX22" fmla="*/ 5576 w 9616"/>
              <a:gd name="connsiteY22" fmla="*/ 523 h 10000"/>
              <a:gd name="connsiteX23" fmla="*/ 5612 w 9616"/>
              <a:gd name="connsiteY23" fmla="*/ 0 h 10000"/>
              <a:gd name="connsiteX24" fmla="*/ 6488 w 9616"/>
              <a:gd name="connsiteY24" fmla="*/ 0 h 10000"/>
              <a:gd name="connsiteX25" fmla="*/ 6524 w 9616"/>
              <a:gd name="connsiteY25" fmla="*/ 523 h 10000"/>
              <a:gd name="connsiteX26" fmla="*/ 6524 w 9616"/>
              <a:gd name="connsiteY26" fmla="*/ 7159 h 10000"/>
              <a:gd name="connsiteX27" fmla="*/ 6559 w 9616"/>
              <a:gd name="connsiteY27" fmla="*/ 7682 h 10000"/>
              <a:gd name="connsiteX28" fmla="*/ 7893 w 9616"/>
              <a:gd name="connsiteY28" fmla="*/ 7682 h 10000"/>
              <a:gd name="connsiteX29" fmla="*/ 7928 w 9616"/>
              <a:gd name="connsiteY29" fmla="*/ 7159 h 10000"/>
              <a:gd name="connsiteX30" fmla="*/ 7928 w 9616"/>
              <a:gd name="connsiteY30" fmla="*/ 2075 h 10000"/>
              <a:gd name="connsiteX31" fmla="*/ 7964 w 9616"/>
              <a:gd name="connsiteY31" fmla="*/ 1551 h 10000"/>
              <a:gd name="connsiteX32" fmla="*/ 9616 w 9616"/>
              <a:gd name="connsiteY32" fmla="*/ 1551 h 10000"/>
              <a:gd name="connsiteX0" fmla="*/ 0 w 9962"/>
              <a:gd name="connsiteY0" fmla="*/ 523 h 10000"/>
              <a:gd name="connsiteX1" fmla="*/ 0 w 9962"/>
              <a:gd name="connsiteY1" fmla="*/ 9477 h 10000"/>
              <a:gd name="connsiteX2" fmla="*/ 38 w 9962"/>
              <a:gd name="connsiteY2" fmla="*/ 10000 h 10000"/>
              <a:gd name="connsiteX3" fmla="*/ 748 w 9962"/>
              <a:gd name="connsiteY3" fmla="*/ 10000 h 10000"/>
              <a:gd name="connsiteX4" fmla="*/ 785 w 9962"/>
              <a:gd name="connsiteY4" fmla="*/ 9477 h 10000"/>
              <a:gd name="connsiteX5" fmla="*/ 785 w 9962"/>
              <a:gd name="connsiteY5" fmla="*/ 6131 h 10000"/>
              <a:gd name="connsiteX6" fmla="*/ 822 w 9962"/>
              <a:gd name="connsiteY6" fmla="*/ 5607 h 10000"/>
              <a:gd name="connsiteX7" fmla="*/ 2013 w 9962"/>
              <a:gd name="connsiteY7" fmla="*/ 5607 h 10000"/>
              <a:gd name="connsiteX8" fmla="*/ 2049 w 9962"/>
              <a:gd name="connsiteY8" fmla="*/ 6131 h 10000"/>
              <a:gd name="connsiteX9" fmla="*/ 2049 w 9962"/>
              <a:gd name="connsiteY9" fmla="*/ 9477 h 10000"/>
              <a:gd name="connsiteX10" fmla="*/ 2088 w 9962"/>
              <a:gd name="connsiteY10" fmla="*/ 10000 h 10000"/>
              <a:gd name="connsiteX11" fmla="*/ 2413 w 9962"/>
              <a:gd name="connsiteY11" fmla="*/ 10000 h 10000"/>
              <a:gd name="connsiteX12" fmla="*/ 2450 w 9962"/>
              <a:gd name="connsiteY12" fmla="*/ 9477 h 10000"/>
              <a:gd name="connsiteX13" fmla="*/ 2450 w 9962"/>
              <a:gd name="connsiteY13" fmla="*/ 7178 h 10000"/>
              <a:gd name="connsiteX14" fmla="*/ 2485 w 9962"/>
              <a:gd name="connsiteY14" fmla="*/ 6654 h 10000"/>
              <a:gd name="connsiteX15" fmla="*/ 2885 w 9962"/>
              <a:gd name="connsiteY15" fmla="*/ 6654 h 10000"/>
              <a:gd name="connsiteX16" fmla="*/ 2923 w 9962"/>
              <a:gd name="connsiteY16" fmla="*/ 7178 h 10000"/>
              <a:gd name="connsiteX17" fmla="*/ 2923 w 9962"/>
              <a:gd name="connsiteY17" fmla="*/ 8411 h 10000"/>
              <a:gd name="connsiteX18" fmla="*/ 2960 w 9962"/>
              <a:gd name="connsiteY18" fmla="*/ 8935 h 10000"/>
              <a:gd name="connsiteX19" fmla="*/ 5724 w 9962"/>
              <a:gd name="connsiteY19" fmla="*/ 8935 h 10000"/>
              <a:gd name="connsiteX20" fmla="*/ 5761 w 9962"/>
              <a:gd name="connsiteY20" fmla="*/ 8411 h 10000"/>
              <a:gd name="connsiteX21" fmla="*/ 5761 w 9962"/>
              <a:gd name="connsiteY21" fmla="*/ 523 h 10000"/>
              <a:gd name="connsiteX22" fmla="*/ 5798 w 9962"/>
              <a:gd name="connsiteY22" fmla="*/ 0 h 10000"/>
              <a:gd name="connsiteX23" fmla="*/ 6709 w 9962"/>
              <a:gd name="connsiteY23" fmla="*/ 0 h 10000"/>
              <a:gd name="connsiteX24" fmla="*/ 6747 w 9962"/>
              <a:gd name="connsiteY24" fmla="*/ 523 h 10000"/>
              <a:gd name="connsiteX25" fmla="*/ 6747 w 9962"/>
              <a:gd name="connsiteY25" fmla="*/ 7159 h 10000"/>
              <a:gd name="connsiteX26" fmla="*/ 6783 w 9962"/>
              <a:gd name="connsiteY26" fmla="*/ 7682 h 10000"/>
              <a:gd name="connsiteX27" fmla="*/ 8170 w 9962"/>
              <a:gd name="connsiteY27" fmla="*/ 7682 h 10000"/>
              <a:gd name="connsiteX28" fmla="*/ 8207 w 9962"/>
              <a:gd name="connsiteY28" fmla="*/ 7159 h 10000"/>
              <a:gd name="connsiteX29" fmla="*/ 8207 w 9962"/>
              <a:gd name="connsiteY29" fmla="*/ 2075 h 10000"/>
              <a:gd name="connsiteX30" fmla="*/ 8244 w 9962"/>
              <a:gd name="connsiteY30" fmla="*/ 1551 h 10000"/>
              <a:gd name="connsiteX31" fmla="*/ 9962 w 9962"/>
              <a:gd name="connsiteY31" fmla="*/ 1551 h 10000"/>
              <a:gd name="connsiteX0" fmla="*/ 0 w 10000"/>
              <a:gd name="connsiteY0" fmla="*/ 9477 h 10000"/>
              <a:gd name="connsiteX1" fmla="*/ 38 w 10000"/>
              <a:gd name="connsiteY1" fmla="*/ 10000 h 10000"/>
              <a:gd name="connsiteX2" fmla="*/ 751 w 10000"/>
              <a:gd name="connsiteY2" fmla="*/ 10000 h 10000"/>
              <a:gd name="connsiteX3" fmla="*/ 788 w 10000"/>
              <a:gd name="connsiteY3" fmla="*/ 9477 h 10000"/>
              <a:gd name="connsiteX4" fmla="*/ 788 w 10000"/>
              <a:gd name="connsiteY4" fmla="*/ 6131 h 10000"/>
              <a:gd name="connsiteX5" fmla="*/ 825 w 10000"/>
              <a:gd name="connsiteY5" fmla="*/ 5607 h 10000"/>
              <a:gd name="connsiteX6" fmla="*/ 2021 w 10000"/>
              <a:gd name="connsiteY6" fmla="*/ 5607 h 10000"/>
              <a:gd name="connsiteX7" fmla="*/ 2057 w 10000"/>
              <a:gd name="connsiteY7" fmla="*/ 6131 h 10000"/>
              <a:gd name="connsiteX8" fmla="*/ 2057 w 10000"/>
              <a:gd name="connsiteY8" fmla="*/ 9477 h 10000"/>
              <a:gd name="connsiteX9" fmla="*/ 2096 w 10000"/>
              <a:gd name="connsiteY9" fmla="*/ 10000 h 10000"/>
              <a:gd name="connsiteX10" fmla="*/ 2422 w 10000"/>
              <a:gd name="connsiteY10" fmla="*/ 10000 h 10000"/>
              <a:gd name="connsiteX11" fmla="*/ 2459 w 10000"/>
              <a:gd name="connsiteY11" fmla="*/ 9477 h 10000"/>
              <a:gd name="connsiteX12" fmla="*/ 2459 w 10000"/>
              <a:gd name="connsiteY12" fmla="*/ 7178 h 10000"/>
              <a:gd name="connsiteX13" fmla="*/ 2494 w 10000"/>
              <a:gd name="connsiteY13" fmla="*/ 6654 h 10000"/>
              <a:gd name="connsiteX14" fmla="*/ 2896 w 10000"/>
              <a:gd name="connsiteY14" fmla="*/ 6654 h 10000"/>
              <a:gd name="connsiteX15" fmla="*/ 2934 w 10000"/>
              <a:gd name="connsiteY15" fmla="*/ 7178 h 10000"/>
              <a:gd name="connsiteX16" fmla="*/ 2934 w 10000"/>
              <a:gd name="connsiteY16" fmla="*/ 8411 h 10000"/>
              <a:gd name="connsiteX17" fmla="*/ 2971 w 10000"/>
              <a:gd name="connsiteY17" fmla="*/ 8935 h 10000"/>
              <a:gd name="connsiteX18" fmla="*/ 5746 w 10000"/>
              <a:gd name="connsiteY18" fmla="*/ 8935 h 10000"/>
              <a:gd name="connsiteX19" fmla="*/ 5783 w 10000"/>
              <a:gd name="connsiteY19" fmla="*/ 8411 h 10000"/>
              <a:gd name="connsiteX20" fmla="*/ 5783 w 10000"/>
              <a:gd name="connsiteY20" fmla="*/ 523 h 10000"/>
              <a:gd name="connsiteX21" fmla="*/ 5820 w 10000"/>
              <a:gd name="connsiteY21" fmla="*/ 0 h 10000"/>
              <a:gd name="connsiteX22" fmla="*/ 6735 w 10000"/>
              <a:gd name="connsiteY22" fmla="*/ 0 h 10000"/>
              <a:gd name="connsiteX23" fmla="*/ 6773 w 10000"/>
              <a:gd name="connsiteY23" fmla="*/ 523 h 10000"/>
              <a:gd name="connsiteX24" fmla="*/ 6773 w 10000"/>
              <a:gd name="connsiteY24" fmla="*/ 7159 h 10000"/>
              <a:gd name="connsiteX25" fmla="*/ 6809 w 10000"/>
              <a:gd name="connsiteY25" fmla="*/ 7682 h 10000"/>
              <a:gd name="connsiteX26" fmla="*/ 8201 w 10000"/>
              <a:gd name="connsiteY26" fmla="*/ 7682 h 10000"/>
              <a:gd name="connsiteX27" fmla="*/ 8238 w 10000"/>
              <a:gd name="connsiteY27" fmla="*/ 7159 h 10000"/>
              <a:gd name="connsiteX28" fmla="*/ 8238 w 10000"/>
              <a:gd name="connsiteY28" fmla="*/ 2075 h 10000"/>
              <a:gd name="connsiteX29" fmla="*/ 8275 w 10000"/>
              <a:gd name="connsiteY29" fmla="*/ 1551 h 10000"/>
              <a:gd name="connsiteX30" fmla="*/ 10000 w 10000"/>
              <a:gd name="connsiteY30" fmla="*/ 1551 h 10000"/>
              <a:gd name="connsiteX0" fmla="*/ 0 w 9962"/>
              <a:gd name="connsiteY0" fmla="*/ 10000 h 10000"/>
              <a:gd name="connsiteX1" fmla="*/ 713 w 9962"/>
              <a:gd name="connsiteY1" fmla="*/ 10000 h 10000"/>
              <a:gd name="connsiteX2" fmla="*/ 750 w 9962"/>
              <a:gd name="connsiteY2" fmla="*/ 9477 h 10000"/>
              <a:gd name="connsiteX3" fmla="*/ 750 w 9962"/>
              <a:gd name="connsiteY3" fmla="*/ 6131 h 10000"/>
              <a:gd name="connsiteX4" fmla="*/ 787 w 9962"/>
              <a:gd name="connsiteY4" fmla="*/ 5607 h 10000"/>
              <a:gd name="connsiteX5" fmla="*/ 1983 w 9962"/>
              <a:gd name="connsiteY5" fmla="*/ 5607 h 10000"/>
              <a:gd name="connsiteX6" fmla="*/ 2019 w 9962"/>
              <a:gd name="connsiteY6" fmla="*/ 6131 h 10000"/>
              <a:gd name="connsiteX7" fmla="*/ 2019 w 9962"/>
              <a:gd name="connsiteY7" fmla="*/ 9477 h 10000"/>
              <a:gd name="connsiteX8" fmla="*/ 2058 w 9962"/>
              <a:gd name="connsiteY8" fmla="*/ 10000 h 10000"/>
              <a:gd name="connsiteX9" fmla="*/ 2384 w 9962"/>
              <a:gd name="connsiteY9" fmla="*/ 10000 h 10000"/>
              <a:gd name="connsiteX10" fmla="*/ 2421 w 9962"/>
              <a:gd name="connsiteY10" fmla="*/ 9477 h 10000"/>
              <a:gd name="connsiteX11" fmla="*/ 2421 w 9962"/>
              <a:gd name="connsiteY11" fmla="*/ 7178 h 10000"/>
              <a:gd name="connsiteX12" fmla="*/ 2456 w 9962"/>
              <a:gd name="connsiteY12" fmla="*/ 6654 h 10000"/>
              <a:gd name="connsiteX13" fmla="*/ 2858 w 9962"/>
              <a:gd name="connsiteY13" fmla="*/ 6654 h 10000"/>
              <a:gd name="connsiteX14" fmla="*/ 2896 w 9962"/>
              <a:gd name="connsiteY14" fmla="*/ 7178 h 10000"/>
              <a:gd name="connsiteX15" fmla="*/ 2896 w 9962"/>
              <a:gd name="connsiteY15" fmla="*/ 8411 h 10000"/>
              <a:gd name="connsiteX16" fmla="*/ 2933 w 9962"/>
              <a:gd name="connsiteY16" fmla="*/ 8935 h 10000"/>
              <a:gd name="connsiteX17" fmla="*/ 5708 w 9962"/>
              <a:gd name="connsiteY17" fmla="*/ 8935 h 10000"/>
              <a:gd name="connsiteX18" fmla="*/ 5745 w 9962"/>
              <a:gd name="connsiteY18" fmla="*/ 8411 h 10000"/>
              <a:gd name="connsiteX19" fmla="*/ 5745 w 9962"/>
              <a:gd name="connsiteY19" fmla="*/ 523 h 10000"/>
              <a:gd name="connsiteX20" fmla="*/ 5782 w 9962"/>
              <a:gd name="connsiteY20" fmla="*/ 0 h 10000"/>
              <a:gd name="connsiteX21" fmla="*/ 6697 w 9962"/>
              <a:gd name="connsiteY21" fmla="*/ 0 h 10000"/>
              <a:gd name="connsiteX22" fmla="*/ 6735 w 9962"/>
              <a:gd name="connsiteY22" fmla="*/ 523 h 10000"/>
              <a:gd name="connsiteX23" fmla="*/ 6735 w 9962"/>
              <a:gd name="connsiteY23" fmla="*/ 7159 h 10000"/>
              <a:gd name="connsiteX24" fmla="*/ 6771 w 9962"/>
              <a:gd name="connsiteY24" fmla="*/ 7682 h 10000"/>
              <a:gd name="connsiteX25" fmla="*/ 8163 w 9962"/>
              <a:gd name="connsiteY25" fmla="*/ 7682 h 10000"/>
              <a:gd name="connsiteX26" fmla="*/ 8200 w 9962"/>
              <a:gd name="connsiteY26" fmla="*/ 7159 h 10000"/>
              <a:gd name="connsiteX27" fmla="*/ 8200 w 9962"/>
              <a:gd name="connsiteY27" fmla="*/ 2075 h 10000"/>
              <a:gd name="connsiteX28" fmla="*/ 8237 w 9962"/>
              <a:gd name="connsiteY28" fmla="*/ 1551 h 10000"/>
              <a:gd name="connsiteX29" fmla="*/ 9962 w 9962"/>
              <a:gd name="connsiteY29" fmla="*/ 1551 h 10000"/>
              <a:gd name="connsiteX0" fmla="*/ 0 w 9284"/>
              <a:gd name="connsiteY0" fmla="*/ 10000 h 10000"/>
              <a:gd name="connsiteX1" fmla="*/ 37 w 9284"/>
              <a:gd name="connsiteY1" fmla="*/ 9477 h 10000"/>
              <a:gd name="connsiteX2" fmla="*/ 37 w 9284"/>
              <a:gd name="connsiteY2" fmla="*/ 6131 h 10000"/>
              <a:gd name="connsiteX3" fmla="*/ 74 w 9284"/>
              <a:gd name="connsiteY3" fmla="*/ 5607 h 10000"/>
              <a:gd name="connsiteX4" fmla="*/ 1275 w 9284"/>
              <a:gd name="connsiteY4" fmla="*/ 5607 h 10000"/>
              <a:gd name="connsiteX5" fmla="*/ 1311 w 9284"/>
              <a:gd name="connsiteY5" fmla="*/ 6131 h 10000"/>
              <a:gd name="connsiteX6" fmla="*/ 1311 w 9284"/>
              <a:gd name="connsiteY6" fmla="*/ 9477 h 10000"/>
              <a:gd name="connsiteX7" fmla="*/ 1350 w 9284"/>
              <a:gd name="connsiteY7" fmla="*/ 10000 h 10000"/>
              <a:gd name="connsiteX8" fmla="*/ 1677 w 9284"/>
              <a:gd name="connsiteY8" fmla="*/ 10000 h 10000"/>
              <a:gd name="connsiteX9" fmla="*/ 1714 w 9284"/>
              <a:gd name="connsiteY9" fmla="*/ 9477 h 10000"/>
              <a:gd name="connsiteX10" fmla="*/ 1714 w 9284"/>
              <a:gd name="connsiteY10" fmla="*/ 7178 h 10000"/>
              <a:gd name="connsiteX11" fmla="*/ 1749 w 9284"/>
              <a:gd name="connsiteY11" fmla="*/ 6654 h 10000"/>
              <a:gd name="connsiteX12" fmla="*/ 2153 w 9284"/>
              <a:gd name="connsiteY12" fmla="*/ 6654 h 10000"/>
              <a:gd name="connsiteX13" fmla="*/ 2191 w 9284"/>
              <a:gd name="connsiteY13" fmla="*/ 7178 h 10000"/>
              <a:gd name="connsiteX14" fmla="*/ 2191 w 9284"/>
              <a:gd name="connsiteY14" fmla="*/ 8411 h 10000"/>
              <a:gd name="connsiteX15" fmla="*/ 2228 w 9284"/>
              <a:gd name="connsiteY15" fmla="*/ 8935 h 10000"/>
              <a:gd name="connsiteX16" fmla="*/ 5014 w 9284"/>
              <a:gd name="connsiteY16" fmla="*/ 8935 h 10000"/>
              <a:gd name="connsiteX17" fmla="*/ 5051 w 9284"/>
              <a:gd name="connsiteY17" fmla="*/ 8411 h 10000"/>
              <a:gd name="connsiteX18" fmla="*/ 5051 w 9284"/>
              <a:gd name="connsiteY18" fmla="*/ 523 h 10000"/>
              <a:gd name="connsiteX19" fmla="*/ 5088 w 9284"/>
              <a:gd name="connsiteY19" fmla="*/ 0 h 10000"/>
              <a:gd name="connsiteX20" fmla="*/ 6007 w 9284"/>
              <a:gd name="connsiteY20" fmla="*/ 0 h 10000"/>
              <a:gd name="connsiteX21" fmla="*/ 6045 w 9284"/>
              <a:gd name="connsiteY21" fmla="*/ 523 h 10000"/>
              <a:gd name="connsiteX22" fmla="*/ 6045 w 9284"/>
              <a:gd name="connsiteY22" fmla="*/ 7159 h 10000"/>
              <a:gd name="connsiteX23" fmla="*/ 6081 w 9284"/>
              <a:gd name="connsiteY23" fmla="*/ 7682 h 10000"/>
              <a:gd name="connsiteX24" fmla="*/ 7478 w 9284"/>
              <a:gd name="connsiteY24" fmla="*/ 7682 h 10000"/>
              <a:gd name="connsiteX25" fmla="*/ 7515 w 9284"/>
              <a:gd name="connsiteY25" fmla="*/ 7159 h 10000"/>
              <a:gd name="connsiteX26" fmla="*/ 7515 w 9284"/>
              <a:gd name="connsiteY26" fmla="*/ 2075 h 10000"/>
              <a:gd name="connsiteX27" fmla="*/ 7552 w 9284"/>
              <a:gd name="connsiteY27" fmla="*/ 1551 h 10000"/>
              <a:gd name="connsiteX28" fmla="*/ 9284 w 9284"/>
              <a:gd name="connsiteY28" fmla="*/ 1551 h 10000"/>
              <a:gd name="connsiteX0" fmla="*/ 0 w 9960"/>
              <a:gd name="connsiteY0" fmla="*/ 9477 h 10000"/>
              <a:gd name="connsiteX1" fmla="*/ 0 w 9960"/>
              <a:gd name="connsiteY1" fmla="*/ 6131 h 10000"/>
              <a:gd name="connsiteX2" fmla="*/ 40 w 9960"/>
              <a:gd name="connsiteY2" fmla="*/ 5607 h 10000"/>
              <a:gd name="connsiteX3" fmla="*/ 1333 w 9960"/>
              <a:gd name="connsiteY3" fmla="*/ 5607 h 10000"/>
              <a:gd name="connsiteX4" fmla="*/ 1372 w 9960"/>
              <a:gd name="connsiteY4" fmla="*/ 6131 h 10000"/>
              <a:gd name="connsiteX5" fmla="*/ 1372 w 9960"/>
              <a:gd name="connsiteY5" fmla="*/ 9477 h 10000"/>
              <a:gd name="connsiteX6" fmla="*/ 1414 w 9960"/>
              <a:gd name="connsiteY6" fmla="*/ 10000 h 10000"/>
              <a:gd name="connsiteX7" fmla="*/ 1766 w 9960"/>
              <a:gd name="connsiteY7" fmla="*/ 10000 h 10000"/>
              <a:gd name="connsiteX8" fmla="*/ 1806 w 9960"/>
              <a:gd name="connsiteY8" fmla="*/ 9477 h 10000"/>
              <a:gd name="connsiteX9" fmla="*/ 1806 w 9960"/>
              <a:gd name="connsiteY9" fmla="*/ 7178 h 10000"/>
              <a:gd name="connsiteX10" fmla="*/ 1844 w 9960"/>
              <a:gd name="connsiteY10" fmla="*/ 6654 h 10000"/>
              <a:gd name="connsiteX11" fmla="*/ 2279 w 9960"/>
              <a:gd name="connsiteY11" fmla="*/ 6654 h 10000"/>
              <a:gd name="connsiteX12" fmla="*/ 2320 w 9960"/>
              <a:gd name="connsiteY12" fmla="*/ 7178 h 10000"/>
              <a:gd name="connsiteX13" fmla="*/ 2320 w 9960"/>
              <a:gd name="connsiteY13" fmla="*/ 8411 h 10000"/>
              <a:gd name="connsiteX14" fmla="*/ 2360 w 9960"/>
              <a:gd name="connsiteY14" fmla="*/ 8935 h 10000"/>
              <a:gd name="connsiteX15" fmla="*/ 5361 w 9960"/>
              <a:gd name="connsiteY15" fmla="*/ 8935 h 10000"/>
              <a:gd name="connsiteX16" fmla="*/ 5401 w 9960"/>
              <a:gd name="connsiteY16" fmla="*/ 8411 h 10000"/>
              <a:gd name="connsiteX17" fmla="*/ 5401 w 9960"/>
              <a:gd name="connsiteY17" fmla="*/ 523 h 10000"/>
              <a:gd name="connsiteX18" fmla="*/ 5440 w 9960"/>
              <a:gd name="connsiteY18" fmla="*/ 0 h 10000"/>
              <a:gd name="connsiteX19" fmla="*/ 6430 w 9960"/>
              <a:gd name="connsiteY19" fmla="*/ 0 h 10000"/>
              <a:gd name="connsiteX20" fmla="*/ 6471 w 9960"/>
              <a:gd name="connsiteY20" fmla="*/ 523 h 10000"/>
              <a:gd name="connsiteX21" fmla="*/ 6471 w 9960"/>
              <a:gd name="connsiteY21" fmla="*/ 7159 h 10000"/>
              <a:gd name="connsiteX22" fmla="*/ 6510 w 9960"/>
              <a:gd name="connsiteY22" fmla="*/ 7682 h 10000"/>
              <a:gd name="connsiteX23" fmla="*/ 8015 w 9960"/>
              <a:gd name="connsiteY23" fmla="*/ 7682 h 10000"/>
              <a:gd name="connsiteX24" fmla="*/ 8055 w 9960"/>
              <a:gd name="connsiteY24" fmla="*/ 7159 h 10000"/>
              <a:gd name="connsiteX25" fmla="*/ 8055 w 9960"/>
              <a:gd name="connsiteY25" fmla="*/ 2075 h 10000"/>
              <a:gd name="connsiteX26" fmla="*/ 8094 w 9960"/>
              <a:gd name="connsiteY26" fmla="*/ 1551 h 10000"/>
              <a:gd name="connsiteX27" fmla="*/ 9960 w 9960"/>
              <a:gd name="connsiteY27" fmla="*/ 1551 h 10000"/>
              <a:gd name="connsiteX0" fmla="*/ 0 w 10000"/>
              <a:gd name="connsiteY0" fmla="*/ 6131 h 10000"/>
              <a:gd name="connsiteX1" fmla="*/ 40 w 10000"/>
              <a:gd name="connsiteY1" fmla="*/ 5607 h 10000"/>
              <a:gd name="connsiteX2" fmla="*/ 1338 w 10000"/>
              <a:gd name="connsiteY2" fmla="*/ 5607 h 10000"/>
              <a:gd name="connsiteX3" fmla="*/ 1378 w 10000"/>
              <a:gd name="connsiteY3" fmla="*/ 6131 h 10000"/>
              <a:gd name="connsiteX4" fmla="*/ 1378 w 10000"/>
              <a:gd name="connsiteY4" fmla="*/ 9477 h 10000"/>
              <a:gd name="connsiteX5" fmla="*/ 1420 w 10000"/>
              <a:gd name="connsiteY5" fmla="*/ 10000 h 10000"/>
              <a:gd name="connsiteX6" fmla="*/ 1773 w 10000"/>
              <a:gd name="connsiteY6" fmla="*/ 10000 h 10000"/>
              <a:gd name="connsiteX7" fmla="*/ 1813 w 10000"/>
              <a:gd name="connsiteY7" fmla="*/ 9477 h 10000"/>
              <a:gd name="connsiteX8" fmla="*/ 1813 w 10000"/>
              <a:gd name="connsiteY8" fmla="*/ 7178 h 10000"/>
              <a:gd name="connsiteX9" fmla="*/ 1851 w 10000"/>
              <a:gd name="connsiteY9" fmla="*/ 6654 h 10000"/>
              <a:gd name="connsiteX10" fmla="*/ 2288 w 10000"/>
              <a:gd name="connsiteY10" fmla="*/ 6654 h 10000"/>
              <a:gd name="connsiteX11" fmla="*/ 2329 w 10000"/>
              <a:gd name="connsiteY11" fmla="*/ 7178 h 10000"/>
              <a:gd name="connsiteX12" fmla="*/ 2329 w 10000"/>
              <a:gd name="connsiteY12" fmla="*/ 8411 h 10000"/>
              <a:gd name="connsiteX13" fmla="*/ 2369 w 10000"/>
              <a:gd name="connsiteY13" fmla="*/ 8935 h 10000"/>
              <a:gd name="connsiteX14" fmla="*/ 5383 w 10000"/>
              <a:gd name="connsiteY14" fmla="*/ 8935 h 10000"/>
              <a:gd name="connsiteX15" fmla="*/ 5423 w 10000"/>
              <a:gd name="connsiteY15" fmla="*/ 8411 h 10000"/>
              <a:gd name="connsiteX16" fmla="*/ 5423 w 10000"/>
              <a:gd name="connsiteY16" fmla="*/ 523 h 10000"/>
              <a:gd name="connsiteX17" fmla="*/ 5462 w 10000"/>
              <a:gd name="connsiteY17" fmla="*/ 0 h 10000"/>
              <a:gd name="connsiteX18" fmla="*/ 6456 w 10000"/>
              <a:gd name="connsiteY18" fmla="*/ 0 h 10000"/>
              <a:gd name="connsiteX19" fmla="*/ 6497 w 10000"/>
              <a:gd name="connsiteY19" fmla="*/ 523 h 10000"/>
              <a:gd name="connsiteX20" fmla="*/ 6497 w 10000"/>
              <a:gd name="connsiteY20" fmla="*/ 7159 h 10000"/>
              <a:gd name="connsiteX21" fmla="*/ 6536 w 10000"/>
              <a:gd name="connsiteY21" fmla="*/ 7682 h 10000"/>
              <a:gd name="connsiteX22" fmla="*/ 8047 w 10000"/>
              <a:gd name="connsiteY22" fmla="*/ 7682 h 10000"/>
              <a:gd name="connsiteX23" fmla="*/ 8087 w 10000"/>
              <a:gd name="connsiteY23" fmla="*/ 7159 h 10000"/>
              <a:gd name="connsiteX24" fmla="*/ 8087 w 10000"/>
              <a:gd name="connsiteY24" fmla="*/ 2075 h 10000"/>
              <a:gd name="connsiteX25" fmla="*/ 8127 w 10000"/>
              <a:gd name="connsiteY25" fmla="*/ 1551 h 10000"/>
              <a:gd name="connsiteX26" fmla="*/ 10000 w 10000"/>
              <a:gd name="connsiteY26" fmla="*/ 1551 h 10000"/>
              <a:gd name="connsiteX0" fmla="*/ 0 w 8127"/>
              <a:gd name="connsiteY0" fmla="*/ 6131 h 10000"/>
              <a:gd name="connsiteX1" fmla="*/ 40 w 8127"/>
              <a:gd name="connsiteY1" fmla="*/ 5607 h 10000"/>
              <a:gd name="connsiteX2" fmla="*/ 1338 w 8127"/>
              <a:gd name="connsiteY2" fmla="*/ 5607 h 10000"/>
              <a:gd name="connsiteX3" fmla="*/ 1378 w 8127"/>
              <a:gd name="connsiteY3" fmla="*/ 6131 h 10000"/>
              <a:gd name="connsiteX4" fmla="*/ 1378 w 8127"/>
              <a:gd name="connsiteY4" fmla="*/ 9477 h 10000"/>
              <a:gd name="connsiteX5" fmla="*/ 1420 w 8127"/>
              <a:gd name="connsiteY5" fmla="*/ 10000 h 10000"/>
              <a:gd name="connsiteX6" fmla="*/ 1773 w 8127"/>
              <a:gd name="connsiteY6" fmla="*/ 10000 h 10000"/>
              <a:gd name="connsiteX7" fmla="*/ 1813 w 8127"/>
              <a:gd name="connsiteY7" fmla="*/ 9477 h 10000"/>
              <a:gd name="connsiteX8" fmla="*/ 1813 w 8127"/>
              <a:gd name="connsiteY8" fmla="*/ 7178 h 10000"/>
              <a:gd name="connsiteX9" fmla="*/ 1851 w 8127"/>
              <a:gd name="connsiteY9" fmla="*/ 6654 h 10000"/>
              <a:gd name="connsiteX10" fmla="*/ 2288 w 8127"/>
              <a:gd name="connsiteY10" fmla="*/ 6654 h 10000"/>
              <a:gd name="connsiteX11" fmla="*/ 2329 w 8127"/>
              <a:gd name="connsiteY11" fmla="*/ 7178 h 10000"/>
              <a:gd name="connsiteX12" fmla="*/ 2329 w 8127"/>
              <a:gd name="connsiteY12" fmla="*/ 8411 h 10000"/>
              <a:gd name="connsiteX13" fmla="*/ 2369 w 8127"/>
              <a:gd name="connsiteY13" fmla="*/ 8935 h 10000"/>
              <a:gd name="connsiteX14" fmla="*/ 5383 w 8127"/>
              <a:gd name="connsiteY14" fmla="*/ 8935 h 10000"/>
              <a:gd name="connsiteX15" fmla="*/ 5423 w 8127"/>
              <a:gd name="connsiteY15" fmla="*/ 8411 h 10000"/>
              <a:gd name="connsiteX16" fmla="*/ 5423 w 8127"/>
              <a:gd name="connsiteY16" fmla="*/ 523 h 10000"/>
              <a:gd name="connsiteX17" fmla="*/ 5462 w 8127"/>
              <a:gd name="connsiteY17" fmla="*/ 0 h 10000"/>
              <a:gd name="connsiteX18" fmla="*/ 6456 w 8127"/>
              <a:gd name="connsiteY18" fmla="*/ 0 h 10000"/>
              <a:gd name="connsiteX19" fmla="*/ 6497 w 8127"/>
              <a:gd name="connsiteY19" fmla="*/ 523 h 10000"/>
              <a:gd name="connsiteX20" fmla="*/ 6497 w 8127"/>
              <a:gd name="connsiteY20" fmla="*/ 7159 h 10000"/>
              <a:gd name="connsiteX21" fmla="*/ 6536 w 8127"/>
              <a:gd name="connsiteY21" fmla="*/ 7682 h 10000"/>
              <a:gd name="connsiteX22" fmla="*/ 8047 w 8127"/>
              <a:gd name="connsiteY22" fmla="*/ 7682 h 10000"/>
              <a:gd name="connsiteX23" fmla="*/ 8087 w 8127"/>
              <a:gd name="connsiteY23" fmla="*/ 7159 h 10000"/>
              <a:gd name="connsiteX24" fmla="*/ 8087 w 8127"/>
              <a:gd name="connsiteY24" fmla="*/ 2075 h 10000"/>
              <a:gd name="connsiteX25" fmla="*/ 8127 w 8127"/>
              <a:gd name="connsiteY25" fmla="*/ 1551 h 10000"/>
              <a:gd name="connsiteX0" fmla="*/ 0 w 9951"/>
              <a:gd name="connsiteY0" fmla="*/ 6131 h 10000"/>
              <a:gd name="connsiteX1" fmla="*/ 49 w 9951"/>
              <a:gd name="connsiteY1" fmla="*/ 5607 h 10000"/>
              <a:gd name="connsiteX2" fmla="*/ 1646 w 9951"/>
              <a:gd name="connsiteY2" fmla="*/ 5607 h 10000"/>
              <a:gd name="connsiteX3" fmla="*/ 1696 w 9951"/>
              <a:gd name="connsiteY3" fmla="*/ 6131 h 10000"/>
              <a:gd name="connsiteX4" fmla="*/ 1696 w 9951"/>
              <a:gd name="connsiteY4" fmla="*/ 9477 h 10000"/>
              <a:gd name="connsiteX5" fmla="*/ 1747 w 9951"/>
              <a:gd name="connsiteY5" fmla="*/ 10000 h 10000"/>
              <a:gd name="connsiteX6" fmla="*/ 2182 w 9951"/>
              <a:gd name="connsiteY6" fmla="*/ 10000 h 10000"/>
              <a:gd name="connsiteX7" fmla="*/ 2231 w 9951"/>
              <a:gd name="connsiteY7" fmla="*/ 9477 h 10000"/>
              <a:gd name="connsiteX8" fmla="*/ 2231 w 9951"/>
              <a:gd name="connsiteY8" fmla="*/ 7178 h 10000"/>
              <a:gd name="connsiteX9" fmla="*/ 2278 w 9951"/>
              <a:gd name="connsiteY9" fmla="*/ 6654 h 10000"/>
              <a:gd name="connsiteX10" fmla="*/ 2815 w 9951"/>
              <a:gd name="connsiteY10" fmla="*/ 6654 h 10000"/>
              <a:gd name="connsiteX11" fmla="*/ 2866 w 9951"/>
              <a:gd name="connsiteY11" fmla="*/ 7178 h 10000"/>
              <a:gd name="connsiteX12" fmla="*/ 2866 w 9951"/>
              <a:gd name="connsiteY12" fmla="*/ 8411 h 10000"/>
              <a:gd name="connsiteX13" fmla="*/ 2915 w 9951"/>
              <a:gd name="connsiteY13" fmla="*/ 8935 h 10000"/>
              <a:gd name="connsiteX14" fmla="*/ 6624 w 9951"/>
              <a:gd name="connsiteY14" fmla="*/ 8935 h 10000"/>
              <a:gd name="connsiteX15" fmla="*/ 6673 w 9951"/>
              <a:gd name="connsiteY15" fmla="*/ 8411 h 10000"/>
              <a:gd name="connsiteX16" fmla="*/ 6673 w 9951"/>
              <a:gd name="connsiteY16" fmla="*/ 523 h 10000"/>
              <a:gd name="connsiteX17" fmla="*/ 6721 w 9951"/>
              <a:gd name="connsiteY17" fmla="*/ 0 h 10000"/>
              <a:gd name="connsiteX18" fmla="*/ 7944 w 9951"/>
              <a:gd name="connsiteY18" fmla="*/ 0 h 10000"/>
              <a:gd name="connsiteX19" fmla="*/ 7994 w 9951"/>
              <a:gd name="connsiteY19" fmla="*/ 523 h 10000"/>
              <a:gd name="connsiteX20" fmla="*/ 7994 w 9951"/>
              <a:gd name="connsiteY20" fmla="*/ 7159 h 10000"/>
              <a:gd name="connsiteX21" fmla="*/ 8042 w 9951"/>
              <a:gd name="connsiteY21" fmla="*/ 7682 h 10000"/>
              <a:gd name="connsiteX22" fmla="*/ 9902 w 9951"/>
              <a:gd name="connsiteY22" fmla="*/ 7682 h 10000"/>
              <a:gd name="connsiteX23" fmla="*/ 9951 w 9951"/>
              <a:gd name="connsiteY23" fmla="*/ 7159 h 10000"/>
              <a:gd name="connsiteX24" fmla="*/ 9951 w 9951"/>
              <a:gd name="connsiteY24" fmla="*/ 2075 h 10000"/>
              <a:gd name="connsiteX0" fmla="*/ 0 w 10000"/>
              <a:gd name="connsiteY0" fmla="*/ 6131 h 10000"/>
              <a:gd name="connsiteX1" fmla="*/ 49 w 10000"/>
              <a:gd name="connsiteY1" fmla="*/ 5607 h 10000"/>
              <a:gd name="connsiteX2" fmla="*/ 1654 w 10000"/>
              <a:gd name="connsiteY2" fmla="*/ 5607 h 10000"/>
              <a:gd name="connsiteX3" fmla="*/ 1704 w 10000"/>
              <a:gd name="connsiteY3" fmla="*/ 6131 h 10000"/>
              <a:gd name="connsiteX4" fmla="*/ 1704 w 10000"/>
              <a:gd name="connsiteY4" fmla="*/ 9477 h 10000"/>
              <a:gd name="connsiteX5" fmla="*/ 1756 w 10000"/>
              <a:gd name="connsiteY5" fmla="*/ 10000 h 10000"/>
              <a:gd name="connsiteX6" fmla="*/ 2193 w 10000"/>
              <a:gd name="connsiteY6" fmla="*/ 10000 h 10000"/>
              <a:gd name="connsiteX7" fmla="*/ 2242 w 10000"/>
              <a:gd name="connsiteY7" fmla="*/ 9477 h 10000"/>
              <a:gd name="connsiteX8" fmla="*/ 2242 w 10000"/>
              <a:gd name="connsiteY8" fmla="*/ 7178 h 10000"/>
              <a:gd name="connsiteX9" fmla="*/ 2289 w 10000"/>
              <a:gd name="connsiteY9" fmla="*/ 6654 h 10000"/>
              <a:gd name="connsiteX10" fmla="*/ 2829 w 10000"/>
              <a:gd name="connsiteY10" fmla="*/ 6654 h 10000"/>
              <a:gd name="connsiteX11" fmla="*/ 2880 w 10000"/>
              <a:gd name="connsiteY11" fmla="*/ 7178 h 10000"/>
              <a:gd name="connsiteX12" fmla="*/ 2880 w 10000"/>
              <a:gd name="connsiteY12" fmla="*/ 8411 h 10000"/>
              <a:gd name="connsiteX13" fmla="*/ 2929 w 10000"/>
              <a:gd name="connsiteY13" fmla="*/ 8935 h 10000"/>
              <a:gd name="connsiteX14" fmla="*/ 6657 w 10000"/>
              <a:gd name="connsiteY14" fmla="*/ 8935 h 10000"/>
              <a:gd name="connsiteX15" fmla="*/ 6706 w 10000"/>
              <a:gd name="connsiteY15" fmla="*/ 8411 h 10000"/>
              <a:gd name="connsiteX16" fmla="*/ 6706 w 10000"/>
              <a:gd name="connsiteY16" fmla="*/ 523 h 10000"/>
              <a:gd name="connsiteX17" fmla="*/ 6754 w 10000"/>
              <a:gd name="connsiteY17" fmla="*/ 0 h 10000"/>
              <a:gd name="connsiteX18" fmla="*/ 7983 w 10000"/>
              <a:gd name="connsiteY18" fmla="*/ 0 h 10000"/>
              <a:gd name="connsiteX19" fmla="*/ 8033 w 10000"/>
              <a:gd name="connsiteY19" fmla="*/ 523 h 10000"/>
              <a:gd name="connsiteX20" fmla="*/ 8033 w 10000"/>
              <a:gd name="connsiteY20" fmla="*/ 7159 h 10000"/>
              <a:gd name="connsiteX21" fmla="*/ 8082 w 10000"/>
              <a:gd name="connsiteY21" fmla="*/ 7682 h 10000"/>
              <a:gd name="connsiteX22" fmla="*/ 9951 w 10000"/>
              <a:gd name="connsiteY22" fmla="*/ 7682 h 10000"/>
              <a:gd name="connsiteX23" fmla="*/ 10000 w 10000"/>
              <a:gd name="connsiteY23" fmla="*/ 7159 h 10000"/>
              <a:gd name="connsiteX0" fmla="*/ 0 w 9951"/>
              <a:gd name="connsiteY0" fmla="*/ 6131 h 10000"/>
              <a:gd name="connsiteX1" fmla="*/ 49 w 9951"/>
              <a:gd name="connsiteY1" fmla="*/ 5607 h 10000"/>
              <a:gd name="connsiteX2" fmla="*/ 1654 w 9951"/>
              <a:gd name="connsiteY2" fmla="*/ 5607 h 10000"/>
              <a:gd name="connsiteX3" fmla="*/ 1704 w 9951"/>
              <a:gd name="connsiteY3" fmla="*/ 6131 h 10000"/>
              <a:gd name="connsiteX4" fmla="*/ 1704 w 9951"/>
              <a:gd name="connsiteY4" fmla="*/ 9477 h 10000"/>
              <a:gd name="connsiteX5" fmla="*/ 1756 w 9951"/>
              <a:gd name="connsiteY5" fmla="*/ 10000 h 10000"/>
              <a:gd name="connsiteX6" fmla="*/ 2193 w 9951"/>
              <a:gd name="connsiteY6" fmla="*/ 10000 h 10000"/>
              <a:gd name="connsiteX7" fmla="*/ 2242 w 9951"/>
              <a:gd name="connsiteY7" fmla="*/ 9477 h 10000"/>
              <a:gd name="connsiteX8" fmla="*/ 2242 w 9951"/>
              <a:gd name="connsiteY8" fmla="*/ 7178 h 10000"/>
              <a:gd name="connsiteX9" fmla="*/ 2289 w 9951"/>
              <a:gd name="connsiteY9" fmla="*/ 6654 h 10000"/>
              <a:gd name="connsiteX10" fmla="*/ 2829 w 9951"/>
              <a:gd name="connsiteY10" fmla="*/ 6654 h 10000"/>
              <a:gd name="connsiteX11" fmla="*/ 2880 w 9951"/>
              <a:gd name="connsiteY11" fmla="*/ 7178 h 10000"/>
              <a:gd name="connsiteX12" fmla="*/ 2880 w 9951"/>
              <a:gd name="connsiteY12" fmla="*/ 8411 h 10000"/>
              <a:gd name="connsiteX13" fmla="*/ 2929 w 9951"/>
              <a:gd name="connsiteY13" fmla="*/ 8935 h 10000"/>
              <a:gd name="connsiteX14" fmla="*/ 6657 w 9951"/>
              <a:gd name="connsiteY14" fmla="*/ 8935 h 10000"/>
              <a:gd name="connsiteX15" fmla="*/ 6706 w 9951"/>
              <a:gd name="connsiteY15" fmla="*/ 8411 h 10000"/>
              <a:gd name="connsiteX16" fmla="*/ 6706 w 9951"/>
              <a:gd name="connsiteY16" fmla="*/ 523 h 10000"/>
              <a:gd name="connsiteX17" fmla="*/ 6754 w 9951"/>
              <a:gd name="connsiteY17" fmla="*/ 0 h 10000"/>
              <a:gd name="connsiteX18" fmla="*/ 7983 w 9951"/>
              <a:gd name="connsiteY18" fmla="*/ 0 h 10000"/>
              <a:gd name="connsiteX19" fmla="*/ 8033 w 9951"/>
              <a:gd name="connsiteY19" fmla="*/ 523 h 10000"/>
              <a:gd name="connsiteX20" fmla="*/ 8033 w 9951"/>
              <a:gd name="connsiteY20" fmla="*/ 7159 h 10000"/>
              <a:gd name="connsiteX21" fmla="*/ 8082 w 9951"/>
              <a:gd name="connsiteY21" fmla="*/ 7682 h 10000"/>
              <a:gd name="connsiteX22" fmla="*/ 9951 w 9951"/>
              <a:gd name="connsiteY22" fmla="*/ 7682 h 10000"/>
              <a:gd name="connsiteX0" fmla="*/ 0 w 10000"/>
              <a:gd name="connsiteY0" fmla="*/ 6131 h 10000"/>
              <a:gd name="connsiteX1" fmla="*/ 1662 w 10000"/>
              <a:gd name="connsiteY1" fmla="*/ 5607 h 10000"/>
              <a:gd name="connsiteX2" fmla="*/ 1712 w 10000"/>
              <a:gd name="connsiteY2" fmla="*/ 6131 h 10000"/>
              <a:gd name="connsiteX3" fmla="*/ 1712 w 10000"/>
              <a:gd name="connsiteY3" fmla="*/ 9477 h 10000"/>
              <a:gd name="connsiteX4" fmla="*/ 1765 w 10000"/>
              <a:gd name="connsiteY4" fmla="*/ 10000 h 10000"/>
              <a:gd name="connsiteX5" fmla="*/ 2204 w 10000"/>
              <a:gd name="connsiteY5" fmla="*/ 10000 h 10000"/>
              <a:gd name="connsiteX6" fmla="*/ 2253 w 10000"/>
              <a:gd name="connsiteY6" fmla="*/ 9477 h 10000"/>
              <a:gd name="connsiteX7" fmla="*/ 2253 w 10000"/>
              <a:gd name="connsiteY7" fmla="*/ 7178 h 10000"/>
              <a:gd name="connsiteX8" fmla="*/ 2300 w 10000"/>
              <a:gd name="connsiteY8" fmla="*/ 6654 h 10000"/>
              <a:gd name="connsiteX9" fmla="*/ 2843 w 10000"/>
              <a:gd name="connsiteY9" fmla="*/ 6654 h 10000"/>
              <a:gd name="connsiteX10" fmla="*/ 2894 w 10000"/>
              <a:gd name="connsiteY10" fmla="*/ 7178 h 10000"/>
              <a:gd name="connsiteX11" fmla="*/ 2894 w 10000"/>
              <a:gd name="connsiteY11" fmla="*/ 8411 h 10000"/>
              <a:gd name="connsiteX12" fmla="*/ 2943 w 10000"/>
              <a:gd name="connsiteY12" fmla="*/ 8935 h 10000"/>
              <a:gd name="connsiteX13" fmla="*/ 6690 w 10000"/>
              <a:gd name="connsiteY13" fmla="*/ 8935 h 10000"/>
              <a:gd name="connsiteX14" fmla="*/ 6739 w 10000"/>
              <a:gd name="connsiteY14" fmla="*/ 8411 h 10000"/>
              <a:gd name="connsiteX15" fmla="*/ 6739 w 10000"/>
              <a:gd name="connsiteY15" fmla="*/ 523 h 10000"/>
              <a:gd name="connsiteX16" fmla="*/ 6787 w 10000"/>
              <a:gd name="connsiteY16" fmla="*/ 0 h 10000"/>
              <a:gd name="connsiteX17" fmla="*/ 8022 w 10000"/>
              <a:gd name="connsiteY17" fmla="*/ 0 h 10000"/>
              <a:gd name="connsiteX18" fmla="*/ 8073 w 10000"/>
              <a:gd name="connsiteY18" fmla="*/ 523 h 10000"/>
              <a:gd name="connsiteX19" fmla="*/ 8073 w 10000"/>
              <a:gd name="connsiteY19" fmla="*/ 7159 h 10000"/>
              <a:gd name="connsiteX20" fmla="*/ 8122 w 10000"/>
              <a:gd name="connsiteY20" fmla="*/ 7682 h 10000"/>
              <a:gd name="connsiteX21" fmla="*/ 10000 w 10000"/>
              <a:gd name="connsiteY21" fmla="*/ 7682 h 10000"/>
              <a:gd name="connsiteX0" fmla="*/ 0 w 8657"/>
              <a:gd name="connsiteY0" fmla="*/ 5687 h 10000"/>
              <a:gd name="connsiteX1" fmla="*/ 319 w 8657"/>
              <a:gd name="connsiteY1" fmla="*/ 5607 h 10000"/>
              <a:gd name="connsiteX2" fmla="*/ 369 w 8657"/>
              <a:gd name="connsiteY2" fmla="*/ 6131 h 10000"/>
              <a:gd name="connsiteX3" fmla="*/ 369 w 8657"/>
              <a:gd name="connsiteY3" fmla="*/ 9477 h 10000"/>
              <a:gd name="connsiteX4" fmla="*/ 422 w 8657"/>
              <a:gd name="connsiteY4" fmla="*/ 10000 h 10000"/>
              <a:gd name="connsiteX5" fmla="*/ 861 w 8657"/>
              <a:gd name="connsiteY5" fmla="*/ 10000 h 10000"/>
              <a:gd name="connsiteX6" fmla="*/ 910 w 8657"/>
              <a:gd name="connsiteY6" fmla="*/ 9477 h 10000"/>
              <a:gd name="connsiteX7" fmla="*/ 910 w 8657"/>
              <a:gd name="connsiteY7" fmla="*/ 7178 h 10000"/>
              <a:gd name="connsiteX8" fmla="*/ 957 w 8657"/>
              <a:gd name="connsiteY8" fmla="*/ 6654 h 10000"/>
              <a:gd name="connsiteX9" fmla="*/ 1500 w 8657"/>
              <a:gd name="connsiteY9" fmla="*/ 6654 h 10000"/>
              <a:gd name="connsiteX10" fmla="*/ 1551 w 8657"/>
              <a:gd name="connsiteY10" fmla="*/ 7178 h 10000"/>
              <a:gd name="connsiteX11" fmla="*/ 1551 w 8657"/>
              <a:gd name="connsiteY11" fmla="*/ 8411 h 10000"/>
              <a:gd name="connsiteX12" fmla="*/ 1600 w 8657"/>
              <a:gd name="connsiteY12" fmla="*/ 8935 h 10000"/>
              <a:gd name="connsiteX13" fmla="*/ 5347 w 8657"/>
              <a:gd name="connsiteY13" fmla="*/ 8935 h 10000"/>
              <a:gd name="connsiteX14" fmla="*/ 5396 w 8657"/>
              <a:gd name="connsiteY14" fmla="*/ 8411 h 10000"/>
              <a:gd name="connsiteX15" fmla="*/ 5396 w 8657"/>
              <a:gd name="connsiteY15" fmla="*/ 523 h 10000"/>
              <a:gd name="connsiteX16" fmla="*/ 5444 w 8657"/>
              <a:gd name="connsiteY16" fmla="*/ 0 h 10000"/>
              <a:gd name="connsiteX17" fmla="*/ 6679 w 8657"/>
              <a:gd name="connsiteY17" fmla="*/ 0 h 10000"/>
              <a:gd name="connsiteX18" fmla="*/ 6730 w 8657"/>
              <a:gd name="connsiteY18" fmla="*/ 523 h 10000"/>
              <a:gd name="connsiteX19" fmla="*/ 6730 w 8657"/>
              <a:gd name="connsiteY19" fmla="*/ 7159 h 10000"/>
              <a:gd name="connsiteX20" fmla="*/ 6779 w 8657"/>
              <a:gd name="connsiteY20" fmla="*/ 7682 h 10000"/>
              <a:gd name="connsiteX21" fmla="*/ 8657 w 8657"/>
              <a:gd name="connsiteY21" fmla="*/ 7682 h 10000"/>
              <a:gd name="connsiteX0" fmla="*/ 0 w 10000"/>
              <a:gd name="connsiteY0" fmla="*/ 5583 h 10000"/>
              <a:gd name="connsiteX1" fmla="*/ 368 w 10000"/>
              <a:gd name="connsiteY1" fmla="*/ 5607 h 10000"/>
              <a:gd name="connsiteX2" fmla="*/ 426 w 10000"/>
              <a:gd name="connsiteY2" fmla="*/ 6131 h 10000"/>
              <a:gd name="connsiteX3" fmla="*/ 426 w 10000"/>
              <a:gd name="connsiteY3" fmla="*/ 9477 h 10000"/>
              <a:gd name="connsiteX4" fmla="*/ 487 w 10000"/>
              <a:gd name="connsiteY4" fmla="*/ 10000 h 10000"/>
              <a:gd name="connsiteX5" fmla="*/ 995 w 10000"/>
              <a:gd name="connsiteY5" fmla="*/ 10000 h 10000"/>
              <a:gd name="connsiteX6" fmla="*/ 1051 w 10000"/>
              <a:gd name="connsiteY6" fmla="*/ 9477 h 10000"/>
              <a:gd name="connsiteX7" fmla="*/ 1051 w 10000"/>
              <a:gd name="connsiteY7" fmla="*/ 7178 h 10000"/>
              <a:gd name="connsiteX8" fmla="*/ 1105 w 10000"/>
              <a:gd name="connsiteY8" fmla="*/ 6654 h 10000"/>
              <a:gd name="connsiteX9" fmla="*/ 1733 w 10000"/>
              <a:gd name="connsiteY9" fmla="*/ 6654 h 10000"/>
              <a:gd name="connsiteX10" fmla="*/ 1792 w 10000"/>
              <a:gd name="connsiteY10" fmla="*/ 7178 h 10000"/>
              <a:gd name="connsiteX11" fmla="*/ 1792 w 10000"/>
              <a:gd name="connsiteY11" fmla="*/ 8411 h 10000"/>
              <a:gd name="connsiteX12" fmla="*/ 1848 w 10000"/>
              <a:gd name="connsiteY12" fmla="*/ 8935 h 10000"/>
              <a:gd name="connsiteX13" fmla="*/ 6177 w 10000"/>
              <a:gd name="connsiteY13" fmla="*/ 8935 h 10000"/>
              <a:gd name="connsiteX14" fmla="*/ 6233 w 10000"/>
              <a:gd name="connsiteY14" fmla="*/ 8411 h 10000"/>
              <a:gd name="connsiteX15" fmla="*/ 6233 w 10000"/>
              <a:gd name="connsiteY15" fmla="*/ 523 h 10000"/>
              <a:gd name="connsiteX16" fmla="*/ 6289 w 10000"/>
              <a:gd name="connsiteY16" fmla="*/ 0 h 10000"/>
              <a:gd name="connsiteX17" fmla="*/ 7715 w 10000"/>
              <a:gd name="connsiteY17" fmla="*/ 0 h 10000"/>
              <a:gd name="connsiteX18" fmla="*/ 7774 w 10000"/>
              <a:gd name="connsiteY18" fmla="*/ 523 h 10000"/>
              <a:gd name="connsiteX19" fmla="*/ 7774 w 10000"/>
              <a:gd name="connsiteY19" fmla="*/ 7159 h 10000"/>
              <a:gd name="connsiteX20" fmla="*/ 7831 w 10000"/>
              <a:gd name="connsiteY20" fmla="*/ 7682 h 10000"/>
              <a:gd name="connsiteX21" fmla="*/ 10000 w 10000"/>
              <a:gd name="connsiteY21" fmla="*/ 7682 h 10000"/>
              <a:gd name="connsiteX0" fmla="*/ 0 w 10000"/>
              <a:gd name="connsiteY0" fmla="*/ 5583 h 10000"/>
              <a:gd name="connsiteX1" fmla="*/ 368 w 10000"/>
              <a:gd name="connsiteY1" fmla="*/ 5607 h 10000"/>
              <a:gd name="connsiteX2" fmla="*/ 426 w 10000"/>
              <a:gd name="connsiteY2" fmla="*/ 6131 h 10000"/>
              <a:gd name="connsiteX3" fmla="*/ 426 w 10000"/>
              <a:gd name="connsiteY3" fmla="*/ 9477 h 10000"/>
              <a:gd name="connsiteX4" fmla="*/ 487 w 10000"/>
              <a:gd name="connsiteY4" fmla="*/ 10000 h 10000"/>
              <a:gd name="connsiteX5" fmla="*/ 995 w 10000"/>
              <a:gd name="connsiteY5" fmla="*/ 10000 h 10000"/>
              <a:gd name="connsiteX6" fmla="*/ 1051 w 10000"/>
              <a:gd name="connsiteY6" fmla="*/ 9477 h 10000"/>
              <a:gd name="connsiteX7" fmla="*/ 1051 w 10000"/>
              <a:gd name="connsiteY7" fmla="*/ 7178 h 10000"/>
              <a:gd name="connsiteX8" fmla="*/ 1105 w 10000"/>
              <a:gd name="connsiteY8" fmla="*/ 6654 h 10000"/>
              <a:gd name="connsiteX9" fmla="*/ 1733 w 10000"/>
              <a:gd name="connsiteY9" fmla="*/ 6654 h 10000"/>
              <a:gd name="connsiteX10" fmla="*/ 1792 w 10000"/>
              <a:gd name="connsiteY10" fmla="*/ 7178 h 10000"/>
              <a:gd name="connsiteX11" fmla="*/ 1792 w 10000"/>
              <a:gd name="connsiteY11" fmla="*/ 8411 h 10000"/>
              <a:gd name="connsiteX12" fmla="*/ 1848 w 10000"/>
              <a:gd name="connsiteY12" fmla="*/ 8935 h 10000"/>
              <a:gd name="connsiteX13" fmla="*/ 6177 w 10000"/>
              <a:gd name="connsiteY13" fmla="*/ 8935 h 10000"/>
              <a:gd name="connsiteX14" fmla="*/ 6233 w 10000"/>
              <a:gd name="connsiteY14" fmla="*/ 8411 h 10000"/>
              <a:gd name="connsiteX15" fmla="*/ 6233 w 10000"/>
              <a:gd name="connsiteY15" fmla="*/ 523 h 10000"/>
              <a:gd name="connsiteX16" fmla="*/ 6289 w 10000"/>
              <a:gd name="connsiteY16" fmla="*/ 0 h 10000"/>
              <a:gd name="connsiteX17" fmla="*/ 7715 w 10000"/>
              <a:gd name="connsiteY17" fmla="*/ 0 h 10000"/>
              <a:gd name="connsiteX18" fmla="*/ 7774 w 10000"/>
              <a:gd name="connsiteY18" fmla="*/ 523 h 10000"/>
              <a:gd name="connsiteX19" fmla="*/ 7774 w 10000"/>
              <a:gd name="connsiteY19" fmla="*/ 7159 h 10000"/>
              <a:gd name="connsiteX20" fmla="*/ 7831 w 10000"/>
              <a:gd name="connsiteY20" fmla="*/ 7682 h 10000"/>
              <a:gd name="connsiteX21" fmla="*/ 10000 w 10000"/>
              <a:gd name="connsiteY21" fmla="*/ 7682 h 10000"/>
              <a:gd name="connsiteX0" fmla="*/ 0 w 10000"/>
              <a:gd name="connsiteY0" fmla="*/ 5609 h 10000"/>
              <a:gd name="connsiteX1" fmla="*/ 368 w 10000"/>
              <a:gd name="connsiteY1" fmla="*/ 5607 h 10000"/>
              <a:gd name="connsiteX2" fmla="*/ 426 w 10000"/>
              <a:gd name="connsiteY2" fmla="*/ 6131 h 10000"/>
              <a:gd name="connsiteX3" fmla="*/ 426 w 10000"/>
              <a:gd name="connsiteY3" fmla="*/ 9477 h 10000"/>
              <a:gd name="connsiteX4" fmla="*/ 487 w 10000"/>
              <a:gd name="connsiteY4" fmla="*/ 10000 h 10000"/>
              <a:gd name="connsiteX5" fmla="*/ 995 w 10000"/>
              <a:gd name="connsiteY5" fmla="*/ 10000 h 10000"/>
              <a:gd name="connsiteX6" fmla="*/ 1051 w 10000"/>
              <a:gd name="connsiteY6" fmla="*/ 9477 h 10000"/>
              <a:gd name="connsiteX7" fmla="*/ 1051 w 10000"/>
              <a:gd name="connsiteY7" fmla="*/ 7178 h 10000"/>
              <a:gd name="connsiteX8" fmla="*/ 1105 w 10000"/>
              <a:gd name="connsiteY8" fmla="*/ 6654 h 10000"/>
              <a:gd name="connsiteX9" fmla="*/ 1733 w 10000"/>
              <a:gd name="connsiteY9" fmla="*/ 6654 h 10000"/>
              <a:gd name="connsiteX10" fmla="*/ 1792 w 10000"/>
              <a:gd name="connsiteY10" fmla="*/ 7178 h 10000"/>
              <a:gd name="connsiteX11" fmla="*/ 1792 w 10000"/>
              <a:gd name="connsiteY11" fmla="*/ 8411 h 10000"/>
              <a:gd name="connsiteX12" fmla="*/ 1848 w 10000"/>
              <a:gd name="connsiteY12" fmla="*/ 8935 h 10000"/>
              <a:gd name="connsiteX13" fmla="*/ 6177 w 10000"/>
              <a:gd name="connsiteY13" fmla="*/ 8935 h 10000"/>
              <a:gd name="connsiteX14" fmla="*/ 6233 w 10000"/>
              <a:gd name="connsiteY14" fmla="*/ 8411 h 10000"/>
              <a:gd name="connsiteX15" fmla="*/ 6233 w 10000"/>
              <a:gd name="connsiteY15" fmla="*/ 523 h 10000"/>
              <a:gd name="connsiteX16" fmla="*/ 6289 w 10000"/>
              <a:gd name="connsiteY16" fmla="*/ 0 h 10000"/>
              <a:gd name="connsiteX17" fmla="*/ 7715 w 10000"/>
              <a:gd name="connsiteY17" fmla="*/ 0 h 10000"/>
              <a:gd name="connsiteX18" fmla="*/ 7774 w 10000"/>
              <a:gd name="connsiteY18" fmla="*/ 523 h 10000"/>
              <a:gd name="connsiteX19" fmla="*/ 7774 w 10000"/>
              <a:gd name="connsiteY19" fmla="*/ 7159 h 10000"/>
              <a:gd name="connsiteX20" fmla="*/ 7831 w 10000"/>
              <a:gd name="connsiteY20" fmla="*/ 7682 h 10000"/>
              <a:gd name="connsiteX21" fmla="*/ 10000 w 10000"/>
              <a:gd name="connsiteY21" fmla="*/ 7682 h 10000"/>
              <a:gd name="connsiteX0" fmla="*/ 0 w 8282"/>
              <a:gd name="connsiteY0" fmla="*/ 5609 h 10000"/>
              <a:gd name="connsiteX1" fmla="*/ 368 w 8282"/>
              <a:gd name="connsiteY1" fmla="*/ 5607 h 10000"/>
              <a:gd name="connsiteX2" fmla="*/ 426 w 8282"/>
              <a:gd name="connsiteY2" fmla="*/ 6131 h 10000"/>
              <a:gd name="connsiteX3" fmla="*/ 426 w 8282"/>
              <a:gd name="connsiteY3" fmla="*/ 9477 h 10000"/>
              <a:gd name="connsiteX4" fmla="*/ 487 w 8282"/>
              <a:gd name="connsiteY4" fmla="*/ 10000 h 10000"/>
              <a:gd name="connsiteX5" fmla="*/ 995 w 8282"/>
              <a:gd name="connsiteY5" fmla="*/ 10000 h 10000"/>
              <a:gd name="connsiteX6" fmla="*/ 1051 w 8282"/>
              <a:gd name="connsiteY6" fmla="*/ 9477 h 10000"/>
              <a:gd name="connsiteX7" fmla="*/ 1051 w 8282"/>
              <a:gd name="connsiteY7" fmla="*/ 7178 h 10000"/>
              <a:gd name="connsiteX8" fmla="*/ 1105 w 8282"/>
              <a:gd name="connsiteY8" fmla="*/ 6654 h 10000"/>
              <a:gd name="connsiteX9" fmla="*/ 1733 w 8282"/>
              <a:gd name="connsiteY9" fmla="*/ 6654 h 10000"/>
              <a:gd name="connsiteX10" fmla="*/ 1792 w 8282"/>
              <a:gd name="connsiteY10" fmla="*/ 7178 h 10000"/>
              <a:gd name="connsiteX11" fmla="*/ 1792 w 8282"/>
              <a:gd name="connsiteY11" fmla="*/ 8411 h 10000"/>
              <a:gd name="connsiteX12" fmla="*/ 1848 w 8282"/>
              <a:gd name="connsiteY12" fmla="*/ 8935 h 10000"/>
              <a:gd name="connsiteX13" fmla="*/ 6177 w 8282"/>
              <a:gd name="connsiteY13" fmla="*/ 8935 h 10000"/>
              <a:gd name="connsiteX14" fmla="*/ 6233 w 8282"/>
              <a:gd name="connsiteY14" fmla="*/ 8411 h 10000"/>
              <a:gd name="connsiteX15" fmla="*/ 6233 w 8282"/>
              <a:gd name="connsiteY15" fmla="*/ 523 h 10000"/>
              <a:gd name="connsiteX16" fmla="*/ 6289 w 8282"/>
              <a:gd name="connsiteY16" fmla="*/ 0 h 10000"/>
              <a:gd name="connsiteX17" fmla="*/ 7715 w 8282"/>
              <a:gd name="connsiteY17" fmla="*/ 0 h 10000"/>
              <a:gd name="connsiteX18" fmla="*/ 7774 w 8282"/>
              <a:gd name="connsiteY18" fmla="*/ 523 h 10000"/>
              <a:gd name="connsiteX19" fmla="*/ 7774 w 8282"/>
              <a:gd name="connsiteY19" fmla="*/ 7159 h 10000"/>
              <a:gd name="connsiteX20" fmla="*/ 7831 w 8282"/>
              <a:gd name="connsiteY20" fmla="*/ 7682 h 10000"/>
              <a:gd name="connsiteX21" fmla="*/ 8282 w 8282"/>
              <a:gd name="connsiteY21" fmla="*/ 7682 h 10000"/>
              <a:gd name="connsiteX0" fmla="*/ 0 w 10017"/>
              <a:gd name="connsiteY0" fmla="*/ 5609 h 10000"/>
              <a:gd name="connsiteX1" fmla="*/ 444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44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44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44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44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36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36 w 10017"/>
              <a:gd name="connsiteY1" fmla="*/ 558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36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36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10017" h="10000">
                <a:moveTo>
                  <a:pt x="0" y="5609"/>
                </a:moveTo>
                <a:lnTo>
                  <a:pt x="436" y="5607"/>
                </a:lnTo>
                <a:cubicBezTo>
                  <a:pt x="477" y="5607"/>
                  <a:pt x="514" y="5832"/>
                  <a:pt x="514" y="6131"/>
                </a:cubicBezTo>
                <a:lnTo>
                  <a:pt x="514" y="9477"/>
                </a:lnTo>
                <a:cubicBezTo>
                  <a:pt x="514" y="9757"/>
                  <a:pt x="548" y="10000"/>
                  <a:pt x="588" y="10000"/>
                </a:cubicBezTo>
                <a:lnTo>
                  <a:pt x="1201" y="10000"/>
                </a:lnTo>
                <a:cubicBezTo>
                  <a:pt x="1235" y="10000"/>
                  <a:pt x="1269" y="9757"/>
                  <a:pt x="1269" y="9477"/>
                </a:cubicBezTo>
                <a:lnTo>
                  <a:pt x="1269" y="7178"/>
                </a:lnTo>
                <a:cubicBezTo>
                  <a:pt x="1269" y="6897"/>
                  <a:pt x="1297" y="6654"/>
                  <a:pt x="1334" y="6654"/>
                </a:cubicBezTo>
                <a:lnTo>
                  <a:pt x="2092" y="6654"/>
                </a:lnTo>
                <a:cubicBezTo>
                  <a:pt x="2132" y="6654"/>
                  <a:pt x="2164" y="6897"/>
                  <a:pt x="2164" y="7178"/>
                </a:cubicBezTo>
                <a:lnTo>
                  <a:pt x="2164" y="8411"/>
                </a:lnTo>
                <a:cubicBezTo>
                  <a:pt x="2164" y="8710"/>
                  <a:pt x="2193" y="8935"/>
                  <a:pt x="2231" y="8935"/>
                </a:cubicBezTo>
                <a:lnTo>
                  <a:pt x="7458" y="8935"/>
                </a:lnTo>
                <a:cubicBezTo>
                  <a:pt x="7496" y="8935"/>
                  <a:pt x="7526" y="8710"/>
                  <a:pt x="7526" y="8411"/>
                </a:cubicBezTo>
                <a:lnTo>
                  <a:pt x="7526" y="523"/>
                </a:lnTo>
                <a:cubicBezTo>
                  <a:pt x="7526" y="224"/>
                  <a:pt x="7557" y="0"/>
                  <a:pt x="7594" y="0"/>
                </a:cubicBezTo>
                <a:lnTo>
                  <a:pt x="9315" y="0"/>
                </a:lnTo>
                <a:cubicBezTo>
                  <a:pt x="9356" y="0"/>
                  <a:pt x="9387" y="224"/>
                  <a:pt x="9387" y="523"/>
                </a:cubicBezTo>
                <a:lnTo>
                  <a:pt x="9387" y="7159"/>
                </a:lnTo>
                <a:cubicBezTo>
                  <a:pt x="9387" y="7439"/>
                  <a:pt x="9416" y="7682"/>
                  <a:pt x="9455" y="7682"/>
                </a:cubicBezTo>
                <a:lnTo>
                  <a:pt x="10017" y="7682"/>
                </a:lnTo>
              </a:path>
            </a:pathLst>
          </a:custGeom>
          <a:noFill/>
          <a:ln w="12700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endParaRPr lang="en-US" sz="1800">
              <a:solidFill>
                <a:prstClr val="black"/>
              </a:solidFill>
              <a:latin typeface="Arial"/>
            </a:endParaRPr>
          </a:p>
        </p:txBody>
      </p:sp>
      <p:sp>
        <p:nvSpPr>
          <p:cNvPr id="11" name="Freeform 9"/>
          <p:cNvSpPr>
            <a:spLocks/>
          </p:cNvSpPr>
          <p:nvPr userDrawn="1"/>
        </p:nvSpPr>
        <p:spPr bwMode="gray">
          <a:xfrm>
            <a:off x="-7917" y="4480919"/>
            <a:ext cx="9161634" cy="1894152"/>
          </a:xfrm>
          <a:custGeom>
            <a:avLst/>
            <a:gdLst>
              <a:gd name="T0" fmla="*/ 0 w 8479"/>
              <a:gd name="T1" fmla="*/ 0 h 835"/>
              <a:gd name="T2" fmla="*/ 1311 w 8479"/>
              <a:gd name="T3" fmla="*/ 0 h 835"/>
              <a:gd name="T4" fmla="*/ 1339 w 8479"/>
              <a:gd name="T5" fmla="*/ 28 h 835"/>
              <a:gd name="T6" fmla="*/ 1339 w 8479"/>
              <a:gd name="T7" fmla="*/ 629 h 835"/>
              <a:gd name="T8" fmla="*/ 1366 w 8479"/>
              <a:gd name="T9" fmla="*/ 657 h 835"/>
              <a:gd name="T10" fmla="*/ 2615 w 8479"/>
              <a:gd name="T11" fmla="*/ 657 h 835"/>
              <a:gd name="T12" fmla="*/ 2643 w 8479"/>
              <a:gd name="T13" fmla="*/ 629 h 835"/>
              <a:gd name="T14" fmla="*/ 2643 w 8479"/>
              <a:gd name="T15" fmla="*/ 150 h 835"/>
              <a:gd name="T16" fmla="*/ 2671 w 8479"/>
              <a:gd name="T17" fmla="*/ 122 h 835"/>
              <a:gd name="T18" fmla="*/ 3930 w 8479"/>
              <a:gd name="T19" fmla="*/ 122 h 835"/>
              <a:gd name="T20" fmla="*/ 3958 w 8479"/>
              <a:gd name="T21" fmla="*/ 150 h 835"/>
              <a:gd name="T22" fmla="*/ 3958 w 8479"/>
              <a:gd name="T23" fmla="*/ 807 h 835"/>
              <a:gd name="T24" fmla="*/ 3986 w 8479"/>
              <a:gd name="T25" fmla="*/ 835 h 835"/>
              <a:gd name="T26" fmla="*/ 4855 w 8479"/>
              <a:gd name="T27" fmla="*/ 835 h 835"/>
              <a:gd name="T28" fmla="*/ 4883 w 8479"/>
              <a:gd name="T29" fmla="*/ 807 h 835"/>
              <a:gd name="T30" fmla="*/ 4883 w 8479"/>
              <a:gd name="T31" fmla="*/ 28 h 835"/>
              <a:gd name="T32" fmla="*/ 4911 w 8479"/>
              <a:gd name="T33" fmla="*/ 0 h 835"/>
              <a:gd name="T34" fmla="*/ 5536 w 8479"/>
              <a:gd name="T35" fmla="*/ 0 h 835"/>
              <a:gd name="T36" fmla="*/ 5564 w 8479"/>
              <a:gd name="T37" fmla="*/ 28 h 835"/>
              <a:gd name="T38" fmla="*/ 5564 w 8479"/>
              <a:gd name="T39" fmla="*/ 716 h 835"/>
              <a:gd name="T40" fmla="*/ 5592 w 8479"/>
              <a:gd name="T41" fmla="*/ 744 h 835"/>
              <a:gd name="T42" fmla="*/ 6859 w 8479"/>
              <a:gd name="T43" fmla="*/ 744 h 835"/>
              <a:gd name="T44" fmla="*/ 6887 w 8479"/>
              <a:gd name="T45" fmla="*/ 716 h 835"/>
              <a:gd name="T46" fmla="*/ 6887 w 8479"/>
              <a:gd name="T47" fmla="*/ 148 h 835"/>
              <a:gd name="T48" fmla="*/ 6915 w 8479"/>
              <a:gd name="T49" fmla="*/ 120 h 835"/>
              <a:gd name="T50" fmla="*/ 7337 w 8479"/>
              <a:gd name="T51" fmla="*/ 120 h 835"/>
              <a:gd name="T52" fmla="*/ 7364 w 8479"/>
              <a:gd name="T53" fmla="*/ 148 h 835"/>
              <a:gd name="T54" fmla="*/ 7364 w 8479"/>
              <a:gd name="T55" fmla="*/ 269 h 835"/>
              <a:gd name="T56" fmla="*/ 7392 w 8479"/>
              <a:gd name="T57" fmla="*/ 297 h 835"/>
              <a:gd name="T58" fmla="*/ 8479 w 8479"/>
              <a:gd name="T59" fmla="*/ 297 h 835"/>
              <a:gd name="connsiteX0" fmla="*/ 0 w 8454"/>
              <a:gd name="connsiteY0" fmla="*/ 0 h 10000"/>
              <a:gd name="connsiteX1" fmla="*/ 33 w 8454"/>
              <a:gd name="connsiteY1" fmla="*/ 335 h 10000"/>
              <a:gd name="connsiteX2" fmla="*/ 33 w 8454"/>
              <a:gd name="connsiteY2" fmla="*/ 7533 h 10000"/>
              <a:gd name="connsiteX3" fmla="*/ 65 w 8454"/>
              <a:gd name="connsiteY3" fmla="*/ 7868 h 10000"/>
              <a:gd name="connsiteX4" fmla="*/ 1538 w 8454"/>
              <a:gd name="connsiteY4" fmla="*/ 7868 h 10000"/>
              <a:gd name="connsiteX5" fmla="*/ 1571 w 8454"/>
              <a:gd name="connsiteY5" fmla="*/ 7533 h 10000"/>
              <a:gd name="connsiteX6" fmla="*/ 1571 w 8454"/>
              <a:gd name="connsiteY6" fmla="*/ 1796 h 10000"/>
              <a:gd name="connsiteX7" fmla="*/ 1604 w 8454"/>
              <a:gd name="connsiteY7" fmla="*/ 1461 h 10000"/>
              <a:gd name="connsiteX8" fmla="*/ 3089 w 8454"/>
              <a:gd name="connsiteY8" fmla="*/ 1461 h 10000"/>
              <a:gd name="connsiteX9" fmla="*/ 3122 w 8454"/>
              <a:gd name="connsiteY9" fmla="*/ 1796 h 10000"/>
              <a:gd name="connsiteX10" fmla="*/ 3122 w 8454"/>
              <a:gd name="connsiteY10" fmla="*/ 9665 h 10000"/>
              <a:gd name="connsiteX11" fmla="*/ 3155 w 8454"/>
              <a:gd name="connsiteY11" fmla="*/ 10000 h 10000"/>
              <a:gd name="connsiteX12" fmla="*/ 4180 w 8454"/>
              <a:gd name="connsiteY12" fmla="*/ 10000 h 10000"/>
              <a:gd name="connsiteX13" fmla="*/ 4213 w 8454"/>
              <a:gd name="connsiteY13" fmla="*/ 9665 h 10000"/>
              <a:gd name="connsiteX14" fmla="*/ 4213 w 8454"/>
              <a:gd name="connsiteY14" fmla="*/ 335 h 10000"/>
              <a:gd name="connsiteX15" fmla="*/ 4246 w 8454"/>
              <a:gd name="connsiteY15" fmla="*/ 0 h 10000"/>
              <a:gd name="connsiteX16" fmla="*/ 4983 w 8454"/>
              <a:gd name="connsiteY16" fmla="*/ 0 h 10000"/>
              <a:gd name="connsiteX17" fmla="*/ 5016 w 8454"/>
              <a:gd name="connsiteY17" fmla="*/ 335 h 10000"/>
              <a:gd name="connsiteX18" fmla="*/ 5016 w 8454"/>
              <a:gd name="connsiteY18" fmla="*/ 8575 h 10000"/>
              <a:gd name="connsiteX19" fmla="*/ 5049 w 8454"/>
              <a:gd name="connsiteY19" fmla="*/ 8910 h 10000"/>
              <a:gd name="connsiteX20" fmla="*/ 6543 w 8454"/>
              <a:gd name="connsiteY20" fmla="*/ 8910 h 10000"/>
              <a:gd name="connsiteX21" fmla="*/ 6576 w 8454"/>
              <a:gd name="connsiteY21" fmla="*/ 8575 h 10000"/>
              <a:gd name="connsiteX22" fmla="*/ 6576 w 8454"/>
              <a:gd name="connsiteY22" fmla="*/ 1772 h 10000"/>
              <a:gd name="connsiteX23" fmla="*/ 6609 w 8454"/>
              <a:gd name="connsiteY23" fmla="*/ 1437 h 10000"/>
              <a:gd name="connsiteX24" fmla="*/ 7107 w 8454"/>
              <a:gd name="connsiteY24" fmla="*/ 1437 h 10000"/>
              <a:gd name="connsiteX25" fmla="*/ 7139 w 8454"/>
              <a:gd name="connsiteY25" fmla="*/ 1772 h 10000"/>
              <a:gd name="connsiteX26" fmla="*/ 7139 w 8454"/>
              <a:gd name="connsiteY26" fmla="*/ 3222 h 10000"/>
              <a:gd name="connsiteX27" fmla="*/ 7172 w 8454"/>
              <a:gd name="connsiteY27" fmla="*/ 3557 h 10000"/>
              <a:gd name="connsiteX28" fmla="*/ 8454 w 8454"/>
              <a:gd name="connsiteY28" fmla="*/ 3557 h 10000"/>
              <a:gd name="connsiteX0" fmla="*/ 0 w 9961"/>
              <a:gd name="connsiteY0" fmla="*/ 335 h 10000"/>
              <a:gd name="connsiteX1" fmla="*/ 0 w 9961"/>
              <a:gd name="connsiteY1" fmla="*/ 7533 h 10000"/>
              <a:gd name="connsiteX2" fmla="*/ 38 w 9961"/>
              <a:gd name="connsiteY2" fmla="*/ 7868 h 10000"/>
              <a:gd name="connsiteX3" fmla="*/ 1780 w 9961"/>
              <a:gd name="connsiteY3" fmla="*/ 7868 h 10000"/>
              <a:gd name="connsiteX4" fmla="*/ 1819 w 9961"/>
              <a:gd name="connsiteY4" fmla="*/ 7533 h 10000"/>
              <a:gd name="connsiteX5" fmla="*/ 1819 w 9961"/>
              <a:gd name="connsiteY5" fmla="*/ 1796 h 10000"/>
              <a:gd name="connsiteX6" fmla="*/ 1858 w 9961"/>
              <a:gd name="connsiteY6" fmla="*/ 1461 h 10000"/>
              <a:gd name="connsiteX7" fmla="*/ 3615 w 9961"/>
              <a:gd name="connsiteY7" fmla="*/ 1461 h 10000"/>
              <a:gd name="connsiteX8" fmla="*/ 3654 w 9961"/>
              <a:gd name="connsiteY8" fmla="*/ 1796 h 10000"/>
              <a:gd name="connsiteX9" fmla="*/ 3654 w 9961"/>
              <a:gd name="connsiteY9" fmla="*/ 9665 h 10000"/>
              <a:gd name="connsiteX10" fmla="*/ 3693 w 9961"/>
              <a:gd name="connsiteY10" fmla="*/ 10000 h 10000"/>
              <a:gd name="connsiteX11" fmla="*/ 4905 w 9961"/>
              <a:gd name="connsiteY11" fmla="*/ 10000 h 10000"/>
              <a:gd name="connsiteX12" fmla="*/ 4944 w 9961"/>
              <a:gd name="connsiteY12" fmla="*/ 9665 h 10000"/>
              <a:gd name="connsiteX13" fmla="*/ 4944 w 9961"/>
              <a:gd name="connsiteY13" fmla="*/ 335 h 10000"/>
              <a:gd name="connsiteX14" fmla="*/ 4983 w 9961"/>
              <a:gd name="connsiteY14" fmla="*/ 0 h 10000"/>
              <a:gd name="connsiteX15" fmla="*/ 5855 w 9961"/>
              <a:gd name="connsiteY15" fmla="*/ 0 h 10000"/>
              <a:gd name="connsiteX16" fmla="*/ 5894 w 9961"/>
              <a:gd name="connsiteY16" fmla="*/ 335 h 10000"/>
              <a:gd name="connsiteX17" fmla="*/ 5894 w 9961"/>
              <a:gd name="connsiteY17" fmla="*/ 8575 h 10000"/>
              <a:gd name="connsiteX18" fmla="*/ 5933 w 9961"/>
              <a:gd name="connsiteY18" fmla="*/ 8910 h 10000"/>
              <a:gd name="connsiteX19" fmla="*/ 7701 w 9961"/>
              <a:gd name="connsiteY19" fmla="*/ 8910 h 10000"/>
              <a:gd name="connsiteX20" fmla="*/ 7740 w 9961"/>
              <a:gd name="connsiteY20" fmla="*/ 8575 h 10000"/>
              <a:gd name="connsiteX21" fmla="*/ 7740 w 9961"/>
              <a:gd name="connsiteY21" fmla="*/ 1772 h 10000"/>
              <a:gd name="connsiteX22" fmla="*/ 7779 w 9961"/>
              <a:gd name="connsiteY22" fmla="*/ 1437 h 10000"/>
              <a:gd name="connsiteX23" fmla="*/ 8368 w 9961"/>
              <a:gd name="connsiteY23" fmla="*/ 1437 h 10000"/>
              <a:gd name="connsiteX24" fmla="*/ 8406 w 9961"/>
              <a:gd name="connsiteY24" fmla="*/ 1772 h 10000"/>
              <a:gd name="connsiteX25" fmla="*/ 8406 w 9961"/>
              <a:gd name="connsiteY25" fmla="*/ 3222 h 10000"/>
              <a:gd name="connsiteX26" fmla="*/ 8445 w 9961"/>
              <a:gd name="connsiteY26" fmla="*/ 3557 h 10000"/>
              <a:gd name="connsiteX27" fmla="*/ 9961 w 9961"/>
              <a:gd name="connsiteY27" fmla="*/ 3557 h 10000"/>
              <a:gd name="connsiteX0" fmla="*/ 0 w 10000"/>
              <a:gd name="connsiteY0" fmla="*/ 7533 h 10000"/>
              <a:gd name="connsiteX1" fmla="*/ 38 w 10000"/>
              <a:gd name="connsiteY1" fmla="*/ 7868 h 10000"/>
              <a:gd name="connsiteX2" fmla="*/ 1787 w 10000"/>
              <a:gd name="connsiteY2" fmla="*/ 7868 h 10000"/>
              <a:gd name="connsiteX3" fmla="*/ 1826 w 10000"/>
              <a:gd name="connsiteY3" fmla="*/ 7533 h 10000"/>
              <a:gd name="connsiteX4" fmla="*/ 1826 w 10000"/>
              <a:gd name="connsiteY4" fmla="*/ 1796 h 10000"/>
              <a:gd name="connsiteX5" fmla="*/ 1865 w 10000"/>
              <a:gd name="connsiteY5" fmla="*/ 1461 h 10000"/>
              <a:gd name="connsiteX6" fmla="*/ 3629 w 10000"/>
              <a:gd name="connsiteY6" fmla="*/ 1461 h 10000"/>
              <a:gd name="connsiteX7" fmla="*/ 3668 w 10000"/>
              <a:gd name="connsiteY7" fmla="*/ 1796 h 10000"/>
              <a:gd name="connsiteX8" fmla="*/ 3668 w 10000"/>
              <a:gd name="connsiteY8" fmla="*/ 9665 h 10000"/>
              <a:gd name="connsiteX9" fmla="*/ 3707 w 10000"/>
              <a:gd name="connsiteY9" fmla="*/ 10000 h 10000"/>
              <a:gd name="connsiteX10" fmla="*/ 4924 w 10000"/>
              <a:gd name="connsiteY10" fmla="*/ 10000 h 10000"/>
              <a:gd name="connsiteX11" fmla="*/ 4963 w 10000"/>
              <a:gd name="connsiteY11" fmla="*/ 9665 h 10000"/>
              <a:gd name="connsiteX12" fmla="*/ 4963 w 10000"/>
              <a:gd name="connsiteY12" fmla="*/ 335 h 10000"/>
              <a:gd name="connsiteX13" fmla="*/ 5003 w 10000"/>
              <a:gd name="connsiteY13" fmla="*/ 0 h 10000"/>
              <a:gd name="connsiteX14" fmla="*/ 5878 w 10000"/>
              <a:gd name="connsiteY14" fmla="*/ 0 h 10000"/>
              <a:gd name="connsiteX15" fmla="*/ 5917 w 10000"/>
              <a:gd name="connsiteY15" fmla="*/ 335 h 10000"/>
              <a:gd name="connsiteX16" fmla="*/ 5917 w 10000"/>
              <a:gd name="connsiteY16" fmla="*/ 8575 h 10000"/>
              <a:gd name="connsiteX17" fmla="*/ 5956 w 10000"/>
              <a:gd name="connsiteY17" fmla="*/ 8910 h 10000"/>
              <a:gd name="connsiteX18" fmla="*/ 7731 w 10000"/>
              <a:gd name="connsiteY18" fmla="*/ 8910 h 10000"/>
              <a:gd name="connsiteX19" fmla="*/ 7770 w 10000"/>
              <a:gd name="connsiteY19" fmla="*/ 8575 h 10000"/>
              <a:gd name="connsiteX20" fmla="*/ 7770 w 10000"/>
              <a:gd name="connsiteY20" fmla="*/ 1772 h 10000"/>
              <a:gd name="connsiteX21" fmla="*/ 7809 w 10000"/>
              <a:gd name="connsiteY21" fmla="*/ 1437 h 10000"/>
              <a:gd name="connsiteX22" fmla="*/ 8401 w 10000"/>
              <a:gd name="connsiteY22" fmla="*/ 1437 h 10000"/>
              <a:gd name="connsiteX23" fmla="*/ 8439 w 10000"/>
              <a:gd name="connsiteY23" fmla="*/ 1772 h 10000"/>
              <a:gd name="connsiteX24" fmla="*/ 8439 w 10000"/>
              <a:gd name="connsiteY24" fmla="*/ 3222 h 10000"/>
              <a:gd name="connsiteX25" fmla="*/ 8478 w 10000"/>
              <a:gd name="connsiteY25" fmla="*/ 3557 h 10000"/>
              <a:gd name="connsiteX26" fmla="*/ 10000 w 10000"/>
              <a:gd name="connsiteY26" fmla="*/ 3557 h 10000"/>
              <a:gd name="connsiteX0" fmla="*/ 0 w 9962"/>
              <a:gd name="connsiteY0" fmla="*/ 7868 h 10000"/>
              <a:gd name="connsiteX1" fmla="*/ 1749 w 9962"/>
              <a:gd name="connsiteY1" fmla="*/ 7868 h 10000"/>
              <a:gd name="connsiteX2" fmla="*/ 1788 w 9962"/>
              <a:gd name="connsiteY2" fmla="*/ 7533 h 10000"/>
              <a:gd name="connsiteX3" fmla="*/ 1788 w 9962"/>
              <a:gd name="connsiteY3" fmla="*/ 1796 h 10000"/>
              <a:gd name="connsiteX4" fmla="*/ 1827 w 9962"/>
              <a:gd name="connsiteY4" fmla="*/ 1461 h 10000"/>
              <a:gd name="connsiteX5" fmla="*/ 3591 w 9962"/>
              <a:gd name="connsiteY5" fmla="*/ 1461 h 10000"/>
              <a:gd name="connsiteX6" fmla="*/ 3630 w 9962"/>
              <a:gd name="connsiteY6" fmla="*/ 1796 h 10000"/>
              <a:gd name="connsiteX7" fmla="*/ 3630 w 9962"/>
              <a:gd name="connsiteY7" fmla="*/ 9665 h 10000"/>
              <a:gd name="connsiteX8" fmla="*/ 3669 w 9962"/>
              <a:gd name="connsiteY8" fmla="*/ 10000 h 10000"/>
              <a:gd name="connsiteX9" fmla="*/ 4886 w 9962"/>
              <a:gd name="connsiteY9" fmla="*/ 10000 h 10000"/>
              <a:gd name="connsiteX10" fmla="*/ 4925 w 9962"/>
              <a:gd name="connsiteY10" fmla="*/ 9665 h 10000"/>
              <a:gd name="connsiteX11" fmla="*/ 4925 w 9962"/>
              <a:gd name="connsiteY11" fmla="*/ 335 h 10000"/>
              <a:gd name="connsiteX12" fmla="*/ 4965 w 9962"/>
              <a:gd name="connsiteY12" fmla="*/ 0 h 10000"/>
              <a:gd name="connsiteX13" fmla="*/ 5840 w 9962"/>
              <a:gd name="connsiteY13" fmla="*/ 0 h 10000"/>
              <a:gd name="connsiteX14" fmla="*/ 5879 w 9962"/>
              <a:gd name="connsiteY14" fmla="*/ 335 h 10000"/>
              <a:gd name="connsiteX15" fmla="*/ 5879 w 9962"/>
              <a:gd name="connsiteY15" fmla="*/ 8575 h 10000"/>
              <a:gd name="connsiteX16" fmla="*/ 5918 w 9962"/>
              <a:gd name="connsiteY16" fmla="*/ 8910 h 10000"/>
              <a:gd name="connsiteX17" fmla="*/ 7693 w 9962"/>
              <a:gd name="connsiteY17" fmla="*/ 8910 h 10000"/>
              <a:gd name="connsiteX18" fmla="*/ 7732 w 9962"/>
              <a:gd name="connsiteY18" fmla="*/ 8575 h 10000"/>
              <a:gd name="connsiteX19" fmla="*/ 7732 w 9962"/>
              <a:gd name="connsiteY19" fmla="*/ 1772 h 10000"/>
              <a:gd name="connsiteX20" fmla="*/ 7771 w 9962"/>
              <a:gd name="connsiteY20" fmla="*/ 1437 h 10000"/>
              <a:gd name="connsiteX21" fmla="*/ 8363 w 9962"/>
              <a:gd name="connsiteY21" fmla="*/ 1437 h 10000"/>
              <a:gd name="connsiteX22" fmla="*/ 8401 w 9962"/>
              <a:gd name="connsiteY22" fmla="*/ 1772 h 10000"/>
              <a:gd name="connsiteX23" fmla="*/ 8401 w 9962"/>
              <a:gd name="connsiteY23" fmla="*/ 3222 h 10000"/>
              <a:gd name="connsiteX24" fmla="*/ 8440 w 9962"/>
              <a:gd name="connsiteY24" fmla="*/ 3557 h 10000"/>
              <a:gd name="connsiteX25" fmla="*/ 9962 w 9962"/>
              <a:gd name="connsiteY25" fmla="*/ 3557 h 10000"/>
              <a:gd name="connsiteX0" fmla="*/ 0 w 8472"/>
              <a:gd name="connsiteY0" fmla="*/ 7868 h 10000"/>
              <a:gd name="connsiteX1" fmla="*/ 1756 w 8472"/>
              <a:gd name="connsiteY1" fmla="*/ 7868 h 10000"/>
              <a:gd name="connsiteX2" fmla="*/ 1795 w 8472"/>
              <a:gd name="connsiteY2" fmla="*/ 7533 h 10000"/>
              <a:gd name="connsiteX3" fmla="*/ 1795 w 8472"/>
              <a:gd name="connsiteY3" fmla="*/ 1796 h 10000"/>
              <a:gd name="connsiteX4" fmla="*/ 1834 w 8472"/>
              <a:gd name="connsiteY4" fmla="*/ 1461 h 10000"/>
              <a:gd name="connsiteX5" fmla="*/ 3605 w 8472"/>
              <a:gd name="connsiteY5" fmla="*/ 1461 h 10000"/>
              <a:gd name="connsiteX6" fmla="*/ 3644 w 8472"/>
              <a:gd name="connsiteY6" fmla="*/ 1796 h 10000"/>
              <a:gd name="connsiteX7" fmla="*/ 3644 w 8472"/>
              <a:gd name="connsiteY7" fmla="*/ 9665 h 10000"/>
              <a:gd name="connsiteX8" fmla="*/ 3683 w 8472"/>
              <a:gd name="connsiteY8" fmla="*/ 10000 h 10000"/>
              <a:gd name="connsiteX9" fmla="*/ 4905 w 8472"/>
              <a:gd name="connsiteY9" fmla="*/ 10000 h 10000"/>
              <a:gd name="connsiteX10" fmla="*/ 4944 w 8472"/>
              <a:gd name="connsiteY10" fmla="*/ 9665 h 10000"/>
              <a:gd name="connsiteX11" fmla="*/ 4944 w 8472"/>
              <a:gd name="connsiteY11" fmla="*/ 335 h 10000"/>
              <a:gd name="connsiteX12" fmla="*/ 4984 w 8472"/>
              <a:gd name="connsiteY12" fmla="*/ 0 h 10000"/>
              <a:gd name="connsiteX13" fmla="*/ 5862 w 8472"/>
              <a:gd name="connsiteY13" fmla="*/ 0 h 10000"/>
              <a:gd name="connsiteX14" fmla="*/ 5901 w 8472"/>
              <a:gd name="connsiteY14" fmla="*/ 335 h 10000"/>
              <a:gd name="connsiteX15" fmla="*/ 5901 w 8472"/>
              <a:gd name="connsiteY15" fmla="*/ 8575 h 10000"/>
              <a:gd name="connsiteX16" fmla="*/ 5941 w 8472"/>
              <a:gd name="connsiteY16" fmla="*/ 8910 h 10000"/>
              <a:gd name="connsiteX17" fmla="*/ 7722 w 8472"/>
              <a:gd name="connsiteY17" fmla="*/ 8910 h 10000"/>
              <a:gd name="connsiteX18" fmla="*/ 7761 w 8472"/>
              <a:gd name="connsiteY18" fmla="*/ 8575 h 10000"/>
              <a:gd name="connsiteX19" fmla="*/ 7761 w 8472"/>
              <a:gd name="connsiteY19" fmla="*/ 1772 h 10000"/>
              <a:gd name="connsiteX20" fmla="*/ 7801 w 8472"/>
              <a:gd name="connsiteY20" fmla="*/ 1437 h 10000"/>
              <a:gd name="connsiteX21" fmla="*/ 8395 w 8472"/>
              <a:gd name="connsiteY21" fmla="*/ 1437 h 10000"/>
              <a:gd name="connsiteX22" fmla="*/ 8433 w 8472"/>
              <a:gd name="connsiteY22" fmla="*/ 1772 h 10000"/>
              <a:gd name="connsiteX23" fmla="*/ 8433 w 8472"/>
              <a:gd name="connsiteY23" fmla="*/ 3222 h 10000"/>
              <a:gd name="connsiteX24" fmla="*/ 8472 w 8472"/>
              <a:gd name="connsiteY24" fmla="*/ 3557 h 10000"/>
              <a:gd name="connsiteX0" fmla="*/ 0 w 9954"/>
              <a:gd name="connsiteY0" fmla="*/ 7868 h 10000"/>
              <a:gd name="connsiteX1" fmla="*/ 2073 w 9954"/>
              <a:gd name="connsiteY1" fmla="*/ 7868 h 10000"/>
              <a:gd name="connsiteX2" fmla="*/ 2119 w 9954"/>
              <a:gd name="connsiteY2" fmla="*/ 7533 h 10000"/>
              <a:gd name="connsiteX3" fmla="*/ 2119 w 9954"/>
              <a:gd name="connsiteY3" fmla="*/ 1796 h 10000"/>
              <a:gd name="connsiteX4" fmla="*/ 2165 w 9954"/>
              <a:gd name="connsiteY4" fmla="*/ 1461 h 10000"/>
              <a:gd name="connsiteX5" fmla="*/ 4255 w 9954"/>
              <a:gd name="connsiteY5" fmla="*/ 1461 h 10000"/>
              <a:gd name="connsiteX6" fmla="*/ 4301 w 9954"/>
              <a:gd name="connsiteY6" fmla="*/ 1796 h 10000"/>
              <a:gd name="connsiteX7" fmla="*/ 4301 w 9954"/>
              <a:gd name="connsiteY7" fmla="*/ 9665 h 10000"/>
              <a:gd name="connsiteX8" fmla="*/ 4347 w 9954"/>
              <a:gd name="connsiteY8" fmla="*/ 10000 h 10000"/>
              <a:gd name="connsiteX9" fmla="*/ 5790 w 9954"/>
              <a:gd name="connsiteY9" fmla="*/ 10000 h 10000"/>
              <a:gd name="connsiteX10" fmla="*/ 5836 w 9954"/>
              <a:gd name="connsiteY10" fmla="*/ 9665 h 10000"/>
              <a:gd name="connsiteX11" fmla="*/ 5836 w 9954"/>
              <a:gd name="connsiteY11" fmla="*/ 335 h 10000"/>
              <a:gd name="connsiteX12" fmla="*/ 5883 w 9954"/>
              <a:gd name="connsiteY12" fmla="*/ 0 h 10000"/>
              <a:gd name="connsiteX13" fmla="*/ 6919 w 9954"/>
              <a:gd name="connsiteY13" fmla="*/ 0 h 10000"/>
              <a:gd name="connsiteX14" fmla="*/ 6965 w 9954"/>
              <a:gd name="connsiteY14" fmla="*/ 335 h 10000"/>
              <a:gd name="connsiteX15" fmla="*/ 6965 w 9954"/>
              <a:gd name="connsiteY15" fmla="*/ 8575 h 10000"/>
              <a:gd name="connsiteX16" fmla="*/ 7013 w 9954"/>
              <a:gd name="connsiteY16" fmla="*/ 8910 h 10000"/>
              <a:gd name="connsiteX17" fmla="*/ 9115 w 9954"/>
              <a:gd name="connsiteY17" fmla="*/ 8910 h 10000"/>
              <a:gd name="connsiteX18" fmla="*/ 9161 w 9954"/>
              <a:gd name="connsiteY18" fmla="*/ 8575 h 10000"/>
              <a:gd name="connsiteX19" fmla="*/ 9161 w 9954"/>
              <a:gd name="connsiteY19" fmla="*/ 1772 h 10000"/>
              <a:gd name="connsiteX20" fmla="*/ 9208 w 9954"/>
              <a:gd name="connsiteY20" fmla="*/ 1437 h 10000"/>
              <a:gd name="connsiteX21" fmla="*/ 9909 w 9954"/>
              <a:gd name="connsiteY21" fmla="*/ 1437 h 10000"/>
              <a:gd name="connsiteX22" fmla="*/ 9954 w 9954"/>
              <a:gd name="connsiteY22" fmla="*/ 1772 h 10000"/>
              <a:gd name="connsiteX23" fmla="*/ 9954 w 9954"/>
              <a:gd name="connsiteY23" fmla="*/ 3222 h 10000"/>
              <a:gd name="connsiteX0" fmla="*/ 0 w 10000"/>
              <a:gd name="connsiteY0" fmla="*/ 7868 h 10000"/>
              <a:gd name="connsiteX1" fmla="*/ 2083 w 10000"/>
              <a:gd name="connsiteY1" fmla="*/ 7868 h 10000"/>
              <a:gd name="connsiteX2" fmla="*/ 2129 w 10000"/>
              <a:gd name="connsiteY2" fmla="*/ 7533 h 10000"/>
              <a:gd name="connsiteX3" fmla="*/ 2129 w 10000"/>
              <a:gd name="connsiteY3" fmla="*/ 1796 h 10000"/>
              <a:gd name="connsiteX4" fmla="*/ 2175 w 10000"/>
              <a:gd name="connsiteY4" fmla="*/ 1461 h 10000"/>
              <a:gd name="connsiteX5" fmla="*/ 4275 w 10000"/>
              <a:gd name="connsiteY5" fmla="*/ 1461 h 10000"/>
              <a:gd name="connsiteX6" fmla="*/ 4321 w 10000"/>
              <a:gd name="connsiteY6" fmla="*/ 1796 h 10000"/>
              <a:gd name="connsiteX7" fmla="*/ 4321 w 10000"/>
              <a:gd name="connsiteY7" fmla="*/ 9665 h 10000"/>
              <a:gd name="connsiteX8" fmla="*/ 4367 w 10000"/>
              <a:gd name="connsiteY8" fmla="*/ 10000 h 10000"/>
              <a:gd name="connsiteX9" fmla="*/ 5817 w 10000"/>
              <a:gd name="connsiteY9" fmla="*/ 10000 h 10000"/>
              <a:gd name="connsiteX10" fmla="*/ 5863 w 10000"/>
              <a:gd name="connsiteY10" fmla="*/ 9665 h 10000"/>
              <a:gd name="connsiteX11" fmla="*/ 5863 w 10000"/>
              <a:gd name="connsiteY11" fmla="*/ 335 h 10000"/>
              <a:gd name="connsiteX12" fmla="*/ 5910 w 10000"/>
              <a:gd name="connsiteY12" fmla="*/ 0 h 10000"/>
              <a:gd name="connsiteX13" fmla="*/ 6951 w 10000"/>
              <a:gd name="connsiteY13" fmla="*/ 0 h 10000"/>
              <a:gd name="connsiteX14" fmla="*/ 6997 w 10000"/>
              <a:gd name="connsiteY14" fmla="*/ 335 h 10000"/>
              <a:gd name="connsiteX15" fmla="*/ 6997 w 10000"/>
              <a:gd name="connsiteY15" fmla="*/ 8575 h 10000"/>
              <a:gd name="connsiteX16" fmla="*/ 7045 w 10000"/>
              <a:gd name="connsiteY16" fmla="*/ 8910 h 10000"/>
              <a:gd name="connsiteX17" fmla="*/ 9157 w 10000"/>
              <a:gd name="connsiteY17" fmla="*/ 8910 h 10000"/>
              <a:gd name="connsiteX18" fmla="*/ 9203 w 10000"/>
              <a:gd name="connsiteY18" fmla="*/ 8575 h 10000"/>
              <a:gd name="connsiteX19" fmla="*/ 9203 w 10000"/>
              <a:gd name="connsiteY19" fmla="*/ 1772 h 10000"/>
              <a:gd name="connsiteX20" fmla="*/ 9251 w 10000"/>
              <a:gd name="connsiteY20" fmla="*/ 1437 h 10000"/>
              <a:gd name="connsiteX21" fmla="*/ 9955 w 10000"/>
              <a:gd name="connsiteY21" fmla="*/ 1437 h 10000"/>
              <a:gd name="connsiteX22" fmla="*/ 10000 w 10000"/>
              <a:gd name="connsiteY22" fmla="*/ 1772 h 10000"/>
              <a:gd name="connsiteX0" fmla="*/ 0 w 9955"/>
              <a:gd name="connsiteY0" fmla="*/ 7868 h 10000"/>
              <a:gd name="connsiteX1" fmla="*/ 2083 w 9955"/>
              <a:gd name="connsiteY1" fmla="*/ 7868 h 10000"/>
              <a:gd name="connsiteX2" fmla="*/ 2129 w 9955"/>
              <a:gd name="connsiteY2" fmla="*/ 7533 h 10000"/>
              <a:gd name="connsiteX3" fmla="*/ 2129 w 9955"/>
              <a:gd name="connsiteY3" fmla="*/ 1796 h 10000"/>
              <a:gd name="connsiteX4" fmla="*/ 2175 w 9955"/>
              <a:gd name="connsiteY4" fmla="*/ 1461 h 10000"/>
              <a:gd name="connsiteX5" fmla="*/ 4275 w 9955"/>
              <a:gd name="connsiteY5" fmla="*/ 1461 h 10000"/>
              <a:gd name="connsiteX6" fmla="*/ 4321 w 9955"/>
              <a:gd name="connsiteY6" fmla="*/ 1796 h 10000"/>
              <a:gd name="connsiteX7" fmla="*/ 4321 w 9955"/>
              <a:gd name="connsiteY7" fmla="*/ 9665 h 10000"/>
              <a:gd name="connsiteX8" fmla="*/ 4367 w 9955"/>
              <a:gd name="connsiteY8" fmla="*/ 10000 h 10000"/>
              <a:gd name="connsiteX9" fmla="*/ 5817 w 9955"/>
              <a:gd name="connsiteY9" fmla="*/ 10000 h 10000"/>
              <a:gd name="connsiteX10" fmla="*/ 5863 w 9955"/>
              <a:gd name="connsiteY10" fmla="*/ 9665 h 10000"/>
              <a:gd name="connsiteX11" fmla="*/ 5863 w 9955"/>
              <a:gd name="connsiteY11" fmla="*/ 335 h 10000"/>
              <a:gd name="connsiteX12" fmla="*/ 5910 w 9955"/>
              <a:gd name="connsiteY12" fmla="*/ 0 h 10000"/>
              <a:gd name="connsiteX13" fmla="*/ 6951 w 9955"/>
              <a:gd name="connsiteY13" fmla="*/ 0 h 10000"/>
              <a:gd name="connsiteX14" fmla="*/ 6997 w 9955"/>
              <a:gd name="connsiteY14" fmla="*/ 335 h 10000"/>
              <a:gd name="connsiteX15" fmla="*/ 6997 w 9955"/>
              <a:gd name="connsiteY15" fmla="*/ 8575 h 10000"/>
              <a:gd name="connsiteX16" fmla="*/ 7045 w 9955"/>
              <a:gd name="connsiteY16" fmla="*/ 8910 h 10000"/>
              <a:gd name="connsiteX17" fmla="*/ 9157 w 9955"/>
              <a:gd name="connsiteY17" fmla="*/ 8910 h 10000"/>
              <a:gd name="connsiteX18" fmla="*/ 9203 w 9955"/>
              <a:gd name="connsiteY18" fmla="*/ 8575 h 10000"/>
              <a:gd name="connsiteX19" fmla="*/ 9203 w 9955"/>
              <a:gd name="connsiteY19" fmla="*/ 1772 h 10000"/>
              <a:gd name="connsiteX20" fmla="*/ 9251 w 9955"/>
              <a:gd name="connsiteY20" fmla="*/ 1437 h 10000"/>
              <a:gd name="connsiteX21" fmla="*/ 9955 w 9955"/>
              <a:gd name="connsiteY21" fmla="*/ 1437 h 10000"/>
              <a:gd name="connsiteX0" fmla="*/ 0 w 9293"/>
              <a:gd name="connsiteY0" fmla="*/ 7868 h 10000"/>
              <a:gd name="connsiteX1" fmla="*/ 2092 w 9293"/>
              <a:gd name="connsiteY1" fmla="*/ 7868 h 10000"/>
              <a:gd name="connsiteX2" fmla="*/ 2139 w 9293"/>
              <a:gd name="connsiteY2" fmla="*/ 7533 h 10000"/>
              <a:gd name="connsiteX3" fmla="*/ 2139 w 9293"/>
              <a:gd name="connsiteY3" fmla="*/ 1796 h 10000"/>
              <a:gd name="connsiteX4" fmla="*/ 2185 w 9293"/>
              <a:gd name="connsiteY4" fmla="*/ 1461 h 10000"/>
              <a:gd name="connsiteX5" fmla="*/ 4294 w 9293"/>
              <a:gd name="connsiteY5" fmla="*/ 1461 h 10000"/>
              <a:gd name="connsiteX6" fmla="*/ 4341 w 9293"/>
              <a:gd name="connsiteY6" fmla="*/ 1796 h 10000"/>
              <a:gd name="connsiteX7" fmla="*/ 4341 w 9293"/>
              <a:gd name="connsiteY7" fmla="*/ 9665 h 10000"/>
              <a:gd name="connsiteX8" fmla="*/ 4387 w 9293"/>
              <a:gd name="connsiteY8" fmla="*/ 10000 h 10000"/>
              <a:gd name="connsiteX9" fmla="*/ 5843 w 9293"/>
              <a:gd name="connsiteY9" fmla="*/ 10000 h 10000"/>
              <a:gd name="connsiteX10" fmla="*/ 5890 w 9293"/>
              <a:gd name="connsiteY10" fmla="*/ 9665 h 10000"/>
              <a:gd name="connsiteX11" fmla="*/ 5890 w 9293"/>
              <a:gd name="connsiteY11" fmla="*/ 335 h 10000"/>
              <a:gd name="connsiteX12" fmla="*/ 5937 w 9293"/>
              <a:gd name="connsiteY12" fmla="*/ 0 h 10000"/>
              <a:gd name="connsiteX13" fmla="*/ 6982 w 9293"/>
              <a:gd name="connsiteY13" fmla="*/ 0 h 10000"/>
              <a:gd name="connsiteX14" fmla="*/ 7029 w 9293"/>
              <a:gd name="connsiteY14" fmla="*/ 335 h 10000"/>
              <a:gd name="connsiteX15" fmla="*/ 7029 w 9293"/>
              <a:gd name="connsiteY15" fmla="*/ 8575 h 10000"/>
              <a:gd name="connsiteX16" fmla="*/ 7077 w 9293"/>
              <a:gd name="connsiteY16" fmla="*/ 8910 h 10000"/>
              <a:gd name="connsiteX17" fmla="*/ 9198 w 9293"/>
              <a:gd name="connsiteY17" fmla="*/ 8910 h 10000"/>
              <a:gd name="connsiteX18" fmla="*/ 9245 w 9293"/>
              <a:gd name="connsiteY18" fmla="*/ 8575 h 10000"/>
              <a:gd name="connsiteX19" fmla="*/ 9245 w 9293"/>
              <a:gd name="connsiteY19" fmla="*/ 1772 h 10000"/>
              <a:gd name="connsiteX20" fmla="*/ 9293 w 9293"/>
              <a:gd name="connsiteY20" fmla="*/ 1437 h 10000"/>
              <a:gd name="connsiteX0" fmla="*/ 0 w 9948"/>
              <a:gd name="connsiteY0" fmla="*/ 7868 h 10000"/>
              <a:gd name="connsiteX1" fmla="*/ 2251 w 9948"/>
              <a:gd name="connsiteY1" fmla="*/ 7868 h 10000"/>
              <a:gd name="connsiteX2" fmla="*/ 2302 w 9948"/>
              <a:gd name="connsiteY2" fmla="*/ 7533 h 10000"/>
              <a:gd name="connsiteX3" fmla="*/ 2302 w 9948"/>
              <a:gd name="connsiteY3" fmla="*/ 1796 h 10000"/>
              <a:gd name="connsiteX4" fmla="*/ 2351 w 9948"/>
              <a:gd name="connsiteY4" fmla="*/ 1461 h 10000"/>
              <a:gd name="connsiteX5" fmla="*/ 4621 w 9948"/>
              <a:gd name="connsiteY5" fmla="*/ 1461 h 10000"/>
              <a:gd name="connsiteX6" fmla="*/ 4671 w 9948"/>
              <a:gd name="connsiteY6" fmla="*/ 1796 h 10000"/>
              <a:gd name="connsiteX7" fmla="*/ 4671 w 9948"/>
              <a:gd name="connsiteY7" fmla="*/ 9665 h 10000"/>
              <a:gd name="connsiteX8" fmla="*/ 4721 w 9948"/>
              <a:gd name="connsiteY8" fmla="*/ 10000 h 10000"/>
              <a:gd name="connsiteX9" fmla="*/ 6288 w 9948"/>
              <a:gd name="connsiteY9" fmla="*/ 10000 h 10000"/>
              <a:gd name="connsiteX10" fmla="*/ 6338 w 9948"/>
              <a:gd name="connsiteY10" fmla="*/ 9665 h 10000"/>
              <a:gd name="connsiteX11" fmla="*/ 6338 w 9948"/>
              <a:gd name="connsiteY11" fmla="*/ 335 h 10000"/>
              <a:gd name="connsiteX12" fmla="*/ 6389 w 9948"/>
              <a:gd name="connsiteY12" fmla="*/ 0 h 10000"/>
              <a:gd name="connsiteX13" fmla="*/ 7513 w 9948"/>
              <a:gd name="connsiteY13" fmla="*/ 0 h 10000"/>
              <a:gd name="connsiteX14" fmla="*/ 7564 w 9948"/>
              <a:gd name="connsiteY14" fmla="*/ 335 h 10000"/>
              <a:gd name="connsiteX15" fmla="*/ 7564 w 9948"/>
              <a:gd name="connsiteY15" fmla="*/ 8575 h 10000"/>
              <a:gd name="connsiteX16" fmla="*/ 7615 w 9948"/>
              <a:gd name="connsiteY16" fmla="*/ 8910 h 10000"/>
              <a:gd name="connsiteX17" fmla="*/ 9898 w 9948"/>
              <a:gd name="connsiteY17" fmla="*/ 8910 h 10000"/>
              <a:gd name="connsiteX18" fmla="*/ 9948 w 9948"/>
              <a:gd name="connsiteY18" fmla="*/ 8575 h 10000"/>
              <a:gd name="connsiteX19" fmla="*/ 9948 w 9948"/>
              <a:gd name="connsiteY19" fmla="*/ 1772 h 10000"/>
              <a:gd name="connsiteX0" fmla="*/ 0 w 10000"/>
              <a:gd name="connsiteY0" fmla="*/ 7868 h 10000"/>
              <a:gd name="connsiteX1" fmla="*/ 2263 w 10000"/>
              <a:gd name="connsiteY1" fmla="*/ 7868 h 10000"/>
              <a:gd name="connsiteX2" fmla="*/ 2314 w 10000"/>
              <a:gd name="connsiteY2" fmla="*/ 7533 h 10000"/>
              <a:gd name="connsiteX3" fmla="*/ 2314 w 10000"/>
              <a:gd name="connsiteY3" fmla="*/ 1796 h 10000"/>
              <a:gd name="connsiteX4" fmla="*/ 2363 w 10000"/>
              <a:gd name="connsiteY4" fmla="*/ 1461 h 10000"/>
              <a:gd name="connsiteX5" fmla="*/ 4645 w 10000"/>
              <a:gd name="connsiteY5" fmla="*/ 1461 h 10000"/>
              <a:gd name="connsiteX6" fmla="*/ 4695 w 10000"/>
              <a:gd name="connsiteY6" fmla="*/ 1796 h 10000"/>
              <a:gd name="connsiteX7" fmla="*/ 4695 w 10000"/>
              <a:gd name="connsiteY7" fmla="*/ 9665 h 10000"/>
              <a:gd name="connsiteX8" fmla="*/ 4746 w 10000"/>
              <a:gd name="connsiteY8" fmla="*/ 10000 h 10000"/>
              <a:gd name="connsiteX9" fmla="*/ 6321 w 10000"/>
              <a:gd name="connsiteY9" fmla="*/ 10000 h 10000"/>
              <a:gd name="connsiteX10" fmla="*/ 6371 w 10000"/>
              <a:gd name="connsiteY10" fmla="*/ 9665 h 10000"/>
              <a:gd name="connsiteX11" fmla="*/ 6371 w 10000"/>
              <a:gd name="connsiteY11" fmla="*/ 335 h 10000"/>
              <a:gd name="connsiteX12" fmla="*/ 6422 w 10000"/>
              <a:gd name="connsiteY12" fmla="*/ 0 h 10000"/>
              <a:gd name="connsiteX13" fmla="*/ 7552 w 10000"/>
              <a:gd name="connsiteY13" fmla="*/ 0 h 10000"/>
              <a:gd name="connsiteX14" fmla="*/ 7604 w 10000"/>
              <a:gd name="connsiteY14" fmla="*/ 335 h 10000"/>
              <a:gd name="connsiteX15" fmla="*/ 7604 w 10000"/>
              <a:gd name="connsiteY15" fmla="*/ 8575 h 10000"/>
              <a:gd name="connsiteX16" fmla="*/ 7655 w 10000"/>
              <a:gd name="connsiteY16" fmla="*/ 8910 h 10000"/>
              <a:gd name="connsiteX17" fmla="*/ 9950 w 10000"/>
              <a:gd name="connsiteY17" fmla="*/ 8910 h 10000"/>
              <a:gd name="connsiteX18" fmla="*/ 10000 w 10000"/>
              <a:gd name="connsiteY18" fmla="*/ 8575 h 10000"/>
              <a:gd name="connsiteX0" fmla="*/ 0 w 8266"/>
              <a:gd name="connsiteY0" fmla="*/ 7916 h 10000"/>
              <a:gd name="connsiteX1" fmla="*/ 529 w 8266"/>
              <a:gd name="connsiteY1" fmla="*/ 7868 h 10000"/>
              <a:gd name="connsiteX2" fmla="*/ 580 w 8266"/>
              <a:gd name="connsiteY2" fmla="*/ 7533 h 10000"/>
              <a:gd name="connsiteX3" fmla="*/ 580 w 8266"/>
              <a:gd name="connsiteY3" fmla="*/ 1796 h 10000"/>
              <a:gd name="connsiteX4" fmla="*/ 629 w 8266"/>
              <a:gd name="connsiteY4" fmla="*/ 1461 h 10000"/>
              <a:gd name="connsiteX5" fmla="*/ 2911 w 8266"/>
              <a:gd name="connsiteY5" fmla="*/ 1461 h 10000"/>
              <a:gd name="connsiteX6" fmla="*/ 2961 w 8266"/>
              <a:gd name="connsiteY6" fmla="*/ 1796 h 10000"/>
              <a:gd name="connsiteX7" fmla="*/ 2961 w 8266"/>
              <a:gd name="connsiteY7" fmla="*/ 9665 h 10000"/>
              <a:gd name="connsiteX8" fmla="*/ 3012 w 8266"/>
              <a:gd name="connsiteY8" fmla="*/ 10000 h 10000"/>
              <a:gd name="connsiteX9" fmla="*/ 4587 w 8266"/>
              <a:gd name="connsiteY9" fmla="*/ 10000 h 10000"/>
              <a:gd name="connsiteX10" fmla="*/ 4637 w 8266"/>
              <a:gd name="connsiteY10" fmla="*/ 9665 h 10000"/>
              <a:gd name="connsiteX11" fmla="*/ 4637 w 8266"/>
              <a:gd name="connsiteY11" fmla="*/ 335 h 10000"/>
              <a:gd name="connsiteX12" fmla="*/ 4688 w 8266"/>
              <a:gd name="connsiteY12" fmla="*/ 0 h 10000"/>
              <a:gd name="connsiteX13" fmla="*/ 5818 w 8266"/>
              <a:gd name="connsiteY13" fmla="*/ 0 h 10000"/>
              <a:gd name="connsiteX14" fmla="*/ 5870 w 8266"/>
              <a:gd name="connsiteY14" fmla="*/ 335 h 10000"/>
              <a:gd name="connsiteX15" fmla="*/ 5870 w 8266"/>
              <a:gd name="connsiteY15" fmla="*/ 8575 h 10000"/>
              <a:gd name="connsiteX16" fmla="*/ 5921 w 8266"/>
              <a:gd name="connsiteY16" fmla="*/ 8910 h 10000"/>
              <a:gd name="connsiteX17" fmla="*/ 8216 w 8266"/>
              <a:gd name="connsiteY17" fmla="*/ 8910 h 10000"/>
              <a:gd name="connsiteX18" fmla="*/ 8266 w 8266"/>
              <a:gd name="connsiteY18" fmla="*/ 8575 h 10000"/>
              <a:gd name="connsiteX0" fmla="*/ 0 w 10000"/>
              <a:gd name="connsiteY0" fmla="*/ 7916 h 10000"/>
              <a:gd name="connsiteX1" fmla="*/ 640 w 10000"/>
              <a:gd name="connsiteY1" fmla="*/ 7868 h 10000"/>
              <a:gd name="connsiteX2" fmla="*/ 702 w 10000"/>
              <a:gd name="connsiteY2" fmla="*/ 7533 h 10000"/>
              <a:gd name="connsiteX3" fmla="*/ 702 w 10000"/>
              <a:gd name="connsiteY3" fmla="*/ 1796 h 10000"/>
              <a:gd name="connsiteX4" fmla="*/ 761 w 10000"/>
              <a:gd name="connsiteY4" fmla="*/ 1461 h 10000"/>
              <a:gd name="connsiteX5" fmla="*/ 3522 w 10000"/>
              <a:gd name="connsiteY5" fmla="*/ 1461 h 10000"/>
              <a:gd name="connsiteX6" fmla="*/ 3582 w 10000"/>
              <a:gd name="connsiteY6" fmla="*/ 1796 h 10000"/>
              <a:gd name="connsiteX7" fmla="*/ 3582 w 10000"/>
              <a:gd name="connsiteY7" fmla="*/ 9665 h 10000"/>
              <a:gd name="connsiteX8" fmla="*/ 3644 w 10000"/>
              <a:gd name="connsiteY8" fmla="*/ 10000 h 10000"/>
              <a:gd name="connsiteX9" fmla="*/ 5549 w 10000"/>
              <a:gd name="connsiteY9" fmla="*/ 10000 h 10000"/>
              <a:gd name="connsiteX10" fmla="*/ 5610 w 10000"/>
              <a:gd name="connsiteY10" fmla="*/ 9665 h 10000"/>
              <a:gd name="connsiteX11" fmla="*/ 5610 w 10000"/>
              <a:gd name="connsiteY11" fmla="*/ 335 h 10000"/>
              <a:gd name="connsiteX12" fmla="*/ 5671 w 10000"/>
              <a:gd name="connsiteY12" fmla="*/ 0 h 10000"/>
              <a:gd name="connsiteX13" fmla="*/ 7038 w 10000"/>
              <a:gd name="connsiteY13" fmla="*/ 0 h 10000"/>
              <a:gd name="connsiteX14" fmla="*/ 7101 w 10000"/>
              <a:gd name="connsiteY14" fmla="*/ 335 h 10000"/>
              <a:gd name="connsiteX15" fmla="*/ 7101 w 10000"/>
              <a:gd name="connsiteY15" fmla="*/ 8575 h 10000"/>
              <a:gd name="connsiteX16" fmla="*/ 7163 w 10000"/>
              <a:gd name="connsiteY16" fmla="*/ 8910 h 10000"/>
              <a:gd name="connsiteX17" fmla="*/ 9940 w 10000"/>
              <a:gd name="connsiteY17" fmla="*/ 8910 h 10000"/>
              <a:gd name="connsiteX18" fmla="*/ 10000 w 10000"/>
              <a:gd name="connsiteY18" fmla="*/ 8575 h 10000"/>
              <a:gd name="connsiteX0" fmla="*/ 0 w 9964"/>
              <a:gd name="connsiteY0" fmla="*/ 7882 h 10000"/>
              <a:gd name="connsiteX1" fmla="*/ 604 w 9964"/>
              <a:gd name="connsiteY1" fmla="*/ 7868 h 10000"/>
              <a:gd name="connsiteX2" fmla="*/ 666 w 9964"/>
              <a:gd name="connsiteY2" fmla="*/ 7533 h 10000"/>
              <a:gd name="connsiteX3" fmla="*/ 666 w 9964"/>
              <a:gd name="connsiteY3" fmla="*/ 1796 h 10000"/>
              <a:gd name="connsiteX4" fmla="*/ 725 w 9964"/>
              <a:gd name="connsiteY4" fmla="*/ 1461 h 10000"/>
              <a:gd name="connsiteX5" fmla="*/ 3486 w 9964"/>
              <a:gd name="connsiteY5" fmla="*/ 1461 h 10000"/>
              <a:gd name="connsiteX6" fmla="*/ 3546 w 9964"/>
              <a:gd name="connsiteY6" fmla="*/ 1796 h 10000"/>
              <a:gd name="connsiteX7" fmla="*/ 3546 w 9964"/>
              <a:gd name="connsiteY7" fmla="*/ 9665 h 10000"/>
              <a:gd name="connsiteX8" fmla="*/ 3608 w 9964"/>
              <a:gd name="connsiteY8" fmla="*/ 10000 h 10000"/>
              <a:gd name="connsiteX9" fmla="*/ 5513 w 9964"/>
              <a:gd name="connsiteY9" fmla="*/ 10000 h 10000"/>
              <a:gd name="connsiteX10" fmla="*/ 5574 w 9964"/>
              <a:gd name="connsiteY10" fmla="*/ 9665 h 10000"/>
              <a:gd name="connsiteX11" fmla="*/ 5574 w 9964"/>
              <a:gd name="connsiteY11" fmla="*/ 335 h 10000"/>
              <a:gd name="connsiteX12" fmla="*/ 5635 w 9964"/>
              <a:gd name="connsiteY12" fmla="*/ 0 h 10000"/>
              <a:gd name="connsiteX13" fmla="*/ 7002 w 9964"/>
              <a:gd name="connsiteY13" fmla="*/ 0 h 10000"/>
              <a:gd name="connsiteX14" fmla="*/ 7065 w 9964"/>
              <a:gd name="connsiteY14" fmla="*/ 335 h 10000"/>
              <a:gd name="connsiteX15" fmla="*/ 7065 w 9964"/>
              <a:gd name="connsiteY15" fmla="*/ 8575 h 10000"/>
              <a:gd name="connsiteX16" fmla="*/ 7127 w 9964"/>
              <a:gd name="connsiteY16" fmla="*/ 8910 h 10000"/>
              <a:gd name="connsiteX17" fmla="*/ 9904 w 9964"/>
              <a:gd name="connsiteY17" fmla="*/ 8910 h 10000"/>
              <a:gd name="connsiteX18" fmla="*/ 9964 w 9964"/>
              <a:gd name="connsiteY18" fmla="*/ 8575 h 10000"/>
              <a:gd name="connsiteX0" fmla="*/ 0 w 10018"/>
              <a:gd name="connsiteY0" fmla="*/ 7882 h 10000"/>
              <a:gd name="connsiteX1" fmla="*/ 624 w 10018"/>
              <a:gd name="connsiteY1" fmla="*/ 7868 h 10000"/>
              <a:gd name="connsiteX2" fmla="*/ 686 w 10018"/>
              <a:gd name="connsiteY2" fmla="*/ 7533 h 10000"/>
              <a:gd name="connsiteX3" fmla="*/ 686 w 10018"/>
              <a:gd name="connsiteY3" fmla="*/ 1796 h 10000"/>
              <a:gd name="connsiteX4" fmla="*/ 746 w 10018"/>
              <a:gd name="connsiteY4" fmla="*/ 1461 h 10000"/>
              <a:gd name="connsiteX5" fmla="*/ 3517 w 10018"/>
              <a:gd name="connsiteY5" fmla="*/ 1461 h 10000"/>
              <a:gd name="connsiteX6" fmla="*/ 3577 w 10018"/>
              <a:gd name="connsiteY6" fmla="*/ 1796 h 10000"/>
              <a:gd name="connsiteX7" fmla="*/ 3577 w 10018"/>
              <a:gd name="connsiteY7" fmla="*/ 9665 h 10000"/>
              <a:gd name="connsiteX8" fmla="*/ 3639 w 10018"/>
              <a:gd name="connsiteY8" fmla="*/ 10000 h 10000"/>
              <a:gd name="connsiteX9" fmla="*/ 5551 w 10018"/>
              <a:gd name="connsiteY9" fmla="*/ 10000 h 10000"/>
              <a:gd name="connsiteX10" fmla="*/ 5612 w 10018"/>
              <a:gd name="connsiteY10" fmla="*/ 9665 h 10000"/>
              <a:gd name="connsiteX11" fmla="*/ 5612 w 10018"/>
              <a:gd name="connsiteY11" fmla="*/ 335 h 10000"/>
              <a:gd name="connsiteX12" fmla="*/ 5673 w 10018"/>
              <a:gd name="connsiteY12" fmla="*/ 0 h 10000"/>
              <a:gd name="connsiteX13" fmla="*/ 7045 w 10018"/>
              <a:gd name="connsiteY13" fmla="*/ 0 h 10000"/>
              <a:gd name="connsiteX14" fmla="*/ 7109 w 10018"/>
              <a:gd name="connsiteY14" fmla="*/ 335 h 10000"/>
              <a:gd name="connsiteX15" fmla="*/ 7109 w 10018"/>
              <a:gd name="connsiteY15" fmla="*/ 8575 h 10000"/>
              <a:gd name="connsiteX16" fmla="*/ 7171 w 10018"/>
              <a:gd name="connsiteY16" fmla="*/ 8910 h 10000"/>
              <a:gd name="connsiteX17" fmla="*/ 9958 w 10018"/>
              <a:gd name="connsiteY17" fmla="*/ 8910 h 10000"/>
              <a:gd name="connsiteX18" fmla="*/ 10018 w 10018"/>
              <a:gd name="connsiteY18" fmla="*/ 8575 h 10000"/>
              <a:gd name="connsiteX0" fmla="*/ 0 w 10023"/>
              <a:gd name="connsiteY0" fmla="*/ 7857 h 10000"/>
              <a:gd name="connsiteX1" fmla="*/ 629 w 10023"/>
              <a:gd name="connsiteY1" fmla="*/ 7868 h 10000"/>
              <a:gd name="connsiteX2" fmla="*/ 691 w 10023"/>
              <a:gd name="connsiteY2" fmla="*/ 7533 h 10000"/>
              <a:gd name="connsiteX3" fmla="*/ 691 w 10023"/>
              <a:gd name="connsiteY3" fmla="*/ 1796 h 10000"/>
              <a:gd name="connsiteX4" fmla="*/ 751 w 10023"/>
              <a:gd name="connsiteY4" fmla="*/ 1461 h 10000"/>
              <a:gd name="connsiteX5" fmla="*/ 3522 w 10023"/>
              <a:gd name="connsiteY5" fmla="*/ 1461 h 10000"/>
              <a:gd name="connsiteX6" fmla="*/ 3582 w 10023"/>
              <a:gd name="connsiteY6" fmla="*/ 1796 h 10000"/>
              <a:gd name="connsiteX7" fmla="*/ 3582 w 10023"/>
              <a:gd name="connsiteY7" fmla="*/ 9665 h 10000"/>
              <a:gd name="connsiteX8" fmla="*/ 3644 w 10023"/>
              <a:gd name="connsiteY8" fmla="*/ 10000 h 10000"/>
              <a:gd name="connsiteX9" fmla="*/ 5556 w 10023"/>
              <a:gd name="connsiteY9" fmla="*/ 10000 h 10000"/>
              <a:gd name="connsiteX10" fmla="*/ 5617 w 10023"/>
              <a:gd name="connsiteY10" fmla="*/ 9665 h 10000"/>
              <a:gd name="connsiteX11" fmla="*/ 5617 w 10023"/>
              <a:gd name="connsiteY11" fmla="*/ 335 h 10000"/>
              <a:gd name="connsiteX12" fmla="*/ 5678 w 10023"/>
              <a:gd name="connsiteY12" fmla="*/ 0 h 10000"/>
              <a:gd name="connsiteX13" fmla="*/ 7050 w 10023"/>
              <a:gd name="connsiteY13" fmla="*/ 0 h 10000"/>
              <a:gd name="connsiteX14" fmla="*/ 7114 w 10023"/>
              <a:gd name="connsiteY14" fmla="*/ 335 h 10000"/>
              <a:gd name="connsiteX15" fmla="*/ 7114 w 10023"/>
              <a:gd name="connsiteY15" fmla="*/ 8575 h 10000"/>
              <a:gd name="connsiteX16" fmla="*/ 7176 w 10023"/>
              <a:gd name="connsiteY16" fmla="*/ 8910 h 10000"/>
              <a:gd name="connsiteX17" fmla="*/ 9963 w 10023"/>
              <a:gd name="connsiteY17" fmla="*/ 8910 h 10000"/>
              <a:gd name="connsiteX18" fmla="*/ 10023 w 10023"/>
              <a:gd name="connsiteY18" fmla="*/ 8575 h 10000"/>
              <a:gd name="connsiteX0" fmla="*/ 0 w 10023"/>
              <a:gd name="connsiteY0" fmla="*/ 7857 h 10000"/>
              <a:gd name="connsiteX1" fmla="*/ 629 w 10023"/>
              <a:gd name="connsiteY1" fmla="*/ 7868 h 10000"/>
              <a:gd name="connsiteX2" fmla="*/ 691 w 10023"/>
              <a:gd name="connsiteY2" fmla="*/ 7533 h 10000"/>
              <a:gd name="connsiteX3" fmla="*/ 691 w 10023"/>
              <a:gd name="connsiteY3" fmla="*/ 1796 h 10000"/>
              <a:gd name="connsiteX4" fmla="*/ 751 w 10023"/>
              <a:gd name="connsiteY4" fmla="*/ 1461 h 10000"/>
              <a:gd name="connsiteX5" fmla="*/ 3522 w 10023"/>
              <a:gd name="connsiteY5" fmla="*/ 1461 h 10000"/>
              <a:gd name="connsiteX6" fmla="*/ 3582 w 10023"/>
              <a:gd name="connsiteY6" fmla="*/ 1796 h 10000"/>
              <a:gd name="connsiteX7" fmla="*/ 3582 w 10023"/>
              <a:gd name="connsiteY7" fmla="*/ 9665 h 10000"/>
              <a:gd name="connsiteX8" fmla="*/ 3644 w 10023"/>
              <a:gd name="connsiteY8" fmla="*/ 10000 h 10000"/>
              <a:gd name="connsiteX9" fmla="*/ 5556 w 10023"/>
              <a:gd name="connsiteY9" fmla="*/ 10000 h 10000"/>
              <a:gd name="connsiteX10" fmla="*/ 5617 w 10023"/>
              <a:gd name="connsiteY10" fmla="*/ 9665 h 10000"/>
              <a:gd name="connsiteX11" fmla="*/ 5617 w 10023"/>
              <a:gd name="connsiteY11" fmla="*/ 335 h 10000"/>
              <a:gd name="connsiteX12" fmla="*/ 5678 w 10023"/>
              <a:gd name="connsiteY12" fmla="*/ 0 h 10000"/>
              <a:gd name="connsiteX13" fmla="*/ 7050 w 10023"/>
              <a:gd name="connsiteY13" fmla="*/ 0 h 10000"/>
              <a:gd name="connsiteX14" fmla="*/ 7114 w 10023"/>
              <a:gd name="connsiteY14" fmla="*/ 335 h 10000"/>
              <a:gd name="connsiteX15" fmla="*/ 7114 w 10023"/>
              <a:gd name="connsiteY15" fmla="*/ 8575 h 10000"/>
              <a:gd name="connsiteX16" fmla="*/ 7176 w 10023"/>
              <a:gd name="connsiteY16" fmla="*/ 8910 h 10000"/>
              <a:gd name="connsiteX17" fmla="*/ 10023 w 10023"/>
              <a:gd name="connsiteY17" fmla="*/ 8575 h 10000"/>
              <a:gd name="connsiteX0" fmla="*/ 0 w 8783"/>
              <a:gd name="connsiteY0" fmla="*/ 7857 h 10000"/>
              <a:gd name="connsiteX1" fmla="*/ 629 w 8783"/>
              <a:gd name="connsiteY1" fmla="*/ 7868 h 10000"/>
              <a:gd name="connsiteX2" fmla="*/ 691 w 8783"/>
              <a:gd name="connsiteY2" fmla="*/ 7533 h 10000"/>
              <a:gd name="connsiteX3" fmla="*/ 691 w 8783"/>
              <a:gd name="connsiteY3" fmla="*/ 1796 h 10000"/>
              <a:gd name="connsiteX4" fmla="*/ 751 w 8783"/>
              <a:gd name="connsiteY4" fmla="*/ 1461 h 10000"/>
              <a:gd name="connsiteX5" fmla="*/ 3522 w 8783"/>
              <a:gd name="connsiteY5" fmla="*/ 1461 h 10000"/>
              <a:gd name="connsiteX6" fmla="*/ 3582 w 8783"/>
              <a:gd name="connsiteY6" fmla="*/ 1796 h 10000"/>
              <a:gd name="connsiteX7" fmla="*/ 3582 w 8783"/>
              <a:gd name="connsiteY7" fmla="*/ 9665 h 10000"/>
              <a:gd name="connsiteX8" fmla="*/ 3644 w 8783"/>
              <a:gd name="connsiteY8" fmla="*/ 10000 h 10000"/>
              <a:gd name="connsiteX9" fmla="*/ 5556 w 8783"/>
              <a:gd name="connsiteY9" fmla="*/ 10000 h 10000"/>
              <a:gd name="connsiteX10" fmla="*/ 5617 w 8783"/>
              <a:gd name="connsiteY10" fmla="*/ 9665 h 10000"/>
              <a:gd name="connsiteX11" fmla="*/ 5617 w 8783"/>
              <a:gd name="connsiteY11" fmla="*/ 335 h 10000"/>
              <a:gd name="connsiteX12" fmla="*/ 5678 w 8783"/>
              <a:gd name="connsiteY12" fmla="*/ 0 h 10000"/>
              <a:gd name="connsiteX13" fmla="*/ 7050 w 8783"/>
              <a:gd name="connsiteY13" fmla="*/ 0 h 10000"/>
              <a:gd name="connsiteX14" fmla="*/ 7114 w 8783"/>
              <a:gd name="connsiteY14" fmla="*/ 335 h 10000"/>
              <a:gd name="connsiteX15" fmla="*/ 7114 w 8783"/>
              <a:gd name="connsiteY15" fmla="*/ 8575 h 10000"/>
              <a:gd name="connsiteX16" fmla="*/ 7176 w 8783"/>
              <a:gd name="connsiteY16" fmla="*/ 8910 h 10000"/>
              <a:gd name="connsiteX17" fmla="*/ 8783 w 8783"/>
              <a:gd name="connsiteY17" fmla="*/ 8893 h 10000"/>
              <a:gd name="connsiteX0" fmla="*/ 0 w 9997"/>
              <a:gd name="connsiteY0" fmla="*/ 7857 h 10000"/>
              <a:gd name="connsiteX1" fmla="*/ 716 w 9997"/>
              <a:gd name="connsiteY1" fmla="*/ 7868 h 10000"/>
              <a:gd name="connsiteX2" fmla="*/ 787 w 9997"/>
              <a:gd name="connsiteY2" fmla="*/ 7533 h 10000"/>
              <a:gd name="connsiteX3" fmla="*/ 787 w 9997"/>
              <a:gd name="connsiteY3" fmla="*/ 1796 h 10000"/>
              <a:gd name="connsiteX4" fmla="*/ 855 w 9997"/>
              <a:gd name="connsiteY4" fmla="*/ 1461 h 10000"/>
              <a:gd name="connsiteX5" fmla="*/ 4010 w 9997"/>
              <a:gd name="connsiteY5" fmla="*/ 1461 h 10000"/>
              <a:gd name="connsiteX6" fmla="*/ 4078 w 9997"/>
              <a:gd name="connsiteY6" fmla="*/ 1796 h 10000"/>
              <a:gd name="connsiteX7" fmla="*/ 4078 w 9997"/>
              <a:gd name="connsiteY7" fmla="*/ 9665 h 10000"/>
              <a:gd name="connsiteX8" fmla="*/ 4149 w 9997"/>
              <a:gd name="connsiteY8" fmla="*/ 10000 h 10000"/>
              <a:gd name="connsiteX9" fmla="*/ 6326 w 9997"/>
              <a:gd name="connsiteY9" fmla="*/ 10000 h 10000"/>
              <a:gd name="connsiteX10" fmla="*/ 6395 w 9997"/>
              <a:gd name="connsiteY10" fmla="*/ 9665 h 10000"/>
              <a:gd name="connsiteX11" fmla="*/ 6395 w 9997"/>
              <a:gd name="connsiteY11" fmla="*/ 335 h 10000"/>
              <a:gd name="connsiteX12" fmla="*/ 6465 w 9997"/>
              <a:gd name="connsiteY12" fmla="*/ 0 h 10000"/>
              <a:gd name="connsiteX13" fmla="*/ 8027 w 9997"/>
              <a:gd name="connsiteY13" fmla="*/ 0 h 10000"/>
              <a:gd name="connsiteX14" fmla="*/ 8100 w 9997"/>
              <a:gd name="connsiteY14" fmla="*/ 335 h 10000"/>
              <a:gd name="connsiteX15" fmla="*/ 8100 w 9997"/>
              <a:gd name="connsiteY15" fmla="*/ 8575 h 10000"/>
              <a:gd name="connsiteX16" fmla="*/ 8170 w 9997"/>
              <a:gd name="connsiteY16" fmla="*/ 8910 h 10000"/>
              <a:gd name="connsiteX17" fmla="*/ 9997 w 9997"/>
              <a:gd name="connsiteY17" fmla="*/ 8927 h 10000"/>
              <a:gd name="connsiteX0" fmla="*/ 0 w 10000"/>
              <a:gd name="connsiteY0" fmla="*/ 7857 h 10000"/>
              <a:gd name="connsiteX1" fmla="*/ 716 w 10000"/>
              <a:gd name="connsiteY1" fmla="*/ 7868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16 w 10000"/>
              <a:gd name="connsiteY1" fmla="*/ 7868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16 w 10000"/>
              <a:gd name="connsiteY1" fmla="*/ 7868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26 w 10000"/>
              <a:gd name="connsiteY1" fmla="*/ 7868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26 w 10000"/>
              <a:gd name="connsiteY1" fmla="*/ 7855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26 w 10000"/>
              <a:gd name="connsiteY1" fmla="*/ 7855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26 w 10000"/>
              <a:gd name="connsiteY1" fmla="*/ 7855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26 w 10000"/>
              <a:gd name="connsiteY1" fmla="*/ 7855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35 h 10000"/>
              <a:gd name="connsiteX17" fmla="*/ 10000 w 10000"/>
              <a:gd name="connsiteY17" fmla="*/ 8927 h 10000"/>
              <a:gd name="connsiteX0" fmla="*/ 0 w 10008"/>
              <a:gd name="connsiteY0" fmla="*/ 7857 h 10000"/>
              <a:gd name="connsiteX1" fmla="*/ 726 w 10008"/>
              <a:gd name="connsiteY1" fmla="*/ 7855 h 10000"/>
              <a:gd name="connsiteX2" fmla="*/ 787 w 10008"/>
              <a:gd name="connsiteY2" fmla="*/ 7533 h 10000"/>
              <a:gd name="connsiteX3" fmla="*/ 787 w 10008"/>
              <a:gd name="connsiteY3" fmla="*/ 1796 h 10000"/>
              <a:gd name="connsiteX4" fmla="*/ 855 w 10008"/>
              <a:gd name="connsiteY4" fmla="*/ 1461 h 10000"/>
              <a:gd name="connsiteX5" fmla="*/ 4011 w 10008"/>
              <a:gd name="connsiteY5" fmla="*/ 1461 h 10000"/>
              <a:gd name="connsiteX6" fmla="*/ 4079 w 10008"/>
              <a:gd name="connsiteY6" fmla="*/ 1796 h 10000"/>
              <a:gd name="connsiteX7" fmla="*/ 4079 w 10008"/>
              <a:gd name="connsiteY7" fmla="*/ 9665 h 10000"/>
              <a:gd name="connsiteX8" fmla="*/ 4150 w 10008"/>
              <a:gd name="connsiteY8" fmla="*/ 10000 h 10000"/>
              <a:gd name="connsiteX9" fmla="*/ 6328 w 10008"/>
              <a:gd name="connsiteY9" fmla="*/ 10000 h 10000"/>
              <a:gd name="connsiteX10" fmla="*/ 6397 w 10008"/>
              <a:gd name="connsiteY10" fmla="*/ 9665 h 10000"/>
              <a:gd name="connsiteX11" fmla="*/ 6397 w 10008"/>
              <a:gd name="connsiteY11" fmla="*/ 335 h 10000"/>
              <a:gd name="connsiteX12" fmla="*/ 6467 w 10008"/>
              <a:gd name="connsiteY12" fmla="*/ 0 h 10000"/>
              <a:gd name="connsiteX13" fmla="*/ 8029 w 10008"/>
              <a:gd name="connsiteY13" fmla="*/ 0 h 10000"/>
              <a:gd name="connsiteX14" fmla="*/ 8102 w 10008"/>
              <a:gd name="connsiteY14" fmla="*/ 335 h 10000"/>
              <a:gd name="connsiteX15" fmla="*/ 8102 w 10008"/>
              <a:gd name="connsiteY15" fmla="*/ 8575 h 10000"/>
              <a:gd name="connsiteX16" fmla="*/ 8172 w 10008"/>
              <a:gd name="connsiteY16" fmla="*/ 8935 h 10000"/>
              <a:gd name="connsiteX17" fmla="*/ 10008 w 10008"/>
              <a:gd name="connsiteY17" fmla="*/ 8927 h 10000"/>
              <a:gd name="connsiteX0" fmla="*/ 0 w 10016"/>
              <a:gd name="connsiteY0" fmla="*/ 7857 h 10000"/>
              <a:gd name="connsiteX1" fmla="*/ 726 w 10016"/>
              <a:gd name="connsiteY1" fmla="*/ 7855 h 10000"/>
              <a:gd name="connsiteX2" fmla="*/ 787 w 10016"/>
              <a:gd name="connsiteY2" fmla="*/ 7533 h 10000"/>
              <a:gd name="connsiteX3" fmla="*/ 787 w 10016"/>
              <a:gd name="connsiteY3" fmla="*/ 1796 h 10000"/>
              <a:gd name="connsiteX4" fmla="*/ 855 w 10016"/>
              <a:gd name="connsiteY4" fmla="*/ 1461 h 10000"/>
              <a:gd name="connsiteX5" fmla="*/ 4011 w 10016"/>
              <a:gd name="connsiteY5" fmla="*/ 1461 h 10000"/>
              <a:gd name="connsiteX6" fmla="*/ 4079 w 10016"/>
              <a:gd name="connsiteY6" fmla="*/ 1796 h 10000"/>
              <a:gd name="connsiteX7" fmla="*/ 4079 w 10016"/>
              <a:gd name="connsiteY7" fmla="*/ 9665 h 10000"/>
              <a:gd name="connsiteX8" fmla="*/ 4150 w 10016"/>
              <a:gd name="connsiteY8" fmla="*/ 10000 h 10000"/>
              <a:gd name="connsiteX9" fmla="*/ 6328 w 10016"/>
              <a:gd name="connsiteY9" fmla="*/ 10000 h 10000"/>
              <a:gd name="connsiteX10" fmla="*/ 6397 w 10016"/>
              <a:gd name="connsiteY10" fmla="*/ 9665 h 10000"/>
              <a:gd name="connsiteX11" fmla="*/ 6397 w 10016"/>
              <a:gd name="connsiteY11" fmla="*/ 335 h 10000"/>
              <a:gd name="connsiteX12" fmla="*/ 6467 w 10016"/>
              <a:gd name="connsiteY12" fmla="*/ 0 h 10000"/>
              <a:gd name="connsiteX13" fmla="*/ 8029 w 10016"/>
              <a:gd name="connsiteY13" fmla="*/ 0 h 10000"/>
              <a:gd name="connsiteX14" fmla="*/ 8102 w 10016"/>
              <a:gd name="connsiteY14" fmla="*/ 335 h 10000"/>
              <a:gd name="connsiteX15" fmla="*/ 8102 w 10016"/>
              <a:gd name="connsiteY15" fmla="*/ 8575 h 10000"/>
              <a:gd name="connsiteX16" fmla="*/ 8172 w 10016"/>
              <a:gd name="connsiteY16" fmla="*/ 8935 h 10000"/>
              <a:gd name="connsiteX17" fmla="*/ 10016 w 10016"/>
              <a:gd name="connsiteY17" fmla="*/ 8940 h 10000"/>
              <a:gd name="connsiteX0" fmla="*/ 0 w 10016"/>
              <a:gd name="connsiteY0" fmla="*/ 7857 h 10000"/>
              <a:gd name="connsiteX1" fmla="*/ 726 w 10016"/>
              <a:gd name="connsiteY1" fmla="*/ 7855 h 10000"/>
              <a:gd name="connsiteX2" fmla="*/ 787 w 10016"/>
              <a:gd name="connsiteY2" fmla="*/ 7533 h 10000"/>
              <a:gd name="connsiteX3" fmla="*/ 787 w 10016"/>
              <a:gd name="connsiteY3" fmla="*/ 1796 h 10000"/>
              <a:gd name="connsiteX4" fmla="*/ 855 w 10016"/>
              <a:gd name="connsiteY4" fmla="*/ 1461 h 10000"/>
              <a:gd name="connsiteX5" fmla="*/ 4011 w 10016"/>
              <a:gd name="connsiteY5" fmla="*/ 1461 h 10000"/>
              <a:gd name="connsiteX6" fmla="*/ 4079 w 10016"/>
              <a:gd name="connsiteY6" fmla="*/ 1796 h 10000"/>
              <a:gd name="connsiteX7" fmla="*/ 4079 w 10016"/>
              <a:gd name="connsiteY7" fmla="*/ 9665 h 10000"/>
              <a:gd name="connsiteX8" fmla="*/ 4150 w 10016"/>
              <a:gd name="connsiteY8" fmla="*/ 10000 h 10000"/>
              <a:gd name="connsiteX9" fmla="*/ 6328 w 10016"/>
              <a:gd name="connsiteY9" fmla="*/ 10000 h 10000"/>
              <a:gd name="connsiteX10" fmla="*/ 6397 w 10016"/>
              <a:gd name="connsiteY10" fmla="*/ 9665 h 10000"/>
              <a:gd name="connsiteX11" fmla="*/ 6397 w 10016"/>
              <a:gd name="connsiteY11" fmla="*/ 335 h 10000"/>
              <a:gd name="connsiteX12" fmla="*/ 6467 w 10016"/>
              <a:gd name="connsiteY12" fmla="*/ 0 h 10000"/>
              <a:gd name="connsiteX13" fmla="*/ 8029 w 10016"/>
              <a:gd name="connsiteY13" fmla="*/ 0 h 10000"/>
              <a:gd name="connsiteX14" fmla="*/ 8102 w 10016"/>
              <a:gd name="connsiteY14" fmla="*/ 335 h 10000"/>
              <a:gd name="connsiteX15" fmla="*/ 8102 w 10016"/>
              <a:gd name="connsiteY15" fmla="*/ 8575 h 10000"/>
              <a:gd name="connsiteX16" fmla="*/ 8172 w 10016"/>
              <a:gd name="connsiteY16" fmla="*/ 8935 h 10000"/>
              <a:gd name="connsiteX17" fmla="*/ 10016 w 10016"/>
              <a:gd name="connsiteY17" fmla="*/ 8927 h 10000"/>
              <a:gd name="connsiteX0" fmla="*/ 0 w 10050"/>
              <a:gd name="connsiteY0" fmla="*/ 7857 h 10000"/>
              <a:gd name="connsiteX1" fmla="*/ 726 w 10050"/>
              <a:gd name="connsiteY1" fmla="*/ 7855 h 10000"/>
              <a:gd name="connsiteX2" fmla="*/ 787 w 10050"/>
              <a:gd name="connsiteY2" fmla="*/ 7533 h 10000"/>
              <a:gd name="connsiteX3" fmla="*/ 787 w 10050"/>
              <a:gd name="connsiteY3" fmla="*/ 1796 h 10000"/>
              <a:gd name="connsiteX4" fmla="*/ 855 w 10050"/>
              <a:gd name="connsiteY4" fmla="*/ 1461 h 10000"/>
              <a:gd name="connsiteX5" fmla="*/ 4011 w 10050"/>
              <a:gd name="connsiteY5" fmla="*/ 1461 h 10000"/>
              <a:gd name="connsiteX6" fmla="*/ 4079 w 10050"/>
              <a:gd name="connsiteY6" fmla="*/ 1796 h 10000"/>
              <a:gd name="connsiteX7" fmla="*/ 4079 w 10050"/>
              <a:gd name="connsiteY7" fmla="*/ 9665 h 10000"/>
              <a:gd name="connsiteX8" fmla="*/ 4150 w 10050"/>
              <a:gd name="connsiteY8" fmla="*/ 10000 h 10000"/>
              <a:gd name="connsiteX9" fmla="*/ 6328 w 10050"/>
              <a:gd name="connsiteY9" fmla="*/ 10000 h 10000"/>
              <a:gd name="connsiteX10" fmla="*/ 6397 w 10050"/>
              <a:gd name="connsiteY10" fmla="*/ 9665 h 10000"/>
              <a:gd name="connsiteX11" fmla="*/ 6397 w 10050"/>
              <a:gd name="connsiteY11" fmla="*/ 335 h 10000"/>
              <a:gd name="connsiteX12" fmla="*/ 6467 w 10050"/>
              <a:gd name="connsiteY12" fmla="*/ 0 h 10000"/>
              <a:gd name="connsiteX13" fmla="*/ 8029 w 10050"/>
              <a:gd name="connsiteY13" fmla="*/ 0 h 10000"/>
              <a:gd name="connsiteX14" fmla="*/ 8102 w 10050"/>
              <a:gd name="connsiteY14" fmla="*/ 335 h 10000"/>
              <a:gd name="connsiteX15" fmla="*/ 8102 w 10050"/>
              <a:gd name="connsiteY15" fmla="*/ 8575 h 10000"/>
              <a:gd name="connsiteX16" fmla="*/ 8172 w 10050"/>
              <a:gd name="connsiteY16" fmla="*/ 8935 h 10000"/>
              <a:gd name="connsiteX17" fmla="*/ 10050 w 10050"/>
              <a:gd name="connsiteY17" fmla="*/ 8927 h 10000"/>
              <a:gd name="connsiteX0" fmla="*/ 0 w 10037"/>
              <a:gd name="connsiteY0" fmla="*/ 7857 h 10000"/>
              <a:gd name="connsiteX1" fmla="*/ 726 w 10037"/>
              <a:gd name="connsiteY1" fmla="*/ 7855 h 10000"/>
              <a:gd name="connsiteX2" fmla="*/ 787 w 10037"/>
              <a:gd name="connsiteY2" fmla="*/ 7533 h 10000"/>
              <a:gd name="connsiteX3" fmla="*/ 787 w 10037"/>
              <a:gd name="connsiteY3" fmla="*/ 1796 h 10000"/>
              <a:gd name="connsiteX4" fmla="*/ 855 w 10037"/>
              <a:gd name="connsiteY4" fmla="*/ 1461 h 10000"/>
              <a:gd name="connsiteX5" fmla="*/ 4011 w 10037"/>
              <a:gd name="connsiteY5" fmla="*/ 1461 h 10000"/>
              <a:gd name="connsiteX6" fmla="*/ 4079 w 10037"/>
              <a:gd name="connsiteY6" fmla="*/ 1796 h 10000"/>
              <a:gd name="connsiteX7" fmla="*/ 4079 w 10037"/>
              <a:gd name="connsiteY7" fmla="*/ 9665 h 10000"/>
              <a:gd name="connsiteX8" fmla="*/ 4150 w 10037"/>
              <a:gd name="connsiteY8" fmla="*/ 10000 h 10000"/>
              <a:gd name="connsiteX9" fmla="*/ 6328 w 10037"/>
              <a:gd name="connsiteY9" fmla="*/ 10000 h 10000"/>
              <a:gd name="connsiteX10" fmla="*/ 6397 w 10037"/>
              <a:gd name="connsiteY10" fmla="*/ 9665 h 10000"/>
              <a:gd name="connsiteX11" fmla="*/ 6397 w 10037"/>
              <a:gd name="connsiteY11" fmla="*/ 335 h 10000"/>
              <a:gd name="connsiteX12" fmla="*/ 6467 w 10037"/>
              <a:gd name="connsiteY12" fmla="*/ 0 h 10000"/>
              <a:gd name="connsiteX13" fmla="*/ 8029 w 10037"/>
              <a:gd name="connsiteY13" fmla="*/ 0 h 10000"/>
              <a:gd name="connsiteX14" fmla="*/ 8102 w 10037"/>
              <a:gd name="connsiteY14" fmla="*/ 335 h 10000"/>
              <a:gd name="connsiteX15" fmla="*/ 8102 w 10037"/>
              <a:gd name="connsiteY15" fmla="*/ 8575 h 10000"/>
              <a:gd name="connsiteX16" fmla="*/ 8172 w 10037"/>
              <a:gd name="connsiteY16" fmla="*/ 8935 h 10000"/>
              <a:gd name="connsiteX17" fmla="*/ 10037 w 10037"/>
              <a:gd name="connsiteY17" fmla="*/ 8940 h 10000"/>
              <a:gd name="connsiteX0" fmla="*/ 0 w 10037"/>
              <a:gd name="connsiteY0" fmla="*/ 7857 h 10000"/>
              <a:gd name="connsiteX1" fmla="*/ 726 w 10037"/>
              <a:gd name="connsiteY1" fmla="*/ 7855 h 10000"/>
              <a:gd name="connsiteX2" fmla="*/ 787 w 10037"/>
              <a:gd name="connsiteY2" fmla="*/ 7533 h 10000"/>
              <a:gd name="connsiteX3" fmla="*/ 787 w 10037"/>
              <a:gd name="connsiteY3" fmla="*/ 1796 h 10000"/>
              <a:gd name="connsiteX4" fmla="*/ 855 w 10037"/>
              <a:gd name="connsiteY4" fmla="*/ 1461 h 10000"/>
              <a:gd name="connsiteX5" fmla="*/ 4011 w 10037"/>
              <a:gd name="connsiteY5" fmla="*/ 1461 h 10000"/>
              <a:gd name="connsiteX6" fmla="*/ 4079 w 10037"/>
              <a:gd name="connsiteY6" fmla="*/ 1796 h 10000"/>
              <a:gd name="connsiteX7" fmla="*/ 4079 w 10037"/>
              <a:gd name="connsiteY7" fmla="*/ 9665 h 10000"/>
              <a:gd name="connsiteX8" fmla="*/ 4150 w 10037"/>
              <a:gd name="connsiteY8" fmla="*/ 10000 h 10000"/>
              <a:gd name="connsiteX9" fmla="*/ 6328 w 10037"/>
              <a:gd name="connsiteY9" fmla="*/ 10000 h 10000"/>
              <a:gd name="connsiteX10" fmla="*/ 6397 w 10037"/>
              <a:gd name="connsiteY10" fmla="*/ 9665 h 10000"/>
              <a:gd name="connsiteX11" fmla="*/ 6397 w 10037"/>
              <a:gd name="connsiteY11" fmla="*/ 335 h 10000"/>
              <a:gd name="connsiteX12" fmla="*/ 6467 w 10037"/>
              <a:gd name="connsiteY12" fmla="*/ 0 h 10000"/>
              <a:gd name="connsiteX13" fmla="*/ 8029 w 10037"/>
              <a:gd name="connsiteY13" fmla="*/ 0 h 10000"/>
              <a:gd name="connsiteX14" fmla="*/ 8102 w 10037"/>
              <a:gd name="connsiteY14" fmla="*/ 335 h 10000"/>
              <a:gd name="connsiteX15" fmla="*/ 8102 w 10037"/>
              <a:gd name="connsiteY15" fmla="*/ 8575 h 10000"/>
              <a:gd name="connsiteX16" fmla="*/ 8172 w 10037"/>
              <a:gd name="connsiteY16" fmla="*/ 8935 h 10000"/>
              <a:gd name="connsiteX17" fmla="*/ 10037 w 10037"/>
              <a:gd name="connsiteY17" fmla="*/ 8915 h 10000"/>
              <a:gd name="connsiteX0" fmla="*/ 0 w 10034"/>
              <a:gd name="connsiteY0" fmla="*/ 7857 h 10000"/>
              <a:gd name="connsiteX1" fmla="*/ 726 w 10034"/>
              <a:gd name="connsiteY1" fmla="*/ 7855 h 10000"/>
              <a:gd name="connsiteX2" fmla="*/ 787 w 10034"/>
              <a:gd name="connsiteY2" fmla="*/ 7533 h 10000"/>
              <a:gd name="connsiteX3" fmla="*/ 787 w 10034"/>
              <a:gd name="connsiteY3" fmla="*/ 1796 h 10000"/>
              <a:gd name="connsiteX4" fmla="*/ 855 w 10034"/>
              <a:gd name="connsiteY4" fmla="*/ 1461 h 10000"/>
              <a:gd name="connsiteX5" fmla="*/ 4011 w 10034"/>
              <a:gd name="connsiteY5" fmla="*/ 1461 h 10000"/>
              <a:gd name="connsiteX6" fmla="*/ 4079 w 10034"/>
              <a:gd name="connsiteY6" fmla="*/ 1796 h 10000"/>
              <a:gd name="connsiteX7" fmla="*/ 4079 w 10034"/>
              <a:gd name="connsiteY7" fmla="*/ 9665 h 10000"/>
              <a:gd name="connsiteX8" fmla="*/ 4150 w 10034"/>
              <a:gd name="connsiteY8" fmla="*/ 10000 h 10000"/>
              <a:gd name="connsiteX9" fmla="*/ 6328 w 10034"/>
              <a:gd name="connsiteY9" fmla="*/ 10000 h 10000"/>
              <a:gd name="connsiteX10" fmla="*/ 6397 w 10034"/>
              <a:gd name="connsiteY10" fmla="*/ 9665 h 10000"/>
              <a:gd name="connsiteX11" fmla="*/ 6397 w 10034"/>
              <a:gd name="connsiteY11" fmla="*/ 335 h 10000"/>
              <a:gd name="connsiteX12" fmla="*/ 6467 w 10034"/>
              <a:gd name="connsiteY12" fmla="*/ 0 h 10000"/>
              <a:gd name="connsiteX13" fmla="*/ 8029 w 10034"/>
              <a:gd name="connsiteY13" fmla="*/ 0 h 10000"/>
              <a:gd name="connsiteX14" fmla="*/ 8102 w 10034"/>
              <a:gd name="connsiteY14" fmla="*/ 335 h 10000"/>
              <a:gd name="connsiteX15" fmla="*/ 8102 w 10034"/>
              <a:gd name="connsiteY15" fmla="*/ 8575 h 10000"/>
              <a:gd name="connsiteX16" fmla="*/ 8172 w 10034"/>
              <a:gd name="connsiteY16" fmla="*/ 8935 h 10000"/>
              <a:gd name="connsiteX17" fmla="*/ 10034 w 10034"/>
              <a:gd name="connsiteY17" fmla="*/ 8915 h 10000"/>
              <a:gd name="connsiteX0" fmla="*/ 0 w 10034"/>
              <a:gd name="connsiteY0" fmla="*/ 7857 h 10000"/>
              <a:gd name="connsiteX1" fmla="*/ 726 w 10034"/>
              <a:gd name="connsiteY1" fmla="*/ 7855 h 10000"/>
              <a:gd name="connsiteX2" fmla="*/ 787 w 10034"/>
              <a:gd name="connsiteY2" fmla="*/ 7533 h 10000"/>
              <a:gd name="connsiteX3" fmla="*/ 787 w 10034"/>
              <a:gd name="connsiteY3" fmla="*/ 1796 h 10000"/>
              <a:gd name="connsiteX4" fmla="*/ 855 w 10034"/>
              <a:gd name="connsiteY4" fmla="*/ 1461 h 10000"/>
              <a:gd name="connsiteX5" fmla="*/ 4011 w 10034"/>
              <a:gd name="connsiteY5" fmla="*/ 1461 h 10000"/>
              <a:gd name="connsiteX6" fmla="*/ 4079 w 10034"/>
              <a:gd name="connsiteY6" fmla="*/ 1796 h 10000"/>
              <a:gd name="connsiteX7" fmla="*/ 4079 w 10034"/>
              <a:gd name="connsiteY7" fmla="*/ 9665 h 10000"/>
              <a:gd name="connsiteX8" fmla="*/ 4150 w 10034"/>
              <a:gd name="connsiteY8" fmla="*/ 10000 h 10000"/>
              <a:gd name="connsiteX9" fmla="*/ 6328 w 10034"/>
              <a:gd name="connsiteY9" fmla="*/ 10000 h 10000"/>
              <a:gd name="connsiteX10" fmla="*/ 6397 w 10034"/>
              <a:gd name="connsiteY10" fmla="*/ 9665 h 10000"/>
              <a:gd name="connsiteX11" fmla="*/ 6397 w 10034"/>
              <a:gd name="connsiteY11" fmla="*/ 335 h 10000"/>
              <a:gd name="connsiteX12" fmla="*/ 6467 w 10034"/>
              <a:gd name="connsiteY12" fmla="*/ 0 h 10000"/>
              <a:gd name="connsiteX13" fmla="*/ 8029 w 10034"/>
              <a:gd name="connsiteY13" fmla="*/ 0 h 10000"/>
              <a:gd name="connsiteX14" fmla="*/ 8102 w 10034"/>
              <a:gd name="connsiteY14" fmla="*/ 335 h 10000"/>
              <a:gd name="connsiteX15" fmla="*/ 8102 w 10034"/>
              <a:gd name="connsiteY15" fmla="*/ 8575 h 10000"/>
              <a:gd name="connsiteX16" fmla="*/ 8172 w 10034"/>
              <a:gd name="connsiteY16" fmla="*/ 8935 h 10000"/>
              <a:gd name="connsiteX17" fmla="*/ 10034 w 10034"/>
              <a:gd name="connsiteY17" fmla="*/ 8915 h 10000"/>
              <a:gd name="connsiteX0" fmla="*/ 0 w 10034"/>
              <a:gd name="connsiteY0" fmla="*/ 7857 h 10000"/>
              <a:gd name="connsiteX1" fmla="*/ 726 w 10034"/>
              <a:gd name="connsiteY1" fmla="*/ 7855 h 10000"/>
              <a:gd name="connsiteX2" fmla="*/ 787 w 10034"/>
              <a:gd name="connsiteY2" fmla="*/ 7533 h 10000"/>
              <a:gd name="connsiteX3" fmla="*/ 787 w 10034"/>
              <a:gd name="connsiteY3" fmla="*/ 1796 h 10000"/>
              <a:gd name="connsiteX4" fmla="*/ 855 w 10034"/>
              <a:gd name="connsiteY4" fmla="*/ 1461 h 10000"/>
              <a:gd name="connsiteX5" fmla="*/ 4011 w 10034"/>
              <a:gd name="connsiteY5" fmla="*/ 1461 h 10000"/>
              <a:gd name="connsiteX6" fmla="*/ 4079 w 10034"/>
              <a:gd name="connsiteY6" fmla="*/ 1796 h 10000"/>
              <a:gd name="connsiteX7" fmla="*/ 4079 w 10034"/>
              <a:gd name="connsiteY7" fmla="*/ 9665 h 10000"/>
              <a:gd name="connsiteX8" fmla="*/ 4150 w 10034"/>
              <a:gd name="connsiteY8" fmla="*/ 10000 h 10000"/>
              <a:gd name="connsiteX9" fmla="*/ 6328 w 10034"/>
              <a:gd name="connsiteY9" fmla="*/ 10000 h 10000"/>
              <a:gd name="connsiteX10" fmla="*/ 6397 w 10034"/>
              <a:gd name="connsiteY10" fmla="*/ 9665 h 10000"/>
              <a:gd name="connsiteX11" fmla="*/ 6397 w 10034"/>
              <a:gd name="connsiteY11" fmla="*/ 335 h 10000"/>
              <a:gd name="connsiteX12" fmla="*/ 6467 w 10034"/>
              <a:gd name="connsiteY12" fmla="*/ 0 h 10000"/>
              <a:gd name="connsiteX13" fmla="*/ 8029 w 10034"/>
              <a:gd name="connsiteY13" fmla="*/ 0 h 10000"/>
              <a:gd name="connsiteX14" fmla="*/ 8102 w 10034"/>
              <a:gd name="connsiteY14" fmla="*/ 335 h 10000"/>
              <a:gd name="connsiteX15" fmla="*/ 8102 w 10034"/>
              <a:gd name="connsiteY15" fmla="*/ 8575 h 10000"/>
              <a:gd name="connsiteX16" fmla="*/ 8172 w 10034"/>
              <a:gd name="connsiteY16" fmla="*/ 8935 h 10000"/>
              <a:gd name="connsiteX17" fmla="*/ 10034 w 10034"/>
              <a:gd name="connsiteY17" fmla="*/ 8915 h 10000"/>
              <a:gd name="connsiteX0" fmla="*/ 0 w 10034"/>
              <a:gd name="connsiteY0" fmla="*/ 7857 h 10000"/>
              <a:gd name="connsiteX1" fmla="*/ 726 w 10034"/>
              <a:gd name="connsiteY1" fmla="*/ 7855 h 10000"/>
              <a:gd name="connsiteX2" fmla="*/ 787 w 10034"/>
              <a:gd name="connsiteY2" fmla="*/ 7533 h 10000"/>
              <a:gd name="connsiteX3" fmla="*/ 787 w 10034"/>
              <a:gd name="connsiteY3" fmla="*/ 1796 h 10000"/>
              <a:gd name="connsiteX4" fmla="*/ 855 w 10034"/>
              <a:gd name="connsiteY4" fmla="*/ 1461 h 10000"/>
              <a:gd name="connsiteX5" fmla="*/ 4011 w 10034"/>
              <a:gd name="connsiteY5" fmla="*/ 1461 h 10000"/>
              <a:gd name="connsiteX6" fmla="*/ 4079 w 10034"/>
              <a:gd name="connsiteY6" fmla="*/ 1796 h 10000"/>
              <a:gd name="connsiteX7" fmla="*/ 4079 w 10034"/>
              <a:gd name="connsiteY7" fmla="*/ 9665 h 10000"/>
              <a:gd name="connsiteX8" fmla="*/ 4150 w 10034"/>
              <a:gd name="connsiteY8" fmla="*/ 10000 h 10000"/>
              <a:gd name="connsiteX9" fmla="*/ 6328 w 10034"/>
              <a:gd name="connsiteY9" fmla="*/ 10000 h 10000"/>
              <a:gd name="connsiteX10" fmla="*/ 6397 w 10034"/>
              <a:gd name="connsiteY10" fmla="*/ 9665 h 10000"/>
              <a:gd name="connsiteX11" fmla="*/ 6397 w 10034"/>
              <a:gd name="connsiteY11" fmla="*/ 335 h 10000"/>
              <a:gd name="connsiteX12" fmla="*/ 6467 w 10034"/>
              <a:gd name="connsiteY12" fmla="*/ 0 h 10000"/>
              <a:gd name="connsiteX13" fmla="*/ 8029 w 10034"/>
              <a:gd name="connsiteY13" fmla="*/ 0 h 10000"/>
              <a:gd name="connsiteX14" fmla="*/ 8102 w 10034"/>
              <a:gd name="connsiteY14" fmla="*/ 335 h 10000"/>
              <a:gd name="connsiteX15" fmla="*/ 8102 w 10034"/>
              <a:gd name="connsiteY15" fmla="*/ 8575 h 10000"/>
              <a:gd name="connsiteX16" fmla="*/ 8172 w 10034"/>
              <a:gd name="connsiteY16" fmla="*/ 8935 h 10000"/>
              <a:gd name="connsiteX17" fmla="*/ 10034 w 10034"/>
              <a:gd name="connsiteY17" fmla="*/ 8915 h 10000"/>
              <a:gd name="connsiteX0" fmla="*/ 0 w 10034"/>
              <a:gd name="connsiteY0" fmla="*/ 7857 h 10000"/>
              <a:gd name="connsiteX1" fmla="*/ 726 w 10034"/>
              <a:gd name="connsiteY1" fmla="*/ 7855 h 10000"/>
              <a:gd name="connsiteX2" fmla="*/ 787 w 10034"/>
              <a:gd name="connsiteY2" fmla="*/ 7533 h 10000"/>
              <a:gd name="connsiteX3" fmla="*/ 787 w 10034"/>
              <a:gd name="connsiteY3" fmla="*/ 1796 h 10000"/>
              <a:gd name="connsiteX4" fmla="*/ 855 w 10034"/>
              <a:gd name="connsiteY4" fmla="*/ 1461 h 10000"/>
              <a:gd name="connsiteX5" fmla="*/ 4011 w 10034"/>
              <a:gd name="connsiteY5" fmla="*/ 1461 h 10000"/>
              <a:gd name="connsiteX6" fmla="*/ 4079 w 10034"/>
              <a:gd name="connsiteY6" fmla="*/ 1796 h 10000"/>
              <a:gd name="connsiteX7" fmla="*/ 4079 w 10034"/>
              <a:gd name="connsiteY7" fmla="*/ 9665 h 10000"/>
              <a:gd name="connsiteX8" fmla="*/ 4150 w 10034"/>
              <a:gd name="connsiteY8" fmla="*/ 10000 h 10000"/>
              <a:gd name="connsiteX9" fmla="*/ 6328 w 10034"/>
              <a:gd name="connsiteY9" fmla="*/ 10000 h 10000"/>
              <a:gd name="connsiteX10" fmla="*/ 6397 w 10034"/>
              <a:gd name="connsiteY10" fmla="*/ 9665 h 10000"/>
              <a:gd name="connsiteX11" fmla="*/ 6397 w 10034"/>
              <a:gd name="connsiteY11" fmla="*/ 335 h 10000"/>
              <a:gd name="connsiteX12" fmla="*/ 6467 w 10034"/>
              <a:gd name="connsiteY12" fmla="*/ 0 h 10000"/>
              <a:gd name="connsiteX13" fmla="*/ 8029 w 10034"/>
              <a:gd name="connsiteY13" fmla="*/ 0 h 10000"/>
              <a:gd name="connsiteX14" fmla="*/ 8102 w 10034"/>
              <a:gd name="connsiteY14" fmla="*/ 335 h 10000"/>
              <a:gd name="connsiteX15" fmla="*/ 8102 w 10034"/>
              <a:gd name="connsiteY15" fmla="*/ 8575 h 10000"/>
              <a:gd name="connsiteX16" fmla="*/ 8172 w 10034"/>
              <a:gd name="connsiteY16" fmla="*/ 8935 h 10000"/>
              <a:gd name="connsiteX17" fmla="*/ 10034 w 10034"/>
              <a:gd name="connsiteY17" fmla="*/ 8915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41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41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41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41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28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28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66 h 10000"/>
              <a:gd name="connsiteX0" fmla="*/ 0 w 9995"/>
              <a:gd name="connsiteY0" fmla="*/ 7857 h 10000"/>
              <a:gd name="connsiteX1" fmla="*/ 726 w 9995"/>
              <a:gd name="connsiteY1" fmla="*/ 7855 h 10000"/>
              <a:gd name="connsiteX2" fmla="*/ 787 w 9995"/>
              <a:gd name="connsiteY2" fmla="*/ 7533 h 10000"/>
              <a:gd name="connsiteX3" fmla="*/ 787 w 9995"/>
              <a:gd name="connsiteY3" fmla="*/ 1796 h 10000"/>
              <a:gd name="connsiteX4" fmla="*/ 855 w 9995"/>
              <a:gd name="connsiteY4" fmla="*/ 1461 h 10000"/>
              <a:gd name="connsiteX5" fmla="*/ 4011 w 9995"/>
              <a:gd name="connsiteY5" fmla="*/ 1461 h 10000"/>
              <a:gd name="connsiteX6" fmla="*/ 4079 w 9995"/>
              <a:gd name="connsiteY6" fmla="*/ 1796 h 10000"/>
              <a:gd name="connsiteX7" fmla="*/ 4079 w 9995"/>
              <a:gd name="connsiteY7" fmla="*/ 9665 h 10000"/>
              <a:gd name="connsiteX8" fmla="*/ 4150 w 9995"/>
              <a:gd name="connsiteY8" fmla="*/ 10000 h 10000"/>
              <a:gd name="connsiteX9" fmla="*/ 6328 w 9995"/>
              <a:gd name="connsiteY9" fmla="*/ 10000 h 10000"/>
              <a:gd name="connsiteX10" fmla="*/ 6397 w 9995"/>
              <a:gd name="connsiteY10" fmla="*/ 9665 h 10000"/>
              <a:gd name="connsiteX11" fmla="*/ 6397 w 9995"/>
              <a:gd name="connsiteY11" fmla="*/ 335 h 10000"/>
              <a:gd name="connsiteX12" fmla="*/ 6467 w 9995"/>
              <a:gd name="connsiteY12" fmla="*/ 0 h 10000"/>
              <a:gd name="connsiteX13" fmla="*/ 8029 w 9995"/>
              <a:gd name="connsiteY13" fmla="*/ 0 h 10000"/>
              <a:gd name="connsiteX14" fmla="*/ 8102 w 9995"/>
              <a:gd name="connsiteY14" fmla="*/ 335 h 10000"/>
              <a:gd name="connsiteX15" fmla="*/ 8102 w 9995"/>
              <a:gd name="connsiteY15" fmla="*/ 8575 h 10000"/>
              <a:gd name="connsiteX16" fmla="*/ 8172 w 9995"/>
              <a:gd name="connsiteY16" fmla="*/ 8935 h 10000"/>
              <a:gd name="connsiteX17" fmla="*/ 9995 w 9995"/>
              <a:gd name="connsiteY17" fmla="*/ 8916 h 10000"/>
              <a:gd name="connsiteX0" fmla="*/ 0 w 10005"/>
              <a:gd name="connsiteY0" fmla="*/ 7857 h 10000"/>
              <a:gd name="connsiteX1" fmla="*/ 726 w 10005"/>
              <a:gd name="connsiteY1" fmla="*/ 7855 h 10000"/>
              <a:gd name="connsiteX2" fmla="*/ 787 w 10005"/>
              <a:gd name="connsiteY2" fmla="*/ 7533 h 10000"/>
              <a:gd name="connsiteX3" fmla="*/ 787 w 10005"/>
              <a:gd name="connsiteY3" fmla="*/ 1796 h 10000"/>
              <a:gd name="connsiteX4" fmla="*/ 855 w 10005"/>
              <a:gd name="connsiteY4" fmla="*/ 1461 h 10000"/>
              <a:gd name="connsiteX5" fmla="*/ 4013 w 10005"/>
              <a:gd name="connsiteY5" fmla="*/ 1461 h 10000"/>
              <a:gd name="connsiteX6" fmla="*/ 4081 w 10005"/>
              <a:gd name="connsiteY6" fmla="*/ 1796 h 10000"/>
              <a:gd name="connsiteX7" fmla="*/ 4081 w 10005"/>
              <a:gd name="connsiteY7" fmla="*/ 9665 h 10000"/>
              <a:gd name="connsiteX8" fmla="*/ 4152 w 10005"/>
              <a:gd name="connsiteY8" fmla="*/ 10000 h 10000"/>
              <a:gd name="connsiteX9" fmla="*/ 6331 w 10005"/>
              <a:gd name="connsiteY9" fmla="*/ 10000 h 10000"/>
              <a:gd name="connsiteX10" fmla="*/ 6400 w 10005"/>
              <a:gd name="connsiteY10" fmla="*/ 9665 h 10000"/>
              <a:gd name="connsiteX11" fmla="*/ 6400 w 10005"/>
              <a:gd name="connsiteY11" fmla="*/ 335 h 10000"/>
              <a:gd name="connsiteX12" fmla="*/ 6470 w 10005"/>
              <a:gd name="connsiteY12" fmla="*/ 0 h 10000"/>
              <a:gd name="connsiteX13" fmla="*/ 8033 w 10005"/>
              <a:gd name="connsiteY13" fmla="*/ 0 h 10000"/>
              <a:gd name="connsiteX14" fmla="*/ 8106 w 10005"/>
              <a:gd name="connsiteY14" fmla="*/ 335 h 10000"/>
              <a:gd name="connsiteX15" fmla="*/ 8106 w 10005"/>
              <a:gd name="connsiteY15" fmla="*/ 8575 h 10000"/>
              <a:gd name="connsiteX16" fmla="*/ 8176 w 10005"/>
              <a:gd name="connsiteY16" fmla="*/ 8935 h 10000"/>
              <a:gd name="connsiteX17" fmla="*/ 10005 w 10005"/>
              <a:gd name="connsiteY17" fmla="*/ 8941 h 10000"/>
              <a:gd name="connsiteX0" fmla="*/ 0 w 10005"/>
              <a:gd name="connsiteY0" fmla="*/ 7857 h 10000"/>
              <a:gd name="connsiteX1" fmla="*/ 726 w 10005"/>
              <a:gd name="connsiteY1" fmla="*/ 7855 h 10000"/>
              <a:gd name="connsiteX2" fmla="*/ 787 w 10005"/>
              <a:gd name="connsiteY2" fmla="*/ 7533 h 10000"/>
              <a:gd name="connsiteX3" fmla="*/ 787 w 10005"/>
              <a:gd name="connsiteY3" fmla="*/ 1796 h 10000"/>
              <a:gd name="connsiteX4" fmla="*/ 855 w 10005"/>
              <a:gd name="connsiteY4" fmla="*/ 1461 h 10000"/>
              <a:gd name="connsiteX5" fmla="*/ 4013 w 10005"/>
              <a:gd name="connsiteY5" fmla="*/ 1461 h 10000"/>
              <a:gd name="connsiteX6" fmla="*/ 4081 w 10005"/>
              <a:gd name="connsiteY6" fmla="*/ 1796 h 10000"/>
              <a:gd name="connsiteX7" fmla="*/ 4081 w 10005"/>
              <a:gd name="connsiteY7" fmla="*/ 9665 h 10000"/>
              <a:gd name="connsiteX8" fmla="*/ 4152 w 10005"/>
              <a:gd name="connsiteY8" fmla="*/ 10000 h 10000"/>
              <a:gd name="connsiteX9" fmla="*/ 6331 w 10005"/>
              <a:gd name="connsiteY9" fmla="*/ 10000 h 10000"/>
              <a:gd name="connsiteX10" fmla="*/ 6400 w 10005"/>
              <a:gd name="connsiteY10" fmla="*/ 9665 h 10000"/>
              <a:gd name="connsiteX11" fmla="*/ 6400 w 10005"/>
              <a:gd name="connsiteY11" fmla="*/ 335 h 10000"/>
              <a:gd name="connsiteX12" fmla="*/ 6470 w 10005"/>
              <a:gd name="connsiteY12" fmla="*/ 0 h 10000"/>
              <a:gd name="connsiteX13" fmla="*/ 8033 w 10005"/>
              <a:gd name="connsiteY13" fmla="*/ 0 h 10000"/>
              <a:gd name="connsiteX14" fmla="*/ 8106 w 10005"/>
              <a:gd name="connsiteY14" fmla="*/ 335 h 10000"/>
              <a:gd name="connsiteX15" fmla="*/ 8106 w 10005"/>
              <a:gd name="connsiteY15" fmla="*/ 8575 h 10000"/>
              <a:gd name="connsiteX16" fmla="*/ 8176 w 10005"/>
              <a:gd name="connsiteY16" fmla="*/ 8935 h 10000"/>
              <a:gd name="connsiteX17" fmla="*/ 10005 w 10005"/>
              <a:gd name="connsiteY17" fmla="*/ 8941 h 10000"/>
              <a:gd name="connsiteX0" fmla="*/ 0 w 10005"/>
              <a:gd name="connsiteY0" fmla="*/ 7857 h 10000"/>
              <a:gd name="connsiteX1" fmla="*/ 726 w 10005"/>
              <a:gd name="connsiteY1" fmla="*/ 7855 h 10000"/>
              <a:gd name="connsiteX2" fmla="*/ 787 w 10005"/>
              <a:gd name="connsiteY2" fmla="*/ 7533 h 10000"/>
              <a:gd name="connsiteX3" fmla="*/ 787 w 10005"/>
              <a:gd name="connsiteY3" fmla="*/ 1796 h 10000"/>
              <a:gd name="connsiteX4" fmla="*/ 855 w 10005"/>
              <a:gd name="connsiteY4" fmla="*/ 1461 h 10000"/>
              <a:gd name="connsiteX5" fmla="*/ 4013 w 10005"/>
              <a:gd name="connsiteY5" fmla="*/ 1461 h 10000"/>
              <a:gd name="connsiteX6" fmla="*/ 4081 w 10005"/>
              <a:gd name="connsiteY6" fmla="*/ 1796 h 10000"/>
              <a:gd name="connsiteX7" fmla="*/ 4081 w 10005"/>
              <a:gd name="connsiteY7" fmla="*/ 9665 h 10000"/>
              <a:gd name="connsiteX8" fmla="*/ 4152 w 10005"/>
              <a:gd name="connsiteY8" fmla="*/ 10000 h 10000"/>
              <a:gd name="connsiteX9" fmla="*/ 6331 w 10005"/>
              <a:gd name="connsiteY9" fmla="*/ 10000 h 10000"/>
              <a:gd name="connsiteX10" fmla="*/ 6400 w 10005"/>
              <a:gd name="connsiteY10" fmla="*/ 9665 h 10000"/>
              <a:gd name="connsiteX11" fmla="*/ 6400 w 10005"/>
              <a:gd name="connsiteY11" fmla="*/ 335 h 10000"/>
              <a:gd name="connsiteX12" fmla="*/ 6470 w 10005"/>
              <a:gd name="connsiteY12" fmla="*/ 0 h 10000"/>
              <a:gd name="connsiteX13" fmla="*/ 8033 w 10005"/>
              <a:gd name="connsiteY13" fmla="*/ 0 h 10000"/>
              <a:gd name="connsiteX14" fmla="*/ 8106 w 10005"/>
              <a:gd name="connsiteY14" fmla="*/ 335 h 10000"/>
              <a:gd name="connsiteX15" fmla="*/ 8106 w 10005"/>
              <a:gd name="connsiteY15" fmla="*/ 8575 h 10000"/>
              <a:gd name="connsiteX16" fmla="*/ 8176 w 10005"/>
              <a:gd name="connsiteY16" fmla="*/ 8935 h 10000"/>
              <a:gd name="connsiteX17" fmla="*/ 10005 w 10005"/>
              <a:gd name="connsiteY17" fmla="*/ 8941 h 10000"/>
              <a:gd name="connsiteX0" fmla="*/ 0 w 10015"/>
              <a:gd name="connsiteY0" fmla="*/ 7857 h 10000"/>
              <a:gd name="connsiteX1" fmla="*/ 726 w 10015"/>
              <a:gd name="connsiteY1" fmla="*/ 7855 h 10000"/>
              <a:gd name="connsiteX2" fmla="*/ 787 w 10015"/>
              <a:gd name="connsiteY2" fmla="*/ 7533 h 10000"/>
              <a:gd name="connsiteX3" fmla="*/ 787 w 10015"/>
              <a:gd name="connsiteY3" fmla="*/ 1796 h 10000"/>
              <a:gd name="connsiteX4" fmla="*/ 855 w 10015"/>
              <a:gd name="connsiteY4" fmla="*/ 1461 h 10000"/>
              <a:gd name="connsiteX5" fmla="*/ 4013 w 10015"/>
              <a:gd name="connsiteY5" fmla="*/ 1461 h 10000"/>
              <a:gd name="connsiteX6" fmla="*/ 4081 w 10015"/>
              <a:gd name="connsiteY6" fmla="*/ 1796 h 10000"/>
              <a:gd name="connsiteX7" fmla="*/ 4081 w 10015"/>
              <a:gd name="connsiteY7" fmla="*/ 9665 h 10000"/>
              <a:gd name="connsiteX8" fmla="*/ 4152 w 10015"/>
              <a:gd name="connsiteY8" fmla="*/ 10000 h 10000"/>
              <a:gd name="connsiteX9" fmla="*/ 6331 w 10015"/>
              <a:gd name="connsiteY9" fmla="*/ 10000 h 10000"/>
              <a:gd name="connsiteX10" fmla="*/ 6400 w 10015"/>
              <a:gd name="connsiteY10" fmla="*/ 9665 h 10000"/>
              <a:gd name="connsiteX11" fmla="*/ 6400 w 10015"/>
              <a:gd name="connsiteY11" fmla="*/ 335 h 10000"/>
              <a:gd name="connsiteX12" fmla="*/ 6470 w 10015"/>
              <a:gd name="connsiteY12" fmla="*/ 0 h 10000"/>
              <a:gd name="connsiteX13" fmla="*/ 8033 w 10015"/>
              <a:gd name="connsiteY13" fmla="*/ 0 h 10000"/>
              <a:gd name="connsiteX14" fmla="*/ 8106 w 10015"/>
              <a:gd name="connsiteY14" fmla="*/ 335 h 10000"/>
              <a:gd name="connsiteX15" fmla="*/ 8106 w 10015"/>
              <a:gd name="connsiteY15" fmla="*/ 8575 h 10000"/>
              <a:gd name="connsiteX16" fmla="*/ 8176 w 10015"/>
              <a:gd name="connsiteY16" fmla="*/ 8935 h 10000"/>
              <a:gd name="connsiteX17" fmla="*/ 10015 w 10015"/>
              <a:gd name="connsiteY17" fmla="*/ 8941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</a:cxnLst>
            <a:rect l="l" t="t" r="r" b="b"/>
            <a:pathLst>
              <a:path w="10015" h="10000">
                <a:moveTo>
                  <a:pt x="0" y="7857"/>
                </a:moveTo>
                <a:cubicBezTo>
                  <a:pt x="34" y="7853"/>
                  <a:pt x="360" y="7855"/>
                  <a:pt x="726" y="7855"/>
                </a:cubicBezTo>
                <a:cubicBezTo>
                  <a:pt x="766" y="7855"/>
                  <a:pt x="787" y="7713"/>
                  <a:pt x="787" y="7533"/>
                </a:cubicBezTo>
                <a:lnTo>
                  <a:pt x="787" y="1796"/>
                </a:lnTo>
                <a:cubicBezTo>
                  <a:pt x="787" y="1605"/>
                  <a:pt x="815" y="1461"/>
                  <a:pt x="855" y="1461"/>
                </a:cubicBezTo>
                <a:lnTo>
                  <a:pt x="4013" y="1461"/>
                </a:lnTo>
                <a:cubicBezTo>
                  <a:pt x="4049" y="1461"/>
                  <a:pt x="4081" y="1605"/>
                  <a:pt x="4081" y="1796"/>
                </a:cubicBezTo>
                <a:lnTo>
                  <a:pt x="4081" y="9665"/>
                </a:lnTo>
                <a:cubicBezTo>
                  <a:pt x="4081" y="9844"/>
                  <a:pt x="4112" y="10000"/>
                  <a:pt x="4152" y="10000"/>
                </a:cubicBezTo>
                <a:lnTo>
                  <a:pt x="6331" y="10000"/>
                </a:lnTo>
                <a:cubicBezTo>
                  <a:pt x="6371" y="10000"/>
                  <a:pt x="6400" y="9844"/>
                  <a:pt x="6400" y="9665"/>
                </a:cubicBezTo>
                <a:lnTo>
                  <a:pt x="6400" y="335"/>
                </a:lnTo>
                <a:cubicBezTo>
                  <a:pt x="6400" y="156"/>
                  <a:pt x="6432" y="0"/>
                  <a:pt x="6470" y="0"/>
                </a:cubicBezTo>
                <a:lnTo>
                  <a:pt x="8033" y="0"/>
                </a:lnTo>
                <a:cubicBezTo>
                  <a:pt x="8075" y="0"/>
                  <a:pt x="8106" y="156"/>
                  <a:pt x="8106" y="335"/>
                </a:cubicBezTo>
                <a:lnTo>
                  <a:pt x="8106" y="8575"/>
                </a:lnTo>
                <a:cubicBezTo>
                  <a:pt x="8106" y="8754"/>
                  <a:pt x="8138" y="8935"/>
                  <a:pt x="8176" y="8935"/>
                </a:cubicBezTo>
                <a:cubicBezTo>
                  <a:pt x="8276" y="8937"/>
                  <a:pt x="9405" y="8939"/>
                  <a:pt x="10015" y="8941"/>
                </a:cubicBezTo>
              </a:path>
            </a:pathLst>
          </a:custGeom>
          <a:noFill/>
          <a:ln w="12700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endParaRPr lang="en-US" sz="1800">
              <a:solidFill>
                <a:prstClr val="black"/>
              </a:solidFill>
              <a:latin typeface="Arial"/>
            </a:endParaRPr>
          </a:p>
        </p:txBody>
      </p:sp>
      <p:sp>
        <p:nvSpPr>
          <p:cNvPr id="12" name="Freeform 10"/>
          <p:cNvSpPr>
            <a:spLocks/>
          </p:cNvSpPr>
          <p:nvPr userDrawn="1"/>
        </p:nvSpPr>
        <p:spPr bwMode="gray">
          <a:xfrm>
            <a:off x="3" y="4482313"/>
            <a:ext cx="9143997" cy="1084634"/>
          </a:xfrm>
          <a:custGeom>
            <a:avLst/>
            <a:gdLst>
              <a:gd name="T0" fmla="*/ 0 w 8479"/>
              <a:gd name="T1" fmla="*/ 130 h 583"/>
              <a:gd name="T2" fmla="*/ 419 w 8479"/>
              <a:gd name="T3" fmla="*/ 130 h 583"/>
              <a:gd name="T4" fmla="*/ 447 w 8479"/>
              <a:gd name="T5" fmla="*/ 158 h 583"/>
              <a:gd name="T6" fmla="*/ 447 w 8479"/>
              <a:gd name="T7" fmla="*/ 458 h 583"/>
              <a:gd name="T8" fmla="*/ 475 w 8479"/>
              <a:gd name="T9" fmla="*/ 486 h 583"/>
              <a:gd name="T10" fmla="*/ 1724 w 8479"/>
              <a:gd name="T11" fmla="*/ 486 h 583"/>
              <a:gd name="T12" fmla="*/ 1752 w 8479"/>
              <a:gd name="T13" fmla="*/ 458 h 583"/>
              <a:gd name="T14" fmla="*/ 1752 w 8479"/>
              <a:gd name="T15" fmla="*/ 36 h 583"/>
              <a:gd name="T16" fmla="*/ 1780 w 8479"/>
              <a:gd name="T17" fmla="*/ 8 h 583"/>
              <a:gd name="T18" fmla="*/ 2675 w 8479"/>
              <a:gd name="T19" fmla="*/ 8 h 583"/>
              <a:gd name="T20" fmla="*/ 2703 w 8479"/>
              <a:gd name="T21" fmla="*/ 36 h 583"/>
              <a:gd name="T22" fmla="*/ 2703 w 8479"/>
              <a:gd name="T23" fmla="*/ 458 h 583"/>
              <a:gd name="T24" fmla="*/ 2731 w 8479"/>
              <a:gd name="T25" fmla="*/ 486 h 583"/>
              <a:gd name="T26" fmla="*/ 4228 w 8479"/>
              <a:gd name="T27" fmla="*/ 486 h 583"/>
              <a:gd name="T28" fmla="*/ 4256 w 8479"/>
              <a:gd name="T29" fmla="*/ 458 h 583"/>
              <a:gd name="T30" fmla="*/ 4256 w 8479"/>
              <a:gd name="T31" fmla="*/ 214 h 583"/>
              <a:gd name="T32" fmla="*/ 4284 w 8479"/>
              <a:gd name="T33" fmla="*/ 186 h 583"/>
              <a:gd name="T34" fmla="*/ 5867 w 8479"/>
              <a:gd name="T35" fmla="*/ 186 h 583"/>
              <a:gd name="T36" fmla="*/ 5895 w 8479"/>
              <a:gd name="T37" fmla="*/ 214 h 583"/>
              <a:gd name="T38" fmla="*/ 5895 w 8479"/>
              <a:gd name="T39" fmla="*/ 309 h 583"/>
              <a:gd name="T40" fmla="*/ 5923 w 8479"/>
              <a:gd name="T41" fmla="*/ 337 h 583"/>
              <a:gd name="T42" fmla="*/ 6495 w 8479"/>
              <a:gd name="T43" fmla="*/ 337 h 583"/>
              <a:gd name="T44" fmla="*/ 6523 w 8479"/>
              <a:gd name="T45" fmla="*/ 309 h 583"/>
              <a:gd name="T46" fmla="*/ 6523 w 8479"/>
              <a:gd name="T47" fmla="*/ 28 h 583"/>
              <a:gd name="T48" fmla="*/ 6551 w 8479"/>
              <a:gd name="T49" fmla="*/ 0 h 583"/>
              <a:gd name="T50" fmla="*/ 7543 w 8479"/>
              <a:gd name="T51" fmla="*/ 0 h 583"/>
              <a:gd name="T52" fmla="*/ 7571 w 8479"/>
              <a:gd name="T53" fmla="*/ 28 h 583"/>
              <a:gd name="T54" fmla="*/ 7571 w 8479"/>
              <a:gd name="T55" fmla="*/ 555 h 583"/>
              <a:gd name="T56" fmla="*/ 7599 w 8479"/>
              <a:gd name="T57" fmla="*/ 583 h 583"/>
              <a:gd name="T58" fmla="*/ 8479 w 8479"/>
              <a:gd name="T59" fmla="*/ 583 h 583"/>
              <a:gd name="connsiteX0" fmla="*/ 0 w 9506"/>
              <a:gd name="connsiteY0" fmla="*/ 2230 h 10000"/>
              <a:gd name="connsiteX1" fmla="*/ 33 w 9506"/>
              <a:gd name="connsiteY1" fmla="*/ 2710 h 10000"/>
              <a:gd name="connsiteX2" fmla="*/ 33 w 9506"/>
              <a:gd name="connsiteY2" fmla="*/ 7856 h 10000"/>
              <a:gd name="connsiteX3" fmla="*/ 66 w 9506"/>
              <a:gd name="connsiteY3" fmla="*/ 8336 h 10000"/>
              <a:gd name="connsiteX4" fmla="*/ 1539 w 9506"/>
              <a:gd name="connsiteY4" fmla="*/ 8336 h 10000"/>
              <a:gd name="connsiteX5" fmla="*/ 1572 w 9506"/>
              <a:gd name="connsiteY5" fmla="*/ 7856 h 10000"/>
              <a:gd name="connsiteX6" fmla="*/ 1572 w 9506"/>
              <a:gd name="connsiteY6" fmla="*/ 617 h 10000"/>
              <a:gd name="connsiteX7" fmla="*/ 1605 w 9506"/>
              <a:gd name="connsiteY7" fmla="*/ 137 h 10000"/>
              <a:gd name="connsiteX8" fmla="*/ 2661 w 9506"/>
              <a:gd name="connsiteY8" fmla="*/ 137 h 10000"/>
              <a:gd name="connsiteX9" fmla="*/ 2694 w 9506"/>
              <a:gd name="connsiteY9" fmla="*/ 617 h 10000"/>
              <a:gd name="connsiteX10" fmla="*/ 2694 w 9506"/>
              <a:gd name="connsiteY10" fmla="*/ 7856 h 10000"/>
              <a:gd name="connsiteX11" fmla="*/ 2727 w 9506"/>
              <a:gd name="connsiteY11" fmla="*/ 8336 h 10000"/>
              <a:gd name="connsiteX12" fmla="*/ 4492 w 9506"/>
              <a:gd name="connsiteY12" fmla="*/ 8336 h 10000"/>
              <a:gd name="connsiteX13" fmla="*/ 4525 w 9506"/>
              <a:gd name="connsiteY13" fmla="*/ 7856 h 10000"/>
              <a:gd name="connsiteX14" fmla="*/ 4525 w 9506"/>
              <a:gd name="connsiteY14" fmla="*/ 3671 h 10000"/>
              <a:gd name="connsiteX15" fmla="*/ 4558 w 9506"/>
              <a:gd name="connsiteY15" fmla="*/ 3190 h 10000"/>
              <a:gd name="connsiteX16" fmla="*/ 6425 w 9506"/>
              <a:gd name="connsiteY16" fmla="*/ 3190 h 10000"/>
              <a:gd name="connsiteX17" fmla="*/ 6458 w 9506"/>
              <a:gd name="connsiteY17" fmla="*/ 3671 h 10000"/>
              <a:gd name="connsiteX18" fmla="*/ 6458 w 9506"/>
              <a:gd name="connsiteY18" fmla="*/ 5300 h 10000"/>
              <a:gd name="connsiteX19" fmla="*/ 6491 w 9506"/>
              <a:gd name="connsiteY19" fmla="*/ 5780 h 10000"/>
              <a:gd name="connsiteX20" fmla="*/ 7166 w 9506"/>
              <a:gd name="connsiteY20" fmla="*/ 5780 h 10000"/>
              <a:gd name="connsiteX21" fmla="*/ 7199 w 9506"/>
              <a:gd name="connsiteY21" fmla="*/ 5300 h 10000"/>
              <a:gd name="connsiteX22" fmla="*/ 7199 w 9506"/>
              <a:gd name="connsiteY22" fmla="*/ 480 h 10000"/>
              <a:gd name="connsiteX23" fmla="*/ 7232 w 9506"/>
              <a:gd name="connsiteY23" fmla="*/ 0 h 10000"/>
              <a:gd name="connsiteX24" fmla="*/ 8402 w 9506"/>
              <a:gd name="connsiteY24" fmla="*/ 0 h 10000"/>
              <a:gd name="connsiteX25" fmla="*/ 8435 w 9506"/>
              <a:gd name="connsiteY25" fmla="*/ 480 h 10000"/>
              <a:gd name="connsiteX26" fmla="*/ 8435 w 9506"/>
              <a:gd name="connsiteY26" fmla="*/ 9520 h 10000"/>
              <a:gd name="connsiteX27" fmla="*/ 8468 w 9506"/>
              <a:gd name="connsiteY27" fmla="*/ 10000 h 10000"/>
              <a:gd name="connsiteX28" fmla="*/ 9506 w 9506"/>
              <a:gd name="connsiteY28" fmla="*/ 10000 h 10000"/>
              <a:gd name="connsiteX0" fmla="*/ 0 w 9965"/>
              <a:gd name="connsiteY0" fmla="*/ 2710 h 10000"/>
              <a:gd name="connsiteX1" fmla="*/ 0 w 9965"/>
              <a:gd name="connsiteY1" fmla="*/ 7856 h 10000"/>
              <a:gd name="connsiteX2" fmla="*/ 34 w 9965"/>
              <a:gd name="connsiteY2" fmla="*/ 8336 h 10000"/>
              <a:gd name="connsiteX3" fmla="*/ 1584 w 9965"/>
              <a:gd name="connsiteY3" fmla="*/ 8336 h 10000"/>
              <a:gd name="connsiteX4" fmla="*/ 1619 w 9965"/>
              <a:gd name="connsiteY4" fmla="*/ 7856 h 10000"/>
              <a:gd name="connsiteX5" fmla="*/ 1619 w 9965"/>
              <a:gd name="connsiteY5" fmla="*/ 617 h 10000"/>
              <a:gd name="connsiteX6" fmla="*/ 1653 w 9965"/>
              <a:gd name="connsiteY6" fmla="*/ 137 h 10000"/>
              <a:gd name="connsiteX7" fmla="*/ 2764 w 9965"/>
              <a:gd name="connsiteY7" fmla="*/ 137 h 10000"/>
              <a:gd name="connsiteX8" fmla="*/ 2799 w 9965"/>
              <a:gd name="connsiteY8" fmla="*/ 617 h 10000"/>
              <a:gd name="connsiteX9" fmla="*/ 2799 w 9965"/>
              <a:gd name="connsiteY9" fmla="*/ 7856 h 10000"/>
              <a:gd name="connsiteX10" fmla="*/ 2834 w 9965"/>
              <a:gd name="connsiteY10" fmla="*/ 8336 h 10000"/>
              <a:gd name="connsiteX11" fmla="*/ 4690 w 9965"/>
              <a:gd name="connsiteY11" fmla="*/ 8336 h 10000"/>
              <a:gd name="connsiteX12" fmla="*/ 4725 w 9965"/>
              <a:gd name="connsiteY12" fmla="*/ 7856 h 10000"/>
              <a:gd name="connsiteX13" fmla="*/ 4725 w 9965"/>
              <a:gd name="connsiteY13" fmla="*/ 3671 h 10000"/>
              <a:gd name="connsiteX14" fmla="*/ 4760 w 9965"/>
              <a:gd name="connsiteY14" fmla="*/ 3190 h 10000"/>
              <a:gd name="connsiteX15" fmla="*/ 6724 w 9965"/>
              <a:gd name="connsiteY15" fmla="*/ 3190 h 10000"/>
              <a:gd name="connsiteX16" fmla="*/ 6759 w 9965"/>
              <a:gd name="connsiteY16" fmla="*/ 3671 h 10000"/>
              <a:gd name="connsiteX17" fmla="*/ 6759 w 9965"/>
              <a:gd name="connsiteY17" fmla="*/ 5300 h 10000"/>
              <a:gd name="connsiteX18" fmla="*/ 6793 w 9965"/>
              <a:gd name="connsiteY18" fmla="*/ 5780 h 10000"/>
              <a:gd name="connsiteX19" fmla="*/ 7503 w 9965"/>
              <a:gd name="connsiteY19" fmla="*/ 5780 h 10000"/>
              <a:gd name="connsiteX20" fmla="*/ 7538 w 9965"/>
              <a:gd name="connsiteY20" fmla="*/ 5300 h 10000"/>
              <a:gd name="connsiteX21" fmla="*/ 7538 w 9965"/>
              <a:gd name="connsiteY21" fmla="*/ 480 h 10000"/>
              <a:gd name="connsiteX22" fmla="*/ 7573 w 9965"/>
              <a:gd name="connsiteY22" fmla="*/ 0 h 10000"/>
              <a:gd name="connsiteX23" fmla="*/ 8804 w 9965"/>
              <a:gd name="connsiteY23" fmla="*/ 0 h 10000"/>
              <a:gd name="connsiteX24" fmla="*/ 8838 w 9965"/>
              <a:gd name="connsiteY24" fmla="*/ 480 h 10000"/>
              <a:gd name="connsiteX25" fmla="*/ 8838 w 9965"/>
              <a:gd name="connsiteY25" fmla="*/ 9520 h 10000"/>
              <a:gd name="connsiteX26" fmla="*/ 8873 w 9965"/>
              <a:gd name="connsiteY26" fmla="*/ 10000 h 10000"/>
              <a:gd name="connsiteX27" fmla="*/ 9965 w 9965"/>
              <a:gd name="connsiteY27" fmla="*/ 10000 h 10000"/>
              <a:gd name="connsiteX0" fmla="*/ 0 w 10000"/>
              <a:gd name="connsiteY0" fmla="*/ 7856 h 10000"/>
              <a:gd name="connsiteX1" fmla="*/ 34 w 10000"/>
              <a:gd name="connsiteY1" fmla="*/ 8336 h 10000"/>
              <a:gd name="connsiteX2" fmla="*/ 1590 w 10000"/>
              <a:gd name="connsiteY2" fmla="*/ 8336 h 10000"/>
              <a:gd name="connsiteX3" fmla="*/ 1625 w 10000"/>
              <a:gd name="connsiteY3" fmla="*/ 7856 h 10000"/>
              <a:gd name="connsiteX4" fmla="*/ 1625 w 10000"/>
              <a:gd name="connsiteY4" fmla="*/ 617 h 10000"/>
              <a:gd name="connsiteX5" fmla="*/ 1659 w 10000"/>
              <a:gd name="connsiteY5" fmla="*/ 137 h 10000"/>
              <a:gd name="connsiteX6" fmla="*/ 2774 w 10000"/>
              <a:gd name="connsiteY6" fmla="*/ 137 h 10000"/>
              <a:gd name="connsiteX7" fmla="*/ 2809 w 10000"/>
              <a:gd name="connsiteY7" fmla="*/ 617 h 10000"/>
              <a:gd name="connsiteX8" fmla="*/ 2809 w 10000"/>
              <a:gd name="connsiteY8" fmla="*/ 7856 h 10000"/>
              <a:gd name="connsiteX9" fmla="*/ 2844 w 10000"/>
              <a:gd name="connsiteY9" fmla="*/ 8336 h 10000"/>
              <a:gd name="connsiteX10" fmla="*/ 4706 w 10000"/>
              <a:gd name="connsiteY10" fmla="*/ 8336 h 10000"/>
              <a:gd name="connsiteX11" fmla="*/ 4742 w 10000"/>
              <a:gd name="connsiteY11" fmla="*/ 7856 h 10000"/>
              <a:gd name="connsiteX12" fmla="*/ 4742 w 10000"/>
              <a:gd name="connsiteY12" fmla="*/ 3671 h 10000"/>
              <a:gd name="connsiteX13" fmla="*/ 4777 w 10000"/>
              <a:gd name="connsiteY13" fmla="*/ 3190 h 10000"/>
              <a:gd name="connsiteX14" fmla="*/ 6748 w 10000"/>
              <a:gd name="connsiteY14" fmla="*/ 3190 h 10000"/>
              <a:gd name="connsiteX15" fmla="*/ 6783 w 10000"/>
              <a:gd name="connsiteY15" fmla="*/ 3671 h 10000"/>
              <a:gd name="connsiteX16" fmla="*/ 6783 w 10000"/>
              <a:gd name="connsiteY16" fmla="*/ 5300 h 10000"/>
              <a:gd name="connsiteX17" fmla="*/ 6817 w 10000"/>
              <a:gd name="connsiteY17" fmla="*/ 5780 h 10000"/>
              <a:gd name="connsiteX18" fmla="*/ 7529 w 10000"/>
              <a:gd name="connsiteY18" fmla="*/ 5780 h 10000"/>
              <a:gd name="connsiteX19" fmla="*/ 7564 w 10000"/>
              <a:gd name="connsiteY19" fmla="*/ 5300 h 10000"/>
              <a:gd name="connsiteX20" fmla="*/ 7564 w 10000"/>
              <a:gd name="connsiteY20" fmla="*/ 480 h 10000"/>
              <a:gd name="connsiteX21" fmla="*/ 7600 w 10000"/>
              <a:gd name="connsiteY21" fmla="*/ 0 h 10000"/>
              <a:gd name="connsiteX22" fmla="*/ 8835 w 10000"/>
              <a:gd name="connsiteY22" fmla="*/ 0 h 10000"/>
              <a:gd name="connsiteX23" fmla="*/ 8869 w 10000"/>
              <a:gd name="connsiteY23" fmla="*/ 480 h 10000"/>
              <a:gd name="connsiteX24" fmla="*/ 8869 w 10000"/>
              <a:gd name="connsiteY24" fmla="*/ 9520 h 10000"/>
              <a:gd name="connsiteX25" fmla="*/ 8904 w 10000"/>
              <a:gd name="connsiteY25" fmla="*/ 10000 h 10000"/>
              <a:gd name="connsiteX26" fmla="*/ 10000 w 10000"/>
              <a:gd name="connsiteY26" fmla="*/ 10000 h 10000"/>
              <a:gd name="connsiteX0" fmla="*/ 0 w 9966"/>
              <a:gd name="connsiteY0" fmla="*/ 8336 h 10000"/>
              <a:gd name="connsiteX1" fmla="*/ 1556 w 9966"/>
              <a:gd name="connsiteY1" fmla="*/ 8336 h 10000"/>
              <a:gd name="connsiteX2" fmla="*/ 1591 w 9966"/>
              <a:gd name="connsiteY2" fmla="*/ 7856 h 10000"/>
              <a:gd name="connsiteX3" fmla="*/ 1591 w 9966"/>
              <a:gd name="connsiteY3" fmla="*/ 617 h 10000"/>
              <a:gd name="connsiteX4" fmla="*/ 1625 w 9966"/>
              <a:gd name="connsiteY4" fmla="*/ 137 h 10000"/>
              <a:gd name="connsiteX5" fmla="*/ 2740 w 9966"/>
              <a:gd name="connsiteY5" fmla="*/ 137 h 10000"/>
              <a:gd name="connsiteX6" fmla="*/ 2775 w 9966"/>
              <a:gd name="connsiteY6" fmla="*/ 617 h 10000"/>
              <a:gd name="connsiteX7" fmla="*/ 2775 w 9966"/>
              <a:gd name="connsiteY7" fmla="*/ 7856 h 10000"/>
              <a:gd name="connsiteX8" fmla="*/ 2810 w 9966"/>
              <a:gd name="connsiteY8" fmla="*/ 8336 h 10000"/>
              <a:gd name="connsiteX9" fmla="*/ 4672 w 9966"/>
              <a:gd name="connsiteY9" fmla="*/ 8336 h 10000"/>
              <a:gd name="connsiteX10" fmla="*/ 4708 w 9966"/>
              <a:gd name="connsiteY10" fmla="*/ 7856 h 10000"/>
              <a:gd name="connsiteX11" fmla="*/ 4708 w 9966"/>
              <a:gd name="connsiteY11" fmla="*/ 3671 h 10000"/>
              <a:gd name="connsiteX12" fmla="*/ 4743 w 9966"/>
              <a:gd name="connsiteY12" fmla="*/ 3190 h 10000"/>
              <a:gd name="connsiteX13" fmla="*/ 6714 w 9966"/>
              <a:gd name="connsiteY13" fmla="*/ 3190 h 10000"/>
              <a:gd name="connsiteX14" fmla="*/ 6749 w 9966"/>
              <a:gd name="connsiteY14" fmla="*/ 3671 h 10000"/>
              <a:gd name="connsiteX15" fmla="*/ 6749 w 9966"/>
              <a:gd name="connsiteY15" fmla="*/ 5300 h 10000"/>
              <a:gd name="connsiteX16" fmla="*/ 6783 w 9966"/>
              <a:gd name="connsiteY16" fmla="*/ 5780 h 10000"/>
              <a:gd name="connsiteX17" fmla="*/ 7495 w 9966"/>
              <a:gd name="connsiteY17" fmla="*/ 5780 h 10000"/>
              <a:gd name="connsiteX18" fmla="*/ 7530 w 9966"/>
              <a:gd name="connsiteY18" fmla="*/ 5300 h 10000"/>
              <a:gd name="connsiteX19" fmla="*/ 7530 w 9966"/>
              <a:gd name="connsiteY19" fmla="*/ 480 h 10000"/>
              <a:gd name="connsiteX20" fmla="*/ 7566 w 9966"/>
              <a:gd name="connsiteY20" fmla="*/ 0 h 10000"/>
              <a:gd name="connsiteX21" fmla="*/ 8801 w 9966"/>
              <a:gd name="connsiteY21" fmla="*/ 0 h 10000"/>
              <a:gd name="connsiteX22" fmla="*/ 8835 w 9966"/>
              <a:gd name="connsiteY22" fmla="*/ 480 h 10000"/>
              <a:gd name="connsiteX23" fmla="*/ 8835 w 9966"/>
              <a:gd name="connsiteY23" fmla="*/ 9520 h 10000"/>
              <a:gd name="connsiteX24" fmla="*/ 8870 w 9966"/>
              <a:gd name="connsiteY24" fmla="*/ 10000 h 10000"/>
              <a:gd name="connsiteX25" fmla="*/ 9966 w 9966"/>
              <a:gd name="connsiteY25" fmla="*/ 10000 h 10000"/>
              <a:gd name="connsiteX0" fmla="*/ 0 w 8439"/>
              <a:gd name="connsiteY0" fmla="*/ 8336 h 10000"/>
              <a:gd name="connsiteX1" fmla="*/ 35 w 8439"/>
              <a:gd name="connsiteY1" fmla="*/ 7856 h 10000"/>
              <a:gd name="connsiteX2" fmla="*/ 35 w 8439"/>
              <a:gd name="connsiteY2" fmla="*/ 617 h 10000"/>
              <a:gd name="connsiteX3" fmla="*/ 70 w 8439"/>
              <a:gd name="connsiteY3" fmla="*/ 137 h 10000"/>
              <a:gd name="connsiteX4" fmla="*/ 1188 w 8439"/>
              <a:gd name="connsiteY4" fmla="*/ 137 h 10000"/>
              <a:gd name="connsiteX5" fmla="*/ 1223 w 8439"/>
              <a:gd name="connsiteY5" fmla="*/ 617 h 10000"/>
              <a:gd name="connsiteX6" fmla="*/ 1223 w 8439"/>
              <a:gd name="connsiteY6" fmla="*/ 7856 h 10000"/>
              <a:gd name="connsiteX7" fmla="*/ 1259 w 8439"/>
              <a:gd name="connsiteY7" fmla="*/ 8336 h 10000"/>
              <a:gd name="connsiteX8" fmla="*/ 3127 w 8439"/>
              <a:gd name="connsiteY8" fmla="*/ 8336 h 10000"/>
              <a:gd name="connsiteX9" fmla="*/ 3163 w 8439"/>
              <a:gd name="connsiteY9" fmla="*/ 7856 h 10000"/>
              <a:gd name="connsiteX10" fmla="*/ 3163 w 8439"/>
              <a:gd name="connsiteY10" fmla="*/ 3671 h 10000"/>
              <a:gd name="connsiteX11" fmla="*/ 3198 w 8439"/>
              <a:gd name="connsiteY11" fmla="*/ 3190 h 10000"/>
              <a:gd name="connsiteX12" fmla="*/ 5176 w 8439"/>
              <a:gd name="connsiteY12" fmla="*/ 3190 h 10000"/>
              <a:gd name="connsiteX13" fmla="*/ 5211 w 8439"/>
              <a:gd name="connsiteY13" fmla="*/ 3671 h 10000"/>
              <a:gd name="connsiteX14" fmla="*/ 5211 w 8439"/>
              <a:gd name="connsiteY14" fmla="*/ 5300 h 10000"/>
              <a:gd name="connsiteX15" fmla="*/ 5245 w 8439"/>
              <a:gd name="connsiteY15" fmla="*/ 5780 h 10000"/>
              <a:gd name="connsiteX16" fmla="*/ 5960 w 8439"/>
              <a:gd name="connsiteY16" fmla="*/ 5780 h 10000"/>
              <a:gd name="connsiteX17" fmla="*/ 5995 w 8439"/>
              <a:gd name="connsiteY17" fmla="*/ 5300 h 10000"/>
              <a:gd name="connsiteX18" fmla="*/ 5995 w 8439"/>
              <a:gd name="connsiteY18" fmla="*/ 480 h 10000"/>
              <a:gd name="connsiteX19" fmla="*/ 6031 w 8439"/>
              <a:gd name="connsiteY19" fmla="*/ 0 h 10000"/>
              <a:gd name="connsiteX20" fmla="*/ 7270 w 8439"/>
              <a:gd name="connsiteY20" fmla="*/ 0 h 10000"/>
              <a:gd name="connsiteX21" fmla="*/ 7304 w 8439"/>
              <a:gd name="connsiteY21" fmla="*/ 480 h 10000"/>
              <a:gd name="connsiteX22" fmla="*/ 7304 w 8439"/>
              <a:gd name="connsiteY22" fmla="*/ 9520 h 10000"/>
              <a:gd name="connsiteX23" fmla="*/ 7339 w 8439"/>
              <a:gd name="connsiteY23" fmla="*/ 10000 h 10000"/>
              <a:gd name="connsiteX24" fmla="*/ 8439 w 8439"/>
              <a:gd name="connsiteY24" fmla="*/ 10000 h 10000"/>
              <a:gd name="connsiteX0" fmla="*/ 0 w 9959"/>
              <a:gd name="connsiteY0" fmla="*/ 7856 h 10000"/>
              <a:gd name="connsiteX1" fmla="*/ 0 w 9959"/>
              <a:gd name="connsiteY1" fmla="*/ 617 h 10000"/>
              <a:gd name="connsiteX2" fmla="*/ 42 w 9959"/>
              <a:gd name="connsiteY2" fmla="*/ 137 h 10000"/>
              <a:gd name="connsiteX3" fmla="*/ 1367 w 9959"/>
              <a:gd name="connsiteY3" fmla="*/ 137 h 10000"/>
              <a:gd name="connsiteX4" fmla="*/ 1408 w 9959"/>
              <a:gd name="connsiteY4" fmla="*/ 617 h 10000"/>
              <a:gd name="connsiteX5" fmla="*/ 1408 w 9959"/>
              <a:gd name="connsiteY5" fmla="*/ 7856 h 10000"/>
              <a:gd name="connsiteX6" fmla="*/ 1451 w 9959"/>
              <a:gd name="connsiteY6" fmla="*/ 8336 h 10000"/>
              <a:gd name="connsiteX7" fmla="*/ 3664 w 9959"/>
              <a:gd name="connsiteY7" fmla="*/ 8336 h 10000"/>
              <a:gd name="connsiteX8" fmla="*/ 3707 w 9959"/>
              <a:gd name="connsiteY8" fmla="*/ 7856 h 10000"/>
              <a:gd name="connsiteX9" fmla="*/ 3707 w 9959"/>
              <a:gd name="connsiteY9" fmla="*/ 3671 h 10000"/>
              <a:gd name="connsiteX10" fmla="*/ 3749 w 9959"/>
              <a:gd name="connsiteY10" fmla="*/ 3190 h 10000"/>
              <a:gd name="connsiteX11" fmla="*/ 6092 w 9959"/>
              <a:gd name="connsiteY11" fmla="*/ 3190 h 10000"/>
              <a:gd name="connsiteX12" fmla="*/ 6134 w 9959"/>
              <a:gd name="connsiteY12" fmla="*/ 3671 h 10000"/>
              <a:gd name="connsiteX13" fmla="*/ 6134 w 9959"/>
              <a:gd name="connsiteY13" fmla="*/ 5300 h 10000"/>
              <a:gd name="connsiteX14" fmla="*/ 6174 w 9959"/>
              <a:gd name="connsiteY14" fmla="*/ 5780 h 10000"/>
              <a:gd name="connsiteX15" fmla="*/ 7021 w 9959"/>
              <a:gd name="connsiteY15" fmla="*/ 5780 h 10000"/>
              <a:gd name="connsiteX16" fmla="*/ 7063 w 9959"/>
              <a:gd name="connsiteY16" fmla="*/ 5300 h 10000"/>
              <a:gd name="connsiteX17" fmla="*/ 7063 w 9959"/>
              <a:gd name="connsiteY17" fmla="*/ 480 h 10000"/>
              <a:gd name="connsiteX18" fmla="*/ 7106 w 9959"/>
              <a:gd name="connsiteY18" fmla="*/ 0 h 10000"/>
              <a:gd name="connsiteX19" fmla="*/ 8574 w 9959"/>
              <a:gd name="connsiteY19" fmla="*/ 0 h 10000"/>
              <a:gd name="connsiteX20" fmla="*/ 8614 w 9959"/>
              <a:gd name="connsiteY20" fmla="*/ 480 h 10000"/>
              <a:gd name="connsiteX21" fmla="*/ 8614 w 9959"/>
              <a:gd name="connsiteY21" fmla="*/ 9520 h 10000"/>
              <a:gd name="connsiteX22" fmla="*/ 8656 w 9959"/>
              <a:gd name="connsiteY22" fmla="*/ 10000 h 10000"/>
              <a:gd name="connsiteX23" fmla="*/ 9959 w 9959"/>
              <a:gd name="connsiteY23" fmla="*/ 10000 h 10000"/>
              <a:gd name="connsiteX0" fmla="*/ 0 w 10000"/>
              <a:gd name="connsiteY0" fmla="*/ 617 h 10000"/>
              <a:gd name="connsiteX1" fmla="*/ 42 w 10000"/>
              <a:gd name="connsiteY1" fmla="*/ 137 h 10000"/>
              <a:gd name="connsiteX2" fmla="*/ 1373 w 10000"/>
              <a:gd name="connsiteY2" fmla="*/ 137 h 10000"/>
              <a:gd name="connsiteX3" fmla="*/ 1414 w 10000"/>
              <a:gd name="connsiteY3" fmla="*/ 617 h 10000"/>
              <a:gd name="connsiteX4" fmla="*/ 1414 w 10000"/>
              <a:gd name="connsiteY4" fmla="*/ 7856 h 10000"/>
              <a:gd name="connsiteX5" fmla="*/ 1457 w 10000"/>
              <a:gd name="connsiteY5" fmla="*/ 8336 h 10000"/>
              <a:gd name="connsiteX6" fmla="*/ 3679 w 10000"/>
              <a:gd name="connsiteY6" fmla="*/ 8336 h 10000"/>
              <a:gd name="connsiteX7" fmla="*/ 3722 w 10000"/>
              <a:gd name="connsiteY7" fmla="*/ 7856 h 10000"/>
              <a:gd name="connsiteX8" fmla="*/ 3722 w 10000"/>
              <a:gd name="connsiteY8" fmla="*/ 3671 h 10000"/>
              <a:gd name="connsiteX9" fmla="*/ 3764 w 10000"/>
              <a:gd name="connsiteY9" fmla="*/ 3190 h 10000"/>
              <a:gd name="connsiteX10" fmla="*/ 6117 w 10000"/>
              <a:gd name="connsiteY10" fmla="*/ 3190 h 10000"/>
              <a:gd name="connsiteX11" fmla="*/ 6159 w 10000"/>
              <a:gd name="connsiteY11" fmla="*/ 3671 h 10000"/>
              <a:gd name="connsiteX12" fmla="*/ 6159 w 10000"/>
              <a:gd name="connsiteY12" fmla="*/ 5300 h 10000"/>
              <a:gd name="connsiteX13" fmla="*/ 6199 w 10000"/>
              <a:gd name="connsiteY13" fmla="*/ 5780 h 10000"/>
              <a:gd name="connsiteX14" fmla="*/ 7050 w 10000"/>
              <a:gd name="connsiteY14" fmla="*/ 5780 h 10000"/>
              <a:gd name="connsiteX15" fmla="*/ 7092 w 10000"/>
              <a:gd name="connsiteY15" fmla="*/ 5300 h 10000"/>
              <a:gd name="connsiteX16" fmla="*/ 7092 w 10000"/>
              <a:gd name="connsiteY16" fmla="*/ 480 h 10000"/>
              <a:gd name="connsiteX17" fmla="*/ 7135 w 10000"/>
              <a:gd name="connsiteY17" fmla="*/ 0 h 10000"/>
              <a:gd name="connsiteX18" fmla="*/ 8609 w 10000"/>
              <a:gd name="connsiteY18" fmla="*/ 0 h 10000"/>
              <a:gd name="connsiteX19" fmla="*/ 8649 w 10000"/>
              <a:gd name="connsiteY19" fmla="*/ 480 h 10000"/>
              <a:gd name="connsiteX20" fmla="*/ 8649 w 10000"/>
              <a:gd name="connsiteY20" fmla="*/ 9520 h 10000"/>
              <a:gd name="connsiteX21" fmla="*/ 8692 w 10000"/>
              <a:gd name="connsiteY21" fmla="*/ 10000 h 10000"/>
              <a:gd name="connsiteX22" fmla="*/ 10000 w 10000"/>
              <a:gd name="connsiteY22" fmla="*/ 10000 h 10000"/>
              <a:gd name="connsiteX0" fmla="*/ 0 w 8692"/>
              <a:gd name="connsiteY0" fmla="*/ 617 h 10000"/>
              <a:gd name="connsiteX1" fmla="*/ 42 w 8692"/>
              <a:gd name="connsiteY1" fmla="*/ 137 h 10000"/>
              <a:gd name="connsiteX2" fmla="*/ 1373 w 8692"/>
              <a:gd name="connsiteY2" fmla="*/ 137 h 10000"/>
              <a:gd name="connsiteX3" fmla="*/ 1414 w 8692"/>
              <a:gd name="connsiteY3" fmla="*/ 617 h 10000"/>
              <a:gd name="connsiteX4" fmla="*/ 1414 w 8692"/>
              <a:gd name="connsiteY4" fmla="*/ 7856 h 10000"/>
              <a:gd name="connsiteX5" fmla="*/ 1457 w 8692"/>
              <a:gd name="connsiteY5" fmla="*/ 8336 h 10000"/>
              <a:gd name="connsiteX6" fmla="*/ 3679 w 8692"/>
              <a:gd name="connsiteY6" fmla="*/ 8336 h 10000"/>
              <a:gd name="connsiteX7" fmla="*/ 3722 w 8692"/>
              <a:gd name="connsiteY7" fmla="*/ 7856 h 10000"/>
              <a:gd name="connsiteX8" fmla="*/ 3722 w 8692"/>
              <a:gd name="connsiteY8" fmla="*/ 3671 h 10000"/>
              <a:gd name="connsiteX9" fmla="*/ 3764 w 8692"/>
              <a:gd name="connsiteY9" fmla="*/ 3190 h 10000"/>
              <a:gd name="connsiteX10" fmla="*/ 6117 w 8692"/>
              <a:gd name="connsiteY10" fmla="*/ 3190 h 10000"/>
              <a:gd name="connsiteX11" fmla="*/ 6159 w 8692"/>
              <a:gd name="connsiteY11" fmla="*/ 3671 h 10000"/>
              <a:gd name="connsiteX12" fmla="*/ 6159 w 8692"/>
              <a:gd name="connsiteY12" fmla="*/ 5300 h 10000"/>
              <a:gd name="connsiteX13" fmla="*/ 6199 w 8692"/>
              <a:gd name="connsiteY13" fmla="*/ 5780 h 10000"/>
              <a:gd name="connsiteX14" fmla="*/ 7050 w 8692"/>
              <a:gd name="connsiteY14" fmla="*/ 5780 h 10000"/>
              <a:gd name="connsiteX15" fmla="*/ 7092 w 8692"/>
              <a:gd name="connsiteY15" fmla="*/ 5300 h 10000"/>
              <a:gd name="connsiteX16" fmla="*/ 7092 w 8692"/>
              <a:gd name="connsiteY16" fmla="*/ 480 h 10000"/>
              <a:gd name="connsiteX17" fmla="*/ 7135 w 8692"/>
              <a:gd name="connsiteY17" fmla="*/ 0 h 10000"/>
              <a:gd name="connsiteX18" fmla="*/ 8609 w 8692"/>
              <a:gd name="connsiteY18" fmla="*/ 0 h 10000"/>
              <a:gd name="connsiteX19" fmla="*/ 8649 w 8692"/>
              <a:gd name="connsiteY19" fmla="*/ 480 h 10000"/>
              <a:gd name="connsiteX20" fmla="*/ 8649 w 8692"/>
              <a:gd name="connsiteY20" fmla="*/ 9520 h 10000"/>
              <a:gd name="connsiteX21" fmla="*/ 8692 w 8692"/>
              <a:gd name="connsiteY21" fmla="*/ 10000 h 10000"/>
              <a:gd name="connsiteX0" fmla="*/ 0 w 9951"/>
              <a:gd name="connsiteY0" fmla="*/ 617 h 9520"/>
              <a:gd name="connsiteX1" fmla="*/ 48 w 9951"/>
              <a:gd name="connsiteY1" fmla="*/ 137 h 9520"/>
              <a:gd name="connsiteX2" fmla="*/ 1580 w 9951"/>
              <a:gd name="connsiteY2" fmla="*/ 137 h 9520"/>
              <a:gd name="connsiteX3" fmla="*/ 1627 w 9951"/>
              <a:gd name="connsiteY3" fmla="*/ 617 h 9520"/>
              <a:gd name="connsiteX4" fmla="*/ 1627 w 9951"/>
              <a:gd name="connsiteY4" fmla="*/ 7856 h 9520"/>
              <a:gd name="connsiteX5" fmla="*/ 1676 w 9951"/>
              <a:gd name="connsiteY5" fmla="*/ 8336 h 9520"/>
              <a:gd name="connsiteX6" fmla="*/ 4233 w 9951"/>
              <a:gd name="connsiteY6" fmla="*/ 8336 h 9520"/>
              <a:gd name="connsiteX7" fmla="*/ 4282 w 9951"/>
              <a:gd name="connsiteY7" fmla="*/ 7856 h 9520"/>
              <a:gd name="connsiteX8" fmla="*/ 4282 w 9951"/>
              <a:gd name="connsiteY8" fmla="*/ 3671 h 9520"/>
              <a:gd name="connsiteX9" fmla="*/ 4330 w 9951"/>
              <a:gd name="connsiteY9" fmla="*/ 3190 h 9520"/>
              <a:gd name="connsiteX10" fmla="*/ 7038 w 9951"/>
              <a:gd name="connsiteY10" fmla="*/ 3190 h 9520"/>
              <a:gd name="connsiteX11" fmla="*/ 7086 w 9951"/>
              <a:gd name="connsiteY11" fmla="*/ 3671 h 9520"/>
              <a:gd name="connsiteX12" fmla="*/ 7086 w 9951"/>
              <a:gd name="connsiteY12" fmla="*/ 5300 h 9520"/>
              <a:gd name="connsiteX13" fmla="*/ 7132 w 9951"/>
              <a:gd name="connsiteY13" fmla="*/ 5780 h 9520"/>
              <a:gd name="connsiteX14" fmla="*/ 8111 w 9951"/>
              <a:gd name="connsiteY14" fmla="*/ 5780 h 9520"/>
              <a:gd name="connsiteX15" fmla="*/ 8159 w 9951"/>
              <a:gd name="connsiteY15" fmla="*/ 5300 h 9520"/>
              <a:gd name="connsiteX16" fmla="*/ 8159 w 9951"/>
              <a:gd name="connsiteY16" fmla="*/ 480 h 9520"/>
              <a:gd name="connsiteX17" fmla="*/ 8209 w 9951"/>
              <a:gd name="connsiteY17" fmla="*/ 0 h 9520"/>
              <a:gd name="connsiteX18" fmla="*/ 9905 w 9951"/>
              <a:gd name="connsiteY18" fmla="*/ 0 h 9520"/>
              <a:gd name="connsiteX19" fmla="*/ 9951 w 9951"/>
              <a:gd name="connsiteY19" fmla="*/ 480 h 9520"/>
              <a:gd name="connsiteX20" fmla="*/ 9951 w 9951"/>
              <a:gd name="connsiteY20" fmla="*/ 9520 h 9520"/>
              <a:gd name="connsiteX0" fmla="*/ 0 w 10000"/>
              <a:gd name="connsiteY0" fmla="*/ 648 h 8756"/>
              <a:gd name="connsiteX1" fmla="*/ 48 w 10000"/>
              <a:gd name="connsiteY1" fmla="*/ 144 h 8756"/>
              <a:gd name="connsiteX2" fmla="*/ 1588 w 10000"/>
              <a:gd name="connsiteY2" fmla="*/ 144 h 8756"/>
              <a:gd name="connsiteX3" fmla="*/ 1635 w 10000"/>
              <a:gd name="connsiteY3" fmla="*/ 648 h 8756"/>
              <a:gd name="connsiteX4" fmla="*/ 1635 w 10000"/>
              <a:gd name="connsiteY4" fmla="*/ 8252 h 8756"/>
              <a:gd name="connsiteX5" fmla="*/ 1684 w 10000"/>
              <a:gd name="connsiteY5" fmla="*/ 8756 h 8756"/>
              <a:gd name="connsiteX6" fmla="*/ 4254 w 10000"/>
              <a:gd name="connsiteY6" fmla="*/ 8756 h 8756"/>
              <a:gd name="connsiteX7" fmla="*/ 4303 w 10000"/>
              <a:gd name="connsiteY7" fmla="*/ 8252 h 8756"/>
              <a:gd name="connsiteX8" fmla="*/ 4303 w 10000"/>
              <a:gd name="connsiteY8" fmla="*/ 3856 h 8756"/>
              <a:gd name="connsiteX9" fmla="*/ 4351 w 10000"/>
              <a:gd name="connsiteY9" fmla="*/ 3351 h 8756"/>
              <a:gd name="connsiteX10" fmla="*/ 7073 w 10000"/>
              <a:gd name="connsiteY10" fmla="*/ 3351 h 8756"/>
              <a:gd name="connsiteX11" fmla="*/ 7121 w 10000"/>
              <a:gd name="connsiteY11" fmla="*/ 3856 h 8756"/>
              <a:gd name="connsiteX12" fmla="*/ 7121 w 10000"/>
              <a:gd name="connsiteY12" fmla="*/ 5567 h 8756"/>
              <a:gd name="connsiteX13" fmla="*/ 7167 w 10000"/>
              <a:gd name="connsiteY13" fmla="*/ 6071 h 8756"/>
              <a:gd name="connsiteX14" fmla="*/ 8151 w 10000"/>
              <a:gd name="connsiteY14" fmla="*/ 6071 h 8756"/>
              <a:gd name="connsiteX15" fmla="*/ 8199 w 10000"/>
              <a:gd name="connsiteY15" fmla="*/ 5567 h 8756"/>
              <a:gd name="connsiteX16" fmla="*/ 8199 w 10000"/>
              <a:gd name="connsiteY16" fmla="*/ 504 h 8756"/>
              <a:gd name="connsiteX17" fmla="*/ 8249 w 10000"/>
              <a:gd name="connsiteY17" fmla="*/ 0 h 8756"/>
              <a:gd name="connsiteX18" fmla="*/ 9954 w 10000"/>
              <a:gd name="connsiteY18" fmla="*/ 0 h 8756"/>
              <a:gd name="connsiteX19" fmla="*/ 10000 w 10000"/>
              <a:gd name="connsiteY19" fmla="*/ 504 h 8756"/>
              <a:gd name="connsiteX0" fmla="*/ 0 w 9954"/>
              <a:gd name="connsiteY0" fmla="*/ 740 h 10000"/>
              <a:gd name="connsiteX1" fmla="*/ 48 w 9954"/>
              <a:gd name="connsiteY1" fmla="*/ 164 h 10000"/>
              <a:gd name="connsiteX2" fmla="*/ 1588 w 9954"/>
              <a:gd name="connsiteY2" fmla="*/ 164 h 10000"/>
              <a:gd name="connsiteX3" fmla="*/ 1635 w 9954"/>
              <a:gd name="connsiteY3" fmla="*/ 740 h 10000"/>
              <a:gd name="connsiteX4" fmla="*/ 1635 w 9954"/>
              <a:gd name="connsiteY4" fmla="*/ 9424 h 10000"/>
              <a:gd name="connsiteX5" fmla="*/ 1684 w 9954"/>
              <a:gd name="connsiteY5" fmla="*/ 10000 h 10000"/>
              <a:gd name="connsiteX6" fmla="*/ 4254 w 9954"/>
              <a:gd name="connsiteY6" fmla="*/ 10000 h 10000"/>
              <a:gd name="connsiteX7" fmla="*/ 4303 w 9954"/>
              <a:gd name="connsiteY7" fmla="*/ 9424 h 10000"/>
              <a:gd name="connsiteX8" fmla="*/ 4303 w 9954"/>
              <a:gd name="connsiteY8" fmla="*/ 4404 h 10000"/>
              <a:gd name="connsiteX9" fmla="*/ 4351 w 9954"/>
              <a:gd name="connsiteY9" fmla="*/ 3827 h 10000"/>
              <a:gd name="connsiteX10" fmla="*/ 7073 w 9954"/>
              <a:gd name="connsiteY10" fmla="*/ 3827 h 10000"/>
              <a:gd name="connsiteX11" fmla="*/ 7121 w 9954"/>
              <a:gd name="connsiteY11" fmla="*/ 4404 h 10000"/>
              <a:gd name="connsiteX12" fmla="*/ 7121 w 9954"/>
              <a:gd name="connsiteY12" fmla="*/ 6358 h 10000"/>
              <a:gd name="connsiteX13" fmla="*/ 7167 w 9954"/>
              <a:gd name="connsiteY13" fmla="*/ 6934 h 10000"/>
              <a:gd name="connsiteX14" fmla="*/ 8151 w 9954"/>
              <a:gd name="connsiteY14" fmla="*/ 6934 h 10000"/>
              <a:gd name="connsiteX15" fmla="*/ 8199 w 9954"/>
              <a:gd name="connsiteY15" fmla="*/ 6358 h 10000"/>
              <a:gd name="connsiteX16" fmla="*/ 8199 w 9954"/>
              <a:gd name="connsiteY16" fmla="*/ 576 h 10000"/>
              <a:gd name="connsiteX17" fmla="*/ 8249 w 9954"/>
              <a:gd name="connsiteY17" fmla="*/ 0 h 10000"/>
              <a:gd name="connsiteX18" fmla="*/ 9954 w 9954"/>
              <a:gd name="connsiteY18" fmla="*/ 0 h 10000"/>
              <a:gd name="connsiteX0" fmla="*/ 0 w 8287"/>
              <a:gd name="connsiteY0" fmla="*/ 740 h 10000"/>
              <a:gd name="connsiteX1" fmla="*/ 48 w 8287"/>
              <a:gd name="connsiteY1" fmla="*/ 164 h 10000"/>
              <a:gd name="connsiteX2" fmla="*/ 1595 w 8287"/>
              <a:gd name="connsiteY2" fmla="*/ 164 h 10000"/>
              <a:gd name="connsiteX3" fmla="*/ 1643 w 8287"/>
              <a:gd name="connsiteY3" fmla="*/ 740 h 10000"/>
              <a:gd name="connsiteX4" fmla="*/ 1643 w 8287"/>
              <a:gd name="connsiteY4" fmla="*/ 9424 h 10000"/>
              <a:gd name="connsiteX5" fmla="*/ 1692 w 8287"/>
              <a:gd name="connsiteY5" fmla="*/ 10000 h 10000"/>
              <a:gd name="connsiteX6" fmla="*/ 4274 w 8287"/>
              <a:gd name="connsiteY6" fmla="*/ 10000 h 10000"/>
              <a:gd name="connsiteX7" fmla="*/ 4323 w 8287"/>
              <a:gd name="connsiteY7" fmla="*/ 9424 h 10000"/>
              <a:gd name="connsiteX8" fmla="*/ 4323 w 8287"/>
              <a:gd name="connsiteY8" fmla="*/ 4404 h 10000"/>
              <a:gd name="connsiteX9" fmla="*/ 4371 w 8287"/>
              <a:gd name="connsiteY9" fmla="*/ 3827 h 10000"/>
              <a:gd name="connsiteX10" fmla="*/ 7106 w 8287"/>
              <a:gd name="connsiteY10" fmla="*/ 3827 h 10000"/>
              <a:gd name="connsiteX11" fmla="*/ 7154 w 8287"/>
              <a:gd name="connsiteY11" fmla="*/ 4404 h 10000"/>
              <a:gd name="connsiteX12" fmla="*/ 7154 w 8287"/>
              <a:gd name="connsiteY12" fmla="*/ 6358 h 10000"/>
              <a:gd name="connsiteX13" fmla="*/ 7200 w 8287"/>
              <a:gd name="connsiteY13" fmla="*/ 6934 h 10000"/>
              <a:gd name="connsiteX14" fmla="*/ 8189 w 8287"/>
              <a:gd name="connsiteY14" fmla="*/ 6934 h 10000"/>
              <a:gd name="connsiteX15" fmla="*/ 8237 w 8287"/>
              <a:gd name="connsiteY15" fmla="*/ 6358 h 10000"/>
              <a:gd name="connsiteX16" fmla="*/ 8237 w 8287"/>
              <a:gd name="connsiteY16" fmla="*/ 576 h 10000"/>
              <a:gd name="connsiteX17" fmla="*/ 8287 w 8287"/>
              <a:gd name="connsiteY17" fmla="*/ 0 h 10000"/>
              <a:gd name="connsiteX0" fmla="*/ 0 w 9940"/>
              <a:gd name="connsiteY0" fmla="*/ 576 h 9836"/>
              <a:gd name="connsiteX1" fmla="*/ 58 w 9940"/>
              <a:gd name="connsiteY1" fmla="*/ 0 h 9836"/>
              <a:gd name="connsiteX2" fmla="*/ 1925 w 9940"/>
              <a:gd name="connsiteY2" fmla="*/ 0 h 9836"/>
              <a:gd name="connsiteX3" fmla="*/ 1983 w 9940"/>
              <a:gd name="connsiteY3" fmla="*/ 576 h 9836"/>
              <a:gd name="connsiteX4" fmla="*/ 1983 w 9940"/>
              <a:gd name="connsiteY4" fmla="*/ 9260 h 9836"/>
              <a:gd name="connsiteX5" fmla="*/ 2042 w 9940"/>
              <a:gd name="connsiteY5" fmla="*/ 9836 h 9836"/>
              <a:gd name="connsiteX6" fmla="*/ 5157 w 9940"/>
              <a:gd name="connsiteY6" fmla="*/ 9836 h 9836"/>
              <a:gd name="connsiteX7" fmla="*/ 5217 w 9940"/>
              <a:gd name="connsiteY7" fmla="*/ 9260 h 9836"/>
              <a:gd name="connsiteX8" fmla="*/ 5217 w 9940"/>
              <a:gd name="connsiteY8" fmla="*/ 4240 h 9836"/>
              <a:gd name="connsiteX9" fmla="*/ 5275 w 9940"/>
              <a:gd name="connsiteY9" fmla="*/ 3663 h 9836"/>
              <a:gd name="connsiteX10" fmla="*/ 8575 w 9940"/>
              <a:gd name="connsiteY10" fmla="*/ 3663 h 9836"/>
              <a:gd name="connsiteX11" fmla="*/ 8633 w 9940"/>
              <a:gd name="connsiteY11" fmla="*/ 4240 h 9836"/>
              <a:gd name="connsiteX12" fmla="*/ 8633 w 9940"/>
              <a:gd name="connsiteY12" fmla="*/ 6194 h 9836"/>
              <a:gd name="connsiteX13" fmla="*/ 8688 w 9940"/>
              <a:gd name="connsiteY13" fmla="*/ 6770 h 9836"/>
              <a:gd name="connsiteX14" fmla="*/ 9882 w 9940"/>
              <a:gd name="connsiteY14" fmla="*/ 6770 h 9836"/>
              <a:gd name="connsiteX15" fmla="*/ 9940 w 9940"/>
              <a:gd name="connsiteY15" fmla="*/ 6194 h 9836"/>
              <a:gd name="connsiteX16" fmla="*/ 9940 w 9940"/>
              <a:gd name="connsiteY16" fmla="*/ 412 h 9836"/>
              <a:gd name="connsiteX0" fmla="*/ 0 w 10000"/>
              <a:gd name="connsiteY0" fmla="*/ 586 h 10000"/>
              <a:gd name="connsiteX1" fmla="*/ 58 w 10000"/>
              <a:gd name="connsiteY1" fmla="*/ 0 h 10000"/>
              <a:gd name="connsiteX2" fmla="*/ 1937 w 10000"/>
              <a:gd name="connsiteY2" fmla="*/ 0 h 10000"/>
              <a:gd name="connsiteX3" fmla="*/ 1995 w 10000"/>
              <a:gd name="connsiteY3" fmla="*/ 586 h 10000"/>
              <a:gd name="connsiteX4" fmla="*/ 1995 w 10000"/>
              <a:gd name="connsiteY4" fmla="*/ 9414 h 10000"/>
              <a:gd name="connsiteX5" fmla="*/ 2054 w 10000"/>
              <a:gd name="connsiteY5" fmla="*/ 10000 h 10000"/>
              <a:gd name="connsiteX6" fmla="*/ 5188 w 10000"/>
              <a:gd name="connsiteY6" fmla="*/ 10000 h 10000"/>
              <a:gd name="connsiteX7" fmla="*/ 5248 w 10000"/>
              <a:gd name="connsiteY7" fmla="*/ 9414 h 10000"/>
              <a:gd name="connsiteX8" fmla="*/ 5248 w 10000"/>
              <a:gd name="connsiteY8" fmla="*/ 4311 h 10000"/>
              <a:gd name="connsiteX9" fmla="*/ 5307 w 10000"/>
              <a:gd name="connsiteY9" fmla="*/ 3724 h 10000"/>
              <a:gd name="connsiteX10" fmla="*/ 8627 w 10000"/>
              <a:gd name="connsiteY10" fmla="*/ 3724 h 10000"/>
              <a:gd name="connsiteX11" fmla="*/ 8685 w 10000"/>
              <a:gd name="connsiteY11" fmla="*/ 4311 h 10000"/>
              <a:gd name="connsiteX12" fmla="*/ 8685 w 10000"/>
              <a:gd name="connsiteY12" fmla="*/ 6297 h 10000"/>
              <a:gd name="connsiteX13" fmla="*/ 8740 w 10000"/>
              <a:gd name="connsiteY13" fmla="*/ 6883 h 10000"/>
              <a:gd name="connsiteX14" fmla="*/ 9942 w 10000"/>
              <a:gd name="connsiteY14" fmla="*/ 6883 h 10000"/>
              <a:gd name="connsiteX15" fmla="*/ 10000 w 10000"/>
              <a:gd name="connsiteY15" fmla="*/ 6297 h 10000"/>
              <a:gd name="connsiteX0" fmla="*/ 0 w 10000"/>
              <a:gd name="connsiteY0" fmla="*/ 586 h 10000"/>
              <a:gd name="connsiteX1" fmla="*/ 1937 w 10000"/>
              <a:gd name="connsiteY1" fmla="*/ 0 h 10000"/>
              <a:gd name="connsiteX2" fmla="*/ 1995 w 10000"/>
              <a:gd name="connsiteY2" fmla="*/ 586 h 10000"/>
              <a:gd name="connsiteX3" fmla="*/ 1995 w 10000"/>
              <a:gd name="connsiteY3" fmla="*/ 9414 h 10000"/>
              <a:gd name="connsiteX4" fmla="*/ 2054 w 10000"/>
              <a:gd name="connsiteY4" fmla="*/ 10000 h 10000"/>
              <a:gd name="connsiteX5" fmla="*/ 5188 w 10000"/>
              <a:gd name="connsiteY5" fmla="*/ 10000 h 10000"/>
              <a:gd name="connsiteX6" fmla="*/ 5248 w 10000"/>
              <a:gd name="connsiteY6" fmla="*/ 9414 h 10000"/>
              <a:gd name="connsiteX7" fmla="*/ 5248 w 10000"/>
              <a:gd name="connsiteY7" fmla="*/ 4311 h 10000"/>
              <a:gd name="connsiteX8" fmla="*/ 5307 w 10000"/>
              <a:gd name="connsiteY8" fmla="*/ 3724 h 10000"/>
              <a:gd name="connsiteX9" fmla="*/ 8627 w 10000"/>
              <a:gd name="connsiteY9" fmla="*/ 3724 h 10000"/>
              <a:gd name="connsiteX10" fmla="*/ 8685 w 10000"/>
              <a:gd name="connsiteY10" fmla="*/ 4311 h 10000"/>
              <a:gd name="connsiteX11" fmla="*/ 8685 w 10000"/>
              <a:gd name="connsiteY11" fmla="*/ 6297 h 10000"/>
              <a:gd name="connsiteX12" fmla="*/ 8740 w 10000"/>
              <a:gd name="connsiteY12" fmla="*/ 6883 h 10000"/>
              <a:gd name="connsiteX13" fmla="*/ 9942 w 10000"/>
              <a:gd name="connsiteY13" fmla="*/ 6883 h 10000"/>
              <a:gd name="connsiteX14" fmla="*/ 10000 w 10000"/>
              <a:gd name="connsiteY14" fmla="*/ 6297 h 10000"/>
              <a:gd name="connsiteX0" fmla="*/ 0 w 8803"/>
              <a:gd name="connsiteY0" fmla="*/ 40 h 10113"/>
              <a:gd name="connsiteX1" fmla="*/ 740 w 8803"/>
              <a:gd name="connsiteY1" fmla="*/ 113 h 10113"/>
              <a:gd name="connsiteX2" fmla="*/ 798 w 8803"/>
              <a:gd name="connsiteY2" fmla="*/ 699 h 10113"/>
              <a:gd name="connsiteX3" fmla="*/ 798 w 8803"/>
              <a:gd name="connsiteY3" fmla="*/ 9527 h 10113"/>
              <a:gd name="connsiteX4" fmla="*/ 857 w 8803"/>
              <a:gd name="connsiteY4" fmla="*/ 10113 h 10113"/>
              <a:gd name="connsiteX5" fmla="*/ 3991 w 8803"/>
              <a:gd name="connsiteY5" fmla="*/ 10113 h 10113"/>
              <a:gd name="connsiteX6" fmla="*/ 4051 w 8803"/>
              <a:gd name="connsiteY6" fmla="*/ 9527 h 10113"/>
              <a:gd name="connsiteX7" fmla="*/ 4051 w 8803"/>
              <a:gd name="connsiteY7" fmla="*/ 4424 h 10113"/>
              <a:gd name="connsiteX8" fmla="*/ 4110 w 8803"/>
              <a:gd name="connsiteY8" fmla="*/ 3837 h 10113"/>
              <a:gd name="connsiteX9" fmla="*/ 7430 w 8803"/>
              <a:gd name="connsiteY9" fmla="*/ 3837 h 10113"/>
              <a:gd name="connsiteX10" fmla="*/ 7488 w 8803"/>
              <a:gd name="connsiteY10" fmla="*/ 4424 h 10113"/>
              <a:gd name="connsiteX11" fmla="*/ 7488 w 8803"/>
              <a:gd name="connsiteY11" fmla="*/ 6410 h 10113"/>
              <a:gd name="connsiteX12" fmla="*/ 7543 w 8803"/>
              <a:gd name="connsiteY12" fmla="*/ 6996 h 10113"/>
              <a:gd name="connsiteX13" fmla="*/ 8745 w 8803"/>
              <a:gd name="connsiteY13" fmla="*/ 6996 h 10113"/>
              <a:gd name="connsiteX14" fmla="*/ 8803 w 8803"/>
              <a:gd name="connsiteY14" fmla="*/ 6410 h 10113"/>
              <a:gd name="connsiteX0" fmla="*/ 0 w 10000"/>
              <a:gd name="connsiteY0" fmla="*/ 75 h 9905"/>
              <a:gd name="connsiteX1" fmla="*/ 841 w 10000"/>
              <a:gd name="connsiteY1" fmla="*/ 17 h 9905"/>
              <a:gd name="connsiteX2" fmla="*/ 907 w 10000"/>
              <a:gd name="connsiteY2" fmla="*/ 596 h 9905"/>
              <a:gd name="connsiteX3" fmla="*/ 907 w 10000"/>
              <a:gd name="connsiteY3" fmla="*/ 9326 h 9905"/>
              <a:gd name="connsiteX4" fmla="*/ 974 w 10000"/>
              <a:gd name="connsiteY4" fmla="*/ 9905 h 9905"/>
              <a:gd name="connsiteX5" fmla="*/ 4534 w 10000"/>
              <a:gd name="connsiteY5" fmla="*/ 9905 h 9905"/>
              <a:gd name="connsiteX6" fmla="*/ 4602 w 10000"/>
              <a:gd name="connsiteY6" fmla="*/ 9326 h 9905"/>
              <a:gd name="connsiteX7" fmla="*/ 4602 w 10000"/>
              <a:gd name="connsiteY7" fmla="*/ 4280 h 9905"/>
              <a:gd name="connsiteX8" fmla="*/ 4669 w 10000"/>
              <a:gd name="connsiteY8" fmla="*/ 3699 h 9905"/>
              <a:gd name="connsiteX9" fmla="*/ 8440 w 10000"/>
              <a:gd name="connsiteY9" fmla="*/ 3699 h 9905"/>
              <a:gd name="connsiteX10" fmla="*/ 8506 w 10000"/>
              <a:gd name="connsiteY10" fmla="*/ 4280 h 9905"/>
              <a:gd name="connsiteX11" fmla="*/ 8506 w 10000"/>
              <a:gd name="connsiteY11" fmla="*/ 6243 h 9905"/>
              <a:gd name="connsiteX12" fmla="*/ 8569 w 10000"/>
              <a:gd name="connsiteY12" fmla="*/ 6823 h 9905"/>
              <a:gd name="connsiteX13" fmla="*/ 9934 w 10000"/>
              <a:gd name="connsiteY13" fmla="*/ 6823 h 9905"/>
              <a:gd name="connsiteX14" fmla="*/ 10000 w 10000"/>
              <a:gd name="connsiteY14" fmla="*/ 6243 h 9905"/>
              <a:gd name="connsiteX0" fmla="*/ 0 w 10000"/>
              <a:gd name="connsiteY0" fmla="*/ 59 h 9983"/>
              <a:gd name="connsiteX1" fmla="*/ 841 w 10000"/>
              <a:gd name="connsiteY1" fmla="*/ 0 h 9983"/>
              <a:gd name="connsiteX2" fmla="*/ 907 w 10000"/>
              <a:gd name="connsiteY2" fmla="*/ 585 h 9983"/>
              <a:gd name="connsiteX3" fmla="*/ 907 w 10000"/>
              <a:gd name="connsiteY3" fmla="*/ 9398 h 9983"/>
              <a:gd name="connsiteX4" fmla="*/ 974 w 10000"/>
              <a:gd name="connsiteY4" fmla="*/ 9983 h 9983"/>
              <a:gd name="connsiteX5" fmla="*/ 4534 w 10000"/>
              <a:gd name="connsiteY5" fmla="*/ 9983 h 9983"/>
              <a:gd name="connsiteX6" fmla="*/ 4602 w 10000"/>
              <a:gd name="connsiteY6" fmla="*/ 9398 h 9983"/>
              <a:gd name="connsiteX7" fmla="*/ 4602 w 10000"/>
              <a:gd name="connsiteY7" fmla="*/ 4304 h 9983"/>
              <a:gd name="connsiteX8" fmla="*/ 4669 w 10000"/>
              <a:gd name="connsiteY8" fmla="*/ 3717 h 9983"/>
              <a:gd name="connsiteX9" fmla="*/ 8440 w 10000"/>
              <a:gd name="connsiteY9" fmla="*/ 3717 h 9983"/>
              <a:gd name="connsiteX10" fmla="*/ 8506 w 10000"/>
              <a:gd name="connsiteY10" fmla="*/ 4304 h 9983"/>
              <a:gd name="connsiteX11" fmla="*/ 8506 w 10000"/>
              <a:gd name="connsiteY11" fmla="*/ 6286 h 9983"/>
              <a:gd name="connsiteX12" fmla="*/ 8569 w 10000"/>
              <a:gd name="connsiteY12" fmla="*/ 6871 h 9983"/>
              <a:gd name="connsiteX13" fmla="*/ 9934 w 10000"/>
              <a:gd name="connsiteY13" fmla="*/ 6871 h 9983"/>
              <a:gd name="connsiteX14" fmla="*/ 10000 w 10000"/>
              <a:gd name="connsiteY14" fmla="*/ 6286 h 9983"/>
              <a:gd name="connsiteX0" fmla="*/ 0 w 10003"/>
              <a:gd name="connsiteY0" fmla="*/ 0 h 10029"/>
              <a:gd name="connsiteX1" fmla="*/ 844 w 10003"/>
              <a:gd name="connsiteY1" fmla="*/ 29 h 10029"/>
              <a:gd name="connsiteX2" fmla="*/ 910 w 10003"/>
              <a:gd name="connsiteY2" fmla="*/ 615 h 10029"/>
              <a:gd name="connsiteX3" fmla="*/ 910 w 10003"/>
              <a:gd name="connsiteY3" fmla="*/ 9443 h 10029"/>
              <a:gd name="connsiteX4" fmla="*/ 977 w 10003"/>
              <a:gd name="connsiteY4" fmla="*/ 10029 h 10029"/>
              <a:gd name="connsiteX5" fmla="*/ 4537 w 10003"/>
              <a:gd name="connsiteY5" fmla="*/ 10029 h 10029"/>
              <a:gd name="connsiteX6" fmla="*/ 4605 w 10003"/>
              <a:gd name="connsiteY6" fmla="*/ 9443 h 10029"/>
              <a:gd name="connsiteX7" fmla="*/ 4605 w 10003"/>
              <a:gd name="connsiteY7" fmla="*/ 4340 h 10029"/>
              <a:gd name="connsiteX8" fmla="*/ 4672 w 10003"/>
              <a:gd name="connsiteY8" fmla="*/ 3752 h 10029"/>
              <a:gd name="connsiteX9" fmla="*/ 8443 w 10003"/>
              <a:gd name="connsiteY9" fmla="*/ 3752 h 10029"/>
              <a:gd name="connsiteX10" fmla="*/ 8509 w 10003"/>
              <a:gd name="connsiteY10" fmla="*/ 4340 h 10029"/>
              <a:gd name="connsiteX11" fmla="*/ 8509 w 10003"/>
              <a:gd name="connsiteY11" fmla="*/ 6326 h 10029"/>
              <a:gd name="connsiteX12" fmla="*/ 8572 w 10003"/>
              <a:gd name="connsiteY12" fmla="*/ 6912 h 10029"/>
              <a:gd name="connsiteX13" fmla="*/ 9937 w 10003"/>
              <a:gd name="connsiteY13" fmla="*/ 6912 h 10029"/>
              <a:gd name="connsiteX14" fmla="*/ 10003 w 10003"/>
              <a:gd name="connsiteY14" fmla="*/ 6326 h 10029"/>
              <a:gd name="connsiteX0" fmla="*/ 0 w 10003"/>
              <a:gd name="connsiteY0" fmla="*/ 59 h 10000"/>
              <a:gd name="connsiteX1" fmla="*/ 844 w 10003"/>
              <a:gd name="connsiteY1" fmla="*/ 0 h 10000"/>
              <a:gd name="connsiteX2" fmla="*/ 910 w 10003"/>
              <a:gd name="connsiteY2" fmla="*/ 586 h 10000"/>
              <a:gd name="connsiteX3" fmla="*/ 910 w 10003"/>
              <a:gd name="connsiteY3" fmla="*/ 9414 h 10000"/>
              <a:gd name="connsiteX4" fmla="*/ 977 w 10003"/>
              <a:gd name="connsiteY4" fmla="*/ 10000 h 10000"/>
              <a:gd name="connsiteX5" fmla="*/ 4537 w 10003"/>
              <a:gd name="connsiteY5" fmla="*/ 10000 h 10000"/>
              <a:gd name="connsiteX6" fmla="*/ 4605 w 10003"/>
              <a:gd name="connsiteY6" fmla="*/ 9414 h 10000"/>
              <a:gd name="connsiteX7" fmla="*/ 4605 w 10003"/>
              <a:gd name="connsiteY7" fmla="*/ 4311 h 10000"/>
              <a:gd name="connsiteX8" fmla="*/ 4672 w 10003"/>
              <a:gd name="connsiteY8" fmla="*/ 3723 h 10000"/>
              <a:gd name="connsiteX9" fmla="*/ 8443 w 10003"/>
              <a:gd name="connsiteY9" fmla="*/ 3723 h 10000"/>
              <a:gd name="connsiteX10" fmla="*/ 8509 w 10003"/>
              <a:gd name="connsiteY10" fmla="*/ 4311 h 10000"/>
              <a:gd name="connsiteX11" fmla="*/ 8509 w 10003"/>
              <a:gd name="connsiteY11" fmla="*/ 6297 h 10000"/>
              <a:gd name="connsiteX12" fmla="*/ 8572 w 10003"/>
              <a:gd name="connsiteY12" fmla="*/ 6883 h 10000"/>
              <a:gd name="connsiteX13" fmla="*/ 9937 w 10003"/>
              <a:gd name="connsiteY13" fmla="*/ 6883 h 10000"/>
              <a:gd name="connsiteX14" fmla="*/ 10003 w 10003"/>
              <a:gd name="connsiteY14" fmla="*/ 6297 h 10000"/>
              <a:gd name="connsiteX0" fmla="*/ 0 w 10003"/>
              <a:gd name="connsiteY0" fmla="*/ 0 h 10029"/>
              <a:gd name="connsiteX1" fmla="*/ 844 w 10003"/>
              <a:gd name="connsiteY1" fmla="*/ 29 h 10029"/>
              <a:gd name="connsiteX2" fmla="*/ 910 w 10003"/>
              <a:gd name="connsiteY2" fmla="*/ 615 h 10029"/>
              <a:gd name="connsiteX3" fmla="*/ 910 w 10003"/>
              <a:gd name="connsiteY3" fmla="*/ 9443 h 10029"/>
              <a:gd name="connsiteX4" fmla="*/ 977 w 10003"/>
              <a:gd name="connsiteY4" fmla="*/ 10029 h 10029"/>
              <a:gd name="connsiteX5" fmla="*/ 4537 w 10003"/>
              <a:gd name="connsiteY5" fmla="*/ 10029 h 10029"/>
              <a:gd name="connsiteX6" fmla="*/ 4605 w 10003"/>
              <a:gd name="connsiteY6" fmla="*/ 9443 h 10029"/>
              <a:gd name="connsiteX7" fmla="*/ 4605 w 10003"/>
              <a:gd name="connsiteY7" fmla="*/ 4340 h 10029"/>
              <a:gd name="connsiteX8" fmla="*/ 4672 w 10003"/>
              <a:gd name="connsiteY8" fmla="*/ 3752 h 10029"/>
              <a:gd name="connsiteX9" fmla="*/ 8443 w 10003"/>
              <a:gd name="connsiteY9" fmla="*/ 3752 h 10029"/>
              <a:gd name="connsiteX10" fmla="*/ 8509 w 10003"/>
              <a:gd name="connsiteY10" fmla="*/ 4340 h 10029"/>
              <a:gd name="connsiteX11" fmla="*/ 8509 w 10003"/>
              <a:gd name="connsiteY11" fmla="*/ 6326 h 10029"/>
              <a:gd name="connsiteX12" fmla="*/ 8572 w 10003"/>
              <a:gd name="connsiteY12" fmla="*/ 6912 h 10029"/>
              <a:gd name="connsiteX13" fmla="*/ 9937 w 10003"/>
              <a:gd name="connsiteY13" fmla="*/ 6912 h 10029"/>
              <a:gd name="connsiteX14" fmla="*/ 10003 w 10003"/>
              <a:gd name="connsiteY14" fmla="*/ 6326 h 10029"/>
              <a:gd name="connsiteX0" fmla="*/ 0 w 10003"/>
              <a:gd name="connsiteY0" fmla="*/ 30 h 10000"/>
              <a:gd name="connsiteX1" fmla="*/ 844 w 10003"/>
              <a:gd name="connsiteY1" fmla="*/ 0 h 10000"/>
              <a:gd name="connsiteX2" fmla="*/ 910 w 10003"/>
              <a:gd name="connsiteY2" fmla="*/ 586 h 10000"/>
              <a:gd name="connsiteX3" fmla="*/ 910 w 10003"/>
              <a:gd name="connsiteY3" fmla="*/ 9414 h 10000"/>
              <a:gd name="connsiteX4" fmla="*/ 977 w 10003"/>
              <a:gd name="connsiteY4" fmla="*/ 10000 h 10000"/>
              <a:gd name="connsiteX5" fmla="*/ 4537 w 10003"/>
              <a:gd name="connsiteY5" fmla="*/ 10000 h 10000"/>
              <a:gd name="connsiteX6" fmla="*/ 4605 w 10003"/>
              <a:gd name="connsiteY6" fmla="*/ 9414 h 10000"/>
              <a:gd name="connsiteX7" fmla="*/ 4605 w 10003"/>
              <a:gd name="connsiteY7" fmla="*/ 4311 h 10000"/>
              <a:gd name="connsiteX8" fmla="*/ 4672 w 10003"/>
              <a:gd name="connsiteY8" fmla="*/ 3723 h 10000"/>
              <a:gd name="connsiteX9" fmla="*/ 8443 w 10003"/>
              <a:gd name="connsiteY9" fmla="*/ 3723 h 10000"/>
              <a:gd name="connsiteX10" fmla="*/ 8509 w 10003"/>
              <a:gd name="connsiteY10" fmla="*/ 4311 h 10000"/>
              <a:gd name="connsiteX11" fmla="*/ 8509 w 10003"/>
              <a:gd name="connsiteY11" fmla="*/ 6297 h 10000"/>
              <a:gd name="connsiteX12" fmla="*/ 8572 w 10003"/>
              <a:gd name="connsiteY12" fmla="*/ 6883 h 10000"/>
              <a:gd name="connsiteX13" fmla="*/ 9937 w 10003"/>
              <a:gd name="connsiteY13" fmla="*/ 6883 h 10000"/>
              <a:gd name="connsiteX14" fmla="*/ 10003 w 10003"/>
              <a:gd name="connsiteY14" fmla="*/ 6297 h 10000"/>
              <a:gd name="connsiteX0" fmla="*/ 0 w 10003"/>
              <a:gd name="connsiteY0" fmla="*/ 0 h 10029"/>
              <a:gd name="connsiteX1" fmla="*/ 844 w 10003"/>
              <a:gd name="connsiteY1" fmla="*/ 29 h 10029"/>
              <a:gd name="connsiteX2" fmla="*/ 910 w 10003"/>
              <a:gd name="connsiteY2" fmla="*/ 615 h 10029"/>
              <a:gd name="connsiteX3" fmla="*/ 910 w 10003"/>
              <a:gd name="connsiteY3" fmla="*/ 9443 h 10029"/>
              <a:gd name="connsiteX4" fmla="*/ 977 w 10003"/>
              <a:gd name="connsiteY4" fmla="*/ 10029 h 10029"/>
              <a:gd name="connsiteX5" fmla="*/ 4537 w 10003"/>
              <a:gd name="connsiteY5" fmla="*/ 10029 h 10029"/>
              <a:gd name="connsiteX6" fmla="*/ 4605 w 10003"/>
              <a:gd name="connsiteY6" fmla="*/ 9443 h 10029"/>
              <a:gd name="connsiteX7" fmla="*/ 4605 w 10003"/>
              <a:gd name="connsiteY7" fmla="*/ 4340 h 10029"/>
              <a:gd name="connsiteX8" fmla="*/ 4672 w 10003"/>
              <a:gd name="connsiteY8" fmla="*/ 3752 h 10029"/>
              <a:gd name="connsiteX9" fmla="*/ 8443 w 10003"/>
              <a:gd name="connsiteY9" fmla="*/ 3752 h 10029"/>
              <a:gd name="connsiteX10" fmla="*/ 8509 w 10003"/>
              <a:gd name="connsiteY10" fmla="*/ 4340 h 10029"/>
              <a:gd name="connsiteX11" fmla="*/ 8509 w 10003"/>
              <a:gd name="connsiteY11" fmla="*/ 6326 h 10029"/>
              <a:gd name="connsiteX12" fmla="*/ 8572 w 10003"/>
              <a:gd name="connsiteY12" fmla="*/ 6912 h 10029"/>
              <a:gd name="connsiteX13" fmla="*/ 9937 w 10003"/>
              <a:gd name="connsiteY13" fmla="*/ 6912 h 10029"/>
              <a:gd name="connsiteX14" fmla="*/ 10003 w 10003"/>
              <a:gd name="connsiteY14" fmla="*/ 6326 h 10029"/>
              <a:gd name="connsiteX0" fmla="*/ 0 w 10003"/>
              <a:gd name="connsiteY0" fmla="*/ 30 h 10000"/>
              <a:gd name="connsiteX1" fmla="*/ 844 w 10003"/>
              <a:gd name="connsiteY1" fmla="*/ 0 h 10000"/>
              <a:gd name="connsiteX2" fmla="*/ 910 w 10003"/>
              <a:gd name="connsiteY2" fmla="*/ 586 h 10000"/>
              <a:gd name="connsiteX3" fmla="*/ 910 w 10003"/>
              <a:gd name="connsiteY3" fmla="*/ 9414 h 10000"/>
              <a:gd name="connsiteX4" fmla="*/ 977 w 10003"/>
              <a:gd name="connsiteY4" fmla="*/ 10000 h 10000"/>
              <a:gd name="connsiteX5" fmla="*/ 4537 w 10003"/>
              <a:gd name="connsiteY5" fmla="*/ 10000 h 10000"/>
              <a:gd name="connsiteX6" fmla="*/ 4605 w 10003"/>
              <a:gd name="connsiteY6" fmla="*/ 9414 h 10000"/>
              <a:gd name="connsiteX7" fmla="*/ 4605 w 10003"/>
              <a:gd name="connsiteY7" fmla="*/ 4311 h 10000"/>
              <a:gd name="connsiteX8" fmla="*/ 4672 w 10003"/>
              <a:gd name="connsiteY8" fmla="*/ 3723 h 10000"/>
              <a:gd name="connsiteX9" fmla="*/ 8443 w 10003"/>
              <a:gd name="connsiteY9" fmla="*/ 3723 h 10000"/>
              <a:gd name="connsiteX10" fmla="*/ 8509 w 10003"/>
              <a:gd name="connsiteY10" fmla="*/ 4311 h 10000"/>
              <a:gd name="connsiteX11" fmla="*/ 8509 w 10003"/>
              <a:gd name="connsiteY11" fmla="*/ 6297 h 10000"/>
              <a:gd name="connsiteX12" fmla="*/ 8572 w 10003"/>
              <a:gd name="connsiteY12" fmla="*/ 6883 h 10000"/>
              <a:gd name="connsiteX13" fmla="*/ 9937 w 10003"/>
              <a:gd name="connsiteY13" fmla="*/ 6883 h 10000"/>
              <a:gd name="connsiteX14" fmla="*/ 10003 w 10003"/>
              <a:gd name="connsiteY14" fmla="*/ 6297 h 10000"/>
              <a:gd name="connsiteX0" fmla="*/ 0 w 10003"/>
              <a:gd name="connsiteY0" fmla="*/ 1 h 10000"/>
              <a:gd name="connsiteX1" fmla="*/ 844 w 10003"/>
              <a:gd name="connsiteY1" fmla="*/ 0 h 10000"/>
              <a:gd name="connsiteX2" fmla="*/ 910 w 10003"/>
              <a:gd name="connsiteY2" fmla="*/ 586 h 10000"/>
              <a:gd name="connsiteX3" fmla="*/ 910 w 10003"/>
              <a:gd name="connsiteY3" fmla="*/ 9414 h 10000"/>
              <a:gd name="connsiteX4" fmla="*/ 977 w 10003"/>
              <a:gd name="connsiteY4" fmla="*/ 10000 h 10000"/>
              <a:gd name="connsiteX5" fmla="*/ 4537 w 10003"/>
              <a:gd name="connsiteY5" fmla="*/ 10000 h 10000"/>
              <a:gd name="connsiteX6" fmla="*/ 4605 w 10003"/>
              <a:gd name="connsiteY6" fmla="*/ 9414 h 10000"/>
              <a:gd name="connsiteX7" fmla="*/ 4605 w 10003"/>
              <a:gd name="connsiteY7" fmla="*/ 4311 h 10000"/>
              <a:gd name="connsiteX8" fmla="*/ 4672 w 10003"/>
              <a:gd name="connsiteY8" fmla="*/ 3723 h 10000"/>
              <a:gd name="connsiteX9" fmla="*/ 8443 w 10003"/>
              <a:gd name="connsiteY9" fmla="*/ 3723 h 10000"/>
              <a:gd name="connsiteX10" fmla="*/ 8509 w 10003"/>
              <a:gd name="connsiteY10" fmla="*/ 4311 h 10000"/>
              <a:gd name="connsiteX11" fmla="*/ 8509 w 10003"/>
              <a:gd name="connsiteY11" fmla="*/ 6297 h 10000"/>
              <a:gd name="connsiteX12" fmla="*/ 8572 w 10003"/>
              <a:gd name="connsiteY12" fmla="*/ 6883 h 10000"/>
              <a:gd name="connsiteX13" fmla="*/ 9937 w 10003"/>
              <a:gd name="connsiteY13" fmla="*/ 6883 h 10000"/>
              <a:gd name="connsiteX14" fmla="*/ 10003 w 10003"/>
              <a:gd name="connsiteY14" fmla="*/ 6297 h 10000"/>
              <a:gd name="connsiteX0" fmla="*/ 0 w 10003"/>
              <a:gd name="connsiteY0" fmla="*/ 1 h 10000"/>
              <a:gd name="connsiteX1" fmla="*/ 844 w 10003"/>
              <a:gd name="connsiteY1" fmla="*/ 0 h 10000"/>
              <a:gd name="connsiteX2" fmla="*/ 910 w 10003"/>
              <a:gd name="connsiteY2" fmla="*/ 586 h 10000"/>
              <a:gd name="connsiteX3" fmla="*/ 910 w 10003"/>
              <a:gd name="connsiteY3" fmla="*/ 9414 h 10000"/>
              <a:gd name="connsiteX4" fmla="*/ 977 w 10003"/>
              <a:gd name="connsiteY4" fmla="*/ 10000 h 10000"/>
              <a:gd name="connsiteX5" fmla="*/ 4537 w 10003"/>
              <a:gd name="connsiteY5" fmla="*/ 10000 h 10000"/>
              <a:gd name="connsiteX6" fmla="*/ 4605 w 10003"/>
              <a:gd name="connsiteY6" fmla="*/ 9414 h 10000"/>
              <a:gd name="connsiteX7" fmla="*/ 4605 w 10003"/>
              <a:gd name="connsiteY7" fmla="*/ 4311 h 10000"/>
              <a:gd name="connsiteX8" fmla="*/ 4672 w 10003"/>
              <a:gd name="connsiteY8" fmla="*/ 3723 h 10000"/>
              <a:gd name="connsiteX9" fmla="*/ 8443 w 10003"/>
              <a:gd name="connsiteY9" fmla="*/ 3723 h 10000"/>
              <a:gd name="connsiteX10" fmla="*/ 8509 w 10003"/>
              <a:gd name="connsiteY10" fmla="*/ 4311 h 10000"/>
              <a:gd name="connsiteX11" fmla="*/ 8509 w 10003"/>
              <a:gd name="connsiteY11" fmla="*/ 6297 h 10000"/>
              <a:gd name="connsiteX12" fmla="*/ 8572 w 10003"/>
              <a:gd name="connsiteY12" fmla="*/ 6883 h 10000"/>
              <a:gd name="connsiteX13" fmla="*/ 10003 w 10003"/>
              <a:gd name="connsiteY13" fmla="*/ 6297 h 10000"/>
              <a:gd name="connsiteX0" fmla="*/ 0 w 9498"/>
              <a:gd name="connsiteY0" fmla="*/ 1 h 10000"/>
              <a:gd name="connsiteX1" fmla="*/ 844 w 9498"/>
              <a:gd name="connsiteY1" fmla="*/ 0 h 10000"/>
              <a:gd name="connsiteX2" fmla="*/ 910 w 9498"/>
              <a:gd name="connsiteY2" fmla="*/ 586 h 10000"/>
              <a:gd name="connsiteX3" fmla="*/ 910 w 9498"/>
              <a:gd name="connsiteY3" fmla="*/ 9414 h 10000"/>
              <a:gd name="connsiteX4" fmla="*/ 977 w 9498"/>
              <a:gd name="connsiteY4" fmla="*/ 10000 h 10000"/>
              <a:gd name="connsiteX5" fmla="*/ 4537 w 9498"/>
              <a:gd name="connsiteY5" fmla="*/ 10000 h 10000"/>
              <a:gd name="connsiteX6" fmla="*/ 4605 w 9498"/>
              <a:gd name="connsiteY6" fmla="*/ 9414 h 10000"/>
              <a:gd name="connsiteX7" fmla="*/ 4605 w 9498"/>
              <a:gd name="connsiteY7" fmla="*/ 4311 h 10000"/>
              <a:gd name="connsiteX8" fmla="*/ 4672 w 9498"/>
              <a:gd name="connsiteY8" fmla="*/ 3723 h 10000"/>
              <a:gd name="connsiteX9" fmla="*/ 8443 w 9498"/>
              <a:gd name="connsiteY9" fmla="*/ 3723 h 10000"/>
              <a:gd name="connsiteX10" fmla="*/ 8509 w 9498"/>
              <a:gd name="connsiteY10" fmla="*/ 4311 h 10000"/>
              <a:gd name="connsiteX11" fmla="*/ 8509 w 9498"/>
              <a:gd name="connsiteY11" fmla="*/ 6297 h 10000"/>
              <a:gd name="connsiteX12" fmla="*/ 8572 w 9498"/>
              <a:gd name="connsiteY12" fmla="*/ 6883 h 10000"/>
              <a:gd name="connsiteX13" fmla="*/ 9498 w 9498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22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22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22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22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22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9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9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9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9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949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1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1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1 w 10000"/>
              <a:gd name="connsiteY12" fmla="*/ 6861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927 h 10000"/>
              <a:gd name="connsiteX13" fmla="*/ 10000 w 10000"/>
              <a:gd name="connsiteY13" fmla="*/ 6912 h 10000"/>
              <a:gd name="connsiteX0" fmla="*/ 0 w 10029"/>
              <a:gd name="connsiteY0" fmla="*/ 1 h 10000"/>
              <a:gd name="connsiteX1" fmla="*/ 889 w 10029"/>
              <a:gd name="connsiteY1" fmla="*/ 0 h 10000"/>
              <a:gd name="connsiteX2" fmla="*/ 958 w 10029"/>
              <a:gd name="connsiteY2" fmla="*/ 586 h 10000"/>
              <a:gd name="connsiteX3" fmla="*/ 958 w 10029"/>
              <a:gd name="connsiteY3" fmla="*/ 9414 h 10000"/>
              <a:gd name="connsiteX4" fmla="*/ 1029 w 10029"/>
              <a:gd name="connsiteY4" fmla="*/ 10000 h 10000"/>
              <a:gd name="connsiteX5" fmla="*/ 4777 w 10029"/>
              <a:gd name="connsiteY5" fmla="*/ 10000 h 10000"/>
              <a:gd name="connsiteX6" fmla="*/ 4848 w 10029"/>
              <a:gd name="connsiteY6" fmla="*/ 9414 h 10000"/>
              <a:gd name="connsiteX7" fmla="*/ 4848 w 10029"/>
              <a:gd name="connsiteY7" fmla="*/ 4311 h 10000"/>
              <a:gd name="connsiteX8" fmla="*/ 4919 w 10029"/>
              <a:gd name="connsiteY8" fmla="*/ 3723 h 10000"/>
              <a:gd name="connsiteX9" fmla="*/ 8889 w 10029"/>
              <a:gd name="connsiteY9" fmla="*/ 3723 h 10000"/>
              <a:gd name="connsiteX10" fmla="*/ 8959 w 10029"/>
              <a:gd name="connsiteY10" fmla="*/ 4311 h 10000"/>
              <a:gd name="connsiteX11" fmla="*/ 8959 w 10029"/>
              <a:gd name="connsiteY11" fmla="*/ 6297 h 10000"/>
              <a:gd name="connsiteX12" fmla="*/ 9014 w 10029"/>
              <a:gd name="connsiteY12" fmla="*/ 6927 h 10000"/>
              <a:gd name="connsiteX13" fmla="*/ 10029 w 10029"/>
              <a:gd name="connsiteY13" fmla="*/ 6912 h 10000"/>
              <a:gd name="connsiteX0" fmla="*/ 0 w 10029"/>
              <a:gd name="connsiteY0" fmla="*/ 1 h 10000"/>
              <a:gd name="connsiteX1" fmla="*/ 889 w 10029"/>
              <a:gd name="connsiteY1" fmla="*/ 0 h 10000"/>
              <a:gd name="connsiteX2" fmla="*/ 958 w 10029"/>
              <a:gd name="connsiteY2" fmla="*/ 586 h 10000"/>
              <a:gd name="connsiteX3" fmla="*/ 958 w 10029"/>
              <a:gd name="connsiteY3" fmla="*/ 9414 h 10000"/>
              <a:gd name="connsiteX4" fmla="*/ 1029 w 10029"/>
              <a:gd name="connsiteY4" fmla="*/ 10000 h 10000"/>
              <a:gd name="connsiteX5" fmla="*/ 4777 w 10029"/>
              <a:gd name="connsiteY5" fmla="*/ 10000 h 10000"/>
              <a:gd name="connsiteX6" fmla="*/ 4848 w 10029"/>
              <a:gd name="connsiteY6" fmla="*/ 9414 h 10000"/>
              <a:gd name="connsiteX7" fmla="*/ 4848 w 10029"/>
              <a:gd name="connsiteY7" fmla="*/ 4311 h 10000"/>
              <a:gd name="connsiteX8" fmla="*/ 4919 w 10029"/>
              <a:gd name="connsiteY8" fmla="*/ 3723 h 10000"/>
              <a:gd name="connsiteX9" fmla="*/ 8889 w 10029"/>
              <a:gd name="connsiteY9" fmla="*/ 3723 h 10000"/>
              <a:gd name="connsiteX10" fmla="*/ 8959 w 10029"/>
              <a:gd name="connsiteY10" fmla="*/ 4311 h 10000"/>
              <a:gd name="connsiteX11" fmla="*/ 8959 w 10029"/>
              <a:gd name="connsiteY11" fmla="*/ 6297 h 10000"/>
              <a:gd name="connsiteX12" fmla="*/ 9014 w 10029"/>
              <a:gd name="connsiteY12" fmla="*/ 6927 h 10000"/>
              <a:gd name="connsiteX13" fmla="*/ 10029 w 10029"/>
              <a:gd name="connsiteY13" fmla="*/ 6912 h 10000"/>
              <a:gd name="connsiteX0" fmla="*/ 0 w 10063"/>
              <a:gd name="connsiteY0" fmla="*/ 1 h 10000"/>
              <a:gd name="connsiteX1" fmla="*/ 889 w 10063"/>
              <a:gd name="connsiteY1" fmla="*/ 0 h 10000"/>
              <a:gd name="connsiteX2" fmla="*/ 958 w 10063"/>
              <a:gd name="connsiteY2" fmla="*/ 586 h 10000"/>
              <a:gd name="connsiteX3" fmla="*/ 958 w 10063"/>
              <a:gd name="connsiteY3" fmla="*/ 9414 h 10000"/>
              <a:gd name="connsiteX4" fmla="*/ 1029 w 10063"/>
              <a:gd name="connsiteY4" fmla="*/ 10000 h 10000"/>
              <a:gd name="connsiteX5" fmla="*/ 4777 w 10063"/>
              <a:gd name="connsiteY5" fmla="*/ 10000 h 10000"/>
              <a:gd name="connsiteX6" fmla="*/ 4848 w 10063"/>
              <a:gd name="connsiteY6" fmla="*/ 9414 h 10000"/>
              <a:gd name="connsiteX7" fmla="*/ 4848 w 10063"/>
              <a:gd name="connsiteY7" fmla="*/ 4311 h 10000"/>
              <a:gd name="connsiteX8" fmla="*/ 4919 w 10063"/>
              <a:gd name="connsiteY8" fmla="*/ 3723 h 10000"/>
              <a:gd name="connsiteX9" fmla="*/ 8889 w 10063"/>
              <a:gd name="connsiteY9" fmla="*/ 3723 h 10000"/>
              <a:gd name="connsiteX10" fmla="*/ 8959 w 10063"/>
              <a:gd name="connsiteY10" fmla="*/ 4311 h 10000"/>
              <a:gd name="connsiteX11" fmla="*/ 8959 w 10063"/>
              <a:gd name="connsiteY11" fmla="*/ 6297 h 10000"/>
              <a:gd name="connsiteX12" fmla="*/ 9014 w 10063"/>
              <a:gd name="connsiteY12" fmla="*/ 6927 h 10000"/>
              <a:gd name="connsiteX13" fmla="*/ 10063 w 10063"/>
              <a:gd name="connsiteY13" fmla="*/ 6912 h 10000"/>
              <a:gd name="connsiteX0" fmla="*/ 0 w 9995"/>
              <a:gd name="connsiteY0" fmla="*/ 1 h 10000"/>
              <a:gd name="connsiteX1" fmla="*/ 889 w 9995"/>
              <a:gd name="connsiteY1" fmla="*/ 0 h 10000"/>
              <a:gd name="connsiteX2" fmla="*/ 958 w 9995"/>
              <a:gd name="connsiteY2" fmla="*/ 586 h 10000"/>
              <a:gd name="connsiteX3" fmla="*/ 958 w 9995"/>
              <a:gd name="connsiteY3" fmla="*/ 9414 h 10000"/>
              <a:gd name="connsiteX4" fmla="*/ 1029 w 9995"/>
              <a:gd name="connsiteY4" fmla="*/ 10000 h 10000"/>
              <a:gd name="connsiteX5" fmla="*/ 4777 w 9995"/>
              <a:gd name="connsiteY5" fmla="*/ 10000 h 10000"/>
              <a:gd name="connsiteX6" fmla="*/ 4848 w 9995"/>
              <a:gd name="connsiteY6" fmla="*/ 9414 h 10000"/>
              <a:gd name="connsiteX7" fmla="*/ 4848 w 9995"/>
              <a:gd name="connsiteY7" fmla="*/ 4311 h 10000"/>
              <a:gd name="connsiteX8" fmla="*/ 4919 w 9995"/>
              <a:gd name="connsiteY8" fmla="*/ 3723 h 10000"/>
              <a:gd name="connsiteX9" fmla="*/ 8889 w 9995"/>
              <a:gd name="connsiteY9" fmla="*/ 3723 h 10000"/>
              <a:gd name="connsiteX10" fmla="*/ 8959 w 9995"/>
              <a:gd name="connsiteY10" fmla="*/ 4311 h 10000"/>
              <a:gd name="connsiteX11" fmla="*/ 8959 w 9995"/>
              <a:gd name="connsiteY11" fmla="*/ 6297 h 10000"/>
              <a:gd name="connsiteX12" fmla="*/ 9014 w 9995"/>
              <a:gd name="connsiteY12" fmla="*/ 6927 h 10000"/>
              <a:gd name="connsiteX13" fmla="*/ 9995 w 9995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19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19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19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19 w 10000"/>
              <a:gd name="connsiteY12" fmla="*/ 6927 h 10000"/>
              <a:gd name="connsiteX13" fmla="*/ 10000 w 10000"/>
              <a:gd name="connsiteY13" fmla="*/ 6978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19 w 10000"/>
              <a:gd name="connsiteY12" fmla="*/ 6927 h 10000"/>
              <a:gd name="connsiteX13" fmla="*/ 10000 w 10000"/>
              <a:gd name="connsiteY13" fmla="*/ 6934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22 w 10000"/>
              <a:gd name="connsiteY12" fmla="*/ 6949 h 10000"/>
              <a:gd name="connsiteX13" fmla="*/ 10000 w 10000"/>
              <a:gd name="connsiteY13" fmla="*/ 6934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49 h 10000"/>
              <a:gd name="connsiteX13" fmla="*/ 10010 w 10010"/>
              <a:gd name="connsiteY13" fmla="*/ 6956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6956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6956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7000 h 10000"/>
              <a:gd name="connsiteX0" fmla="*/ 0 w 10007"/>
              <a:gd name="connsiteY0" fmla="*/ 1 h 10000"/>
              <a:gd name="connsiteX1" fmla="*/ 889 w 10007"/>
              <a:gd name="connsiteY1" fmla="*/ 0 h 10000"/>
              <a:gd name="connsiteX2" fmla="*/ 958 w 10007"/>
              <a:gd name="connsiteY2" fmla="*/ 586 h 10000"/>
              <a:gd name="connsiteX3" fmla="*/ 958 w 10007"/>
              <a:gd name="connsiteY3" fmla="*/ 9414 h 10000"/>
              <a:gd name="connsiteX4" fmla="*/ 1030 w 10007"/>
              <a:gd name="connsiteY4" fmla="*/ 10000 h 10000"/>
              <a:gd name="connsiteX5" fmla="*/ 4779 w 10007"/>
              <a:gd name="connsiteY5" fmla="*/ 10000 h 10000"/>
              <a:gd name="connsiteX6" fmla="*/ 4850 w 10007"/>
              <a:gd name="connsiteY6" fmla="*/ 9414 h 10000"/>
              <a:gd name="connsiteX7" fmla="*/ 4850 w 10007"/>
              <a:gd name="connsiteY7" fmla="*/ 4311 h 10000"/>
              <a:gd name="connsiteX8" fmla="*/ 4921 w 10007"/>
              <a:gd name="connsiteY8" fmla="*/ 3723 h 10000"/>
              <a:gd name="connsiteX9" fmla="*/ 8893 w 10007"/>
              <a:gd name="connsiteY9" fmla="*/ 3723 h 10000"/>
              <a:gd name="connsiteX10" fmla="*/ 8963 w 10007"/>
              <a:gd name="connsiteY10" fmla="*/ 4311 h 10000"/>
              <a:gd name="connsiteX11" fmla="*/ 8963 w 10007"/>
              <a:gd name="connsiteY11" fmla="*/ 6297 h 10000"/>
              <a:gd name="connsiteX12" fmla="*/ 9022 w 10007"/>
              <a:gd name="connsiteY12" fmla="*/ 6971 h 10000"/>
              <a:gd name="connsiteX13" fmla="*/ 10007 w 10007"/>
              <a:gd name="connsiteY13" fmla="*/ 6956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7000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6956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7000 h 10000"/>
              <a:gd name="connsiteX0" fmla="*/ 0 w 10013"/>
              <a:gd name="connsiteY0" fmla="*/ 1 h 10000"/>
              <a:gd name="connsiteX1" fmla="*/ 889 w 10013"/>
              <a:gd name="connsiteY1" fmla="*/ 0 h 10000"/>
              <a:gd name="connsiteX2" fmla="*/ 958 w 10013"/>
              <a:gd name="connsiteY2" fmla="*/ 586 h 10000"/>
              <a:gd name="connsiteX3" fmla="*/ 958 w 10013"/>
              <a:gd name="connsiteY3" fmla="*/ 9414 h 10000"/>
              <a:gd name="connsiteX4" fmla="*/ 1030 w 10013"/>
              <a:gd name="connsiteY4" fmla="*/ 10000 h 10000"/>
              <a:gd name="connsiteX5" fmla="*/ 4779 w 10013"/>
              <a:gd name="connsiteY5" fmla="*/ 10000 h 10000"/>
              <a:gd name="connsiteX6" fmla="*/ 4850 w 10013"/>
              <a:gd name="connsiteY6" fmla="*/ 9414 h 10000"/>
              <a:gd name="connsiteX7" fmla="*/ 4850 w 10013"/>
              <a:gd name="connsiteY7" fmla="*/ 4311 h 10000"/>
              <a:gd name="connsiteX8" fmla="*/ 4921 w 10013"/>
              <a:gd name="connsiteY8" fmla="*/ 3723 h 10000"/>
              <a:gd name="connsiteX9" fmla="*/ 8893 w 10013"/>
              <a:gd name="connsiteY9" fmla="*/ 3723 h 10000"/>
              <a:gd name="connsiteX10" fmla="*/ 8963 w 10013"/>
              <a:gd name="connsiteY10" fmla="*/ 4311 h 10000"/>
              <a:gd name="connsiteX11" fmla="*/ 8963 w 10013"/>
              <a:gd name="connsiteY11" fmla="*/ 6297 h 10000"/>
              <a:gd name="connsiteX12" fmla="*/ 9022 w 10013"/>
              <a:gd name="connsiteY12" fmla="*/ 6971 h 10000"/>
              <a:gd name="connsiteX13" fmla="*/ 10013 w 10013"/>
              <a:gd name="connsiteY13" fmla="*/ 6956 h 10000"/>
              <a:gd name="connsiteX0" fmla="*/ 0 w 10081"/>
              <a:gd name="connsiteY0" fmla="*/ 1 h 10000"/>
              <a:gd name="connsiteX1" fmla="*/ 889 w 10081"/>
              <a:gd name="connsiteY1" fmla="*/ 0 h 10000"/>
              <a:gd name="connsiteX2" fmla="*/ 958 w 10081"/>
              <a:gd name="connsiteY2" fmla="*/ 586 h 10000"/>
              <a:gd name="connsiteX3" fmla="*/ 958 w 10081"/>
              <a:gd name="connsiteY3" fmla="*/ 9414 h 10000"/>
              <a:gd name="connsiteX4" fmla="*/ 1030 w 10081"/>
              <a:gd name="connsiteY4" fmla="*/ 10000 h 10000"/>
              <a:gd name="connsiteX5" fmla="*/ 4779 w 10081"/>
              <a:gd name="connsiteY5" fmla="*/ 10000 h 10000"/>
              <a:gd name="connsiteX6" fmla="*/ 4850 w 10081"/>
              <a:gd name="connsiteY6" fmla="*/ 9414 h 10000"/>
              <a:gd name="connsiteX7" fmla="*/ 4850 w 10081"/>
              <a:gd name="connsiteY7" fmla="*/ 4311 h 10000"/>
              <a:gd name="connsiteX8" fmla="*/ 4921 w 10081"/>
              <a:gd name="connsiteY8" fmla="*/ 3723 h 10000"/>
              <a:gd name="connsiteX9" fmla="*/ 8893 w 10081"/>
              <a:gd name="connsiteY9" fmla="*/ 3723 h 10000"/>
              <a:gd name="connsiteX10" fmla="*/ 8963 w 10081"/>
              <a:gd name="connsiteY10" fmla="*/ 4311 h 10000"/>
              <a:gd name="connsiteX11" fmla="*/ 8963 w 10081"/>
              <a:gd name="connsiteY11" fmla="*/ 6297 h 10000"/>
              <a:gd name="connsiteX12" fmla="*/ 9022 w 10081"/>
              <a:gd name="connsiteY12" fmla="*/ 6971 h 10000"/>
              <a:gd name="connsiteX13" fmla="*/ 10081 w 10081"/>
              <a:gd name="connsiteY13" fmla="*/ 6978 h 10000"/>
              <a:gd name="connsiteX0" fmla="*/ 0 w 10089"/>
              <a:gd name="connsiteY0" fmla="*/ 1 h 10000"/>
              <a:gd name="connsiteX1" fmla="*/ 889 w 10089"/>
              <a:gd name="connsiteY1" fmla="*/ 0 h 10000"/>
              <a:gd name="connsiteX2" fmla="*/ 958 w 10089"/>
              <a:gd name="connsiteY2" fmla="*/ 586 h 10000"/>
              <a:gd name="connsiteX3" fmla="*/ 958 w 10089"/>
              <a:gd name="connsiteY3" fmla="*/ 9414 h 10000"/>
              <a:gd name="connsiteX4" fmla="*/ 1030 w 10089"/>
              <a:gd name="connsiteY4" fmla="*/ 10000 h 10000"/>
              <a:gd name="connsiteX5" fmla="*/ 4779 w 10089"/>
              <a:gd name="connsiteY5" fmla="*/ 10000 h 10000"/>
              <a:gd name="connsiteX6" fmla="*/ 4850 w 10089"/>
              <a:gd name="connsiteY6" fmla="*/ 9414 h 10000"/>
              <a:gd name="connsiteX7" fmla="*/ 4850 w 10089"/>
              <a:gd name="connsiteY7" fmla="*/ 4311 h 10000"/>
              <a:gd name="connsiteX8" fmla="*/ 4921 w 10089"/>
              <a:gd name="connsiteY8" fmla="*/ 3723 h 10000"/>
              <a:gd name="connsiteX9" fmla="*/ 8893 w 10089"/>
              <a:gd name="connsiteY9" fmla="*/ 3723 h 10000"/>
              <a:gd name="connsiteX10" fmla="*/ 8963 w 10089"/>
              <a:gd name="connsiteY10" fmla="*/ 4311 h 10000"/>
              <a:gd name="connsiteX11" fmla="*/ 8963 w 10089"/>
              <a:gd name="connsiteY11" fmla="*/ 6297 h 10000"/>
              <a:gd name="connsiteX12" fmla="*/ 9022 w 10089"/>
              <a:gd name="connsiteY12" fmla="*/ 6971 h 10000"/>
              <a:gd name="connsiteX13" fmla="*/ 10089 w 10089"/>
              <a:gd name="connsiteY13" fmla="*/ 6956 h 10000"/>
              <a:gd name="connsiteX0" fmla="*/ 0 w 10092"/>
              <a:gd name="connsiteY0" fmla="*/ 1 h 10000"/>
              <a:gd name="connsiteX1" fmla="*/ 889 w 10092"/>
              <a:gd name="connsiteY1" fmla="*/ 0 h 10000"/>
              <a:gd name="connsiteX2" fmla="*/ 958 w 10092"/>
              <a:gd name="connsiteY2" fmla="*/ 586 h 10000"/>
              <a:gd name="connsiteX3" fmla="*/ 958 w 10092"/>
              <a:gd name="connsiteY3" fmla="*/ 9414 h 10000"/>
              <a:gd name="connsiteX4" fmla="*/ 1030 w 10092"/>
              <a:gd name="connsiteY4" fmla="*/ 10000 h 10000"/>
              <a:gd name="connsiteX5" fmla="*/ 4779 w 10092"/>
              <a:gd name="connsiteY5" fmla="*/ 10000 h 10000"/>
              <a:gd name="connsiteX6" fmla="*/ 4850 w 10092"/>
              <a:gd name="connsiteY6" fmla="*/ 9414 h 10000"/>
              <a:gd name="connsiteX7" fmla="*/ 4850 w 10092"/>
              <a:gd name="connsiteY7" fmla="*/ 4311 h 10000"/>
              <a:gd name="connsiteX8" fmla="*/ 4921 w 10092"/>
              <a:gd name="connsiteY8" fmla="*/ 3723 h 10000"/>
              <a:gd name="connsiteX9" fmla="*/ 8893 w 10092"/>
              <a:gd name="connsiteY9" fmla="*/ 3723 h 10000"/>
              <a:gd name="connsiteX10" fmla="*/ 8963 w 10092"/>
              <a:gd name="connsiteY10" fmla="*/ 4311 h 10000"/>
              <a:gd name="connsiteX11" fmla="*/ 8963 w 10092"/>
              <a:gd name="connsiteY11" fmla="*/ 6297 h 10000"/>
              <a:gd name="connsiteX12" fmla="*/ 9022 w 10092"/>
              <a:gd name="connsiteY12" fmla="*/ 6971 h 10000"/>
              <a:gd name="connsiteX13" fmla="*/ 10092 w 10092"/>
              <a:gd name="connsiteY13" fmla="*/ 6978 h 10000"/>
              <a:gd name="connsiteX0" fmla="*/ 0 w 10095"/>
              <a:gd name="connsiteY0" fmla="*/ 1 h 10000"/>
              <a:gd name="connsiteX1" fmla="*/ 889 w 10095"/>
              <a:gd name="connsiteY1" fmla="*/ 0 h 10000"/>
              <a:gd name="connsiteX2" fmla="*/ 958 w 10095"/>
              <a:gd name="connsiteY2" fmla="*/ 586 h 10000"/>
              <a:gd name="connsiteX3" fmla="*/ 958 w 10095"/>
              <a:gd name="connsiteY3" fmla="*/ 9414 h 10000"/>
              <a:gd name="connsiteX4" fmla="*/ 1030 w 10095"/>
              <a:gd name="connsiteY4" fmla="*/ 10000 h 10000"/>
              <a:gd name="connsiteX5" fmla="*/ 4779 w 10095"/>
              <a:gd name="connsiteY5" fmla="*/ 10000 h 10000"/>
              <a:gd name="connsiteX6" fmla="*/ 4850 w 10095"/>
              <a:gd name="connsiteY6" fmla="*/ 9414 h 10000"/>
              <a:gd name="connsiteX7" fmla="*/ 4850 w 10095"/>
              <a:gd name="connsiteY7" fmla="*/ 4311 h 10000"/>
              <a:gd name="connsiteX8" fmla="*/ 4921 w 10095"/>
              <a:gd name="connsiteY8" fmla="*/ 3723 h 10000"/>
              <a:gd name="connsiteX9" fmla="*/ 8893 w 10095"/>
              <a:gd name="connsiteY9" fmla="*/ 3723 h 10000"/>
              <a:gd name="connsiteX10" fmla="*/ 8963 w 10095"/>
              <a:gd name="connsiteY10" fmla="*/ 4311 h 10000"/>
              <a:gd name="connsiteX11" fmla="*/ 8963 w 10095"/>
              <a:gd name="connsiteY11" fmla="*/ 6297 h 10000"/>
              <a:gd name="connsiteX12" fmla="*/ 9022 w 10095"/>
              <a:gd name="connsiteY12" fmla="*/ 6971 h 10000"/>
              <a:gd name="connsiteX13" fmla="*/ 10095 w 10095"/>
              <a:gd name="connsiteY13" fmla="*/ 6978 h 10000"/>
              <a:gd name="connsiteX0" fmla="*/ 0 w 10095"/>
              <a:gd name="connsiteY0" fmla="*/ 1 h 10000"/>
              <a:gd name="connsiteX1" fmla="*/ 889 w 10095"/>
              <a:gd name="connsiteY1" fmla="*/ 0 h 10000"/>
              <a:gd name="connsiteX2" fmla="*/ 958 w 10095"/>
              <a:gd name="connsiteY2" fmla="*/ 586 h 10000"/>
              <a:gd name="connsiteX3" fmla="*/ 958 w 10095"/>
              <a:gd name="connsiteY3" fmla="*/ 9414 h 10000"/>
              <a:gd name="connsiteX4" fmla="*/ 1030 w 10095"/>
              <a:gd name="connsiteY4" fmla="*/ 10000 h 10000"/>
              <a:gd name="connsiteX5" fmla="*/ 4779 w 10095"/>
              <a:gd name="connsiteY5" fmla="*/ 10000 h 10000"/>
              <a:gd name="connsiteX6" fmla="*/ 4850 w 10095"/>
              <a:gd name="connsiteY6" fmla="*/ 9414 h 10000"/>
              <a:gd name="connsiteX7" fmla="*/ 4850 w 10095"/>
              <a:gd name="connsiteY7" fmla="*/ 4311 h 10000"/>
              <a:gd name="connsiteX8" fmla="*/ 4921 w 10095"/>
              <a:gd name="connsiteY8" fmla="*/ 3723 h 10000"/>
              <a:gd name="connsiteX9" fmla="*/ 8893 w 10095"/>
              <a:gd name="connsiteY9" fmla="*/ 3723 h 10000"/>
              <a:gd name="connsiteX10" fmla="*/ 8963 w 10095"/>
              <a:gd name="connsiteY10" fmla="*/ 4311 h 10000"/>
              <a:gd name="connsiteX11" fmla="*/ 8963 w 10095"/>
              <a:gd name="connsiteY11" fmla="*/ 6297 h 10000"/>
              <a:gd name="connsiteX12" fmla="*/ 9022 w 10095"/>
              <a:gd name="connsiteY12" fmla="*/ 6971 h 10000"/>
              <a:gd name="connsiteX13" fmla="*/ 10095 w 10095"/>
              <a:gd name="connsiteY13" fmla="*/ 6978 h 10000"/>
              <a:gd name="connsiteX0" fmla="*/ 0 w 10095"/>
              <a:gd name="connsiteY0" fmla="*/ 1 h 10000"/>
              <a:gd name="connsiteX1" fmla="*/ 889 w 10095"/>
              <a:gd name="connsiteY1" fmla="*/ 0 h 10000"/>
              <a:gd name="connsiteX2" fmla="*/ 958 w 10095"/>
              <a:gd name="connsiteY2" fmla="*/ 586 h 10000"/>
              <a:gd name="connsiteX3" fmla="*/ 958 w 10095"/>
              <a:gd name="connsiteY3" fmla="*/ 9414 h 10000"/>
              <a:gd name="connsiteX4" fmla="*/ 1030 w 10095"/>
              <a:gd name="connsiteY4" fmla="*/ 10000 h 10000"/>
              <a:gd name="connsiteX5" fmla="*/ 4779 w 10095"/>
              <a:gd name="connsiteY5" fmla="*/ 10000 h 10000"/>
              <a:gd name="connsiteX6" fmla="*/ 4850 w 10095"/>
              <a:gd name="connsiteY6" fmla="*/ 9414 h 10000"/>
              <a:gd name="connsiteX7" fmla="*/ 4850 w 10095"/>
              <a:gd name="connsiteY7" fmla="*/ 4311 h 10000"/>
              <a:gd name="connsiteX8" fmla="*/ 4921 w 10095"/>
              <a:gd name="connsiteY8" fmla="*/ 3723 h 10000"/>
              <a:gd name="connsiteX9" fmla="*/ 8893 w 10095"/>
              <a:gd name="connsiteY9" fmla="*/ 3723 h 10000"/>
              <a:gd name="connsiteX10" fmla="*/ 8963 w 10095"/>
              <a:gd name="connsiteY10" fmla="*/ 4311 h 10000"/>
              <a:gd name="connsiteX11" fmla="*/ 8963 w 10095"/>
              <a:gd name="connsiteY11" fmla="*/ 6297 h 10000"/>
              <a:gd name="connsiteX12" fmla="*/ 9022 w 10095"/>
              <a:gd name="connsiteY12" fmla="*/ 6971 h 10000"/>
              <a:gd name="connsiteX13" fmla="*/ 10095 w 10095"/>
              <a:gd name="connsiteY13" fmla="*/ 6912 h 10000"/>
              <a:gd name="connsiteX0" fmla="*/ 0 w 10105"/>
              <a:gd name="connsiteY0" fmla="*/ 1 h 10000"/>
              <a:gd name="connsiteX1" fmla="*/ 889 w 10105"/>
              <a:gd name="connsiteY1" fmla="*/ 0 h 10000"/>
              <a:gd name="connsiteX2" fmla="*/ 958 w 10105"/>
              <a:gd name="connsiteY2" fmla="*/ 586 h 10000"/>
              <a:gd name="connsiteX3" fmla="*/ 958 w 10105"/>
              <a:gd name="connsiteY3" fmla="*/ 9414 h 10000"/>
              <a:gd name="connsiteX4" fmla="*/ 1030 w 10105"/>
              <a:gd name="connsiteY4" fmla="*/ 10000 h 10000"/>
              <a:gd name="connsiteX5" fmla="*/ 4779 w 10105"/>
              <a:gd name="connsiteY5" fmla="*/ 10000 h 10000"/>
              <a:gd name="connsiteX6" fmla="*/ 4850 w 10105"/>
              <a:gd name="connsiteY6" fmla="*/ 9414 h 10000"/>
              <a:gd name="connsiteX7" fmla="*/ 4850 w 10105"/>
              <a:gd name="connsiteY7" fmla="*/ 4311 h 10000"/>
              <a:gd name="connsiteX8" fmla="*/ 4921 w 10105"/>
              <a:gd name="connsiteY8" fmla="*/ 3723 h 10000"/>
              <a:gd name="connsiteX9" fmla="*/ 8893 w 10105"/>
              <a:gd name="connsiteY9" fmla="*/ 3723 h 10000"/>
              <a:gd name="connsiteX10" fmla="*/ 8963 w 10105"/>
              <a:gd name="connsiteY10" fmla="*/ 4311 h 10000"/>
              <a:gd name="connsiteX11" fmla="*/ 8963 w 10105"/>
              <a:gd name="connsiteY11" fmla="*/ 6297 h 10000"/>
              <a:gd name="connsiteX12" fmla="*/ 9022 w 10105"/>
              <a:gd name="connsiteY12" fmla="*/ 6971 h 10000"/>
              <a:gd name="connsiteX13" fmla="*/ 10105 w 10105"/>
              <a:gd name="connsiteY13" fmla="*/ 6978 h 10000"/>
              <a:gd name="connsiteX0" fmla="*/ 0 w 10105"/>
              <a:gd name="connsiteY0" fmla="*/ 1 h 10000"/>
              <a:gd name="connsiteX1" fmla="*/ 889 w 10105"/>
              <a:gd name="connsiteY1" fmla="*/ 0 h 10000"/>
              <a:gd name="connsiteX2" fmla="*/ 958 w 10105"/>
              <a:gd name="connsiteY2" fmla="*/ 586 h 10000"/>
              <a:gd name="connsiteX3" fmla="*/ 958 w 10105"/>
              <a:gd name="connsiteY3" fmla="*/ 9414 h 10000"/>
              <a:gd name="connsiteX4" fmla="*/ 1030 w 10105"/>
              <a:gd name="connsiteY4" fmla="*/ 10000 h 10000"/>
              <a:gd name="connsiteX5" fmla="*/ 4779 w 10105"/>
              <a:gd name="connsiteY5" fmla="*/ 10000 h 10000"/>
              <a:gd name="connsiteX6" fmla="*/ 4850 w 10105"/>
              <a:gd name="connsiteY6" fmla="*/ 9414 h 10000"/>
              <a:gd name="connsiteX7" fmla="*/ 4850 w 10105"/>
              <a:gd name="connsiteY7" fmla="*/ 4311 h 10000"/>
              <a:gd name="connsiteX8" fmla="*/ 4921 w 10105"/>
              <a:gd name="connsiteY8" fmla="*/ 3723 h 10000"/>
              <a:gd name="connsiteX9" fmla="*/ 8893 w 10105"/>
              <a:gd name="connsiteY9" fmla="*/ 3723 h 10000"/>
              <a:gd name="connsiteX10" fmla="*/ 8963 w 10105"/>
              <a:gd name="connsiteY10" fmla="*/ 4311 h 10000"/>
              <a:gd name="connsiteX11" fmla="*/ 8963 w 10105"/>
              <a:gd name="connsiteY11" fmla="*/ 6297 h 10000"/>
              <a:gd name="connsiteX12" fmla="*/ 9022 w 10105"/>
              <a:gd name="connsiteY12" fmla="*/ 6971 h 10000"/>
              <a:gd name="connsiteX13" fmla="*/ 10105 w 10105"/>
              <a:gd name="connsiteY13" fmla="*/ 6978 h 10000"/>
              <a:gd name="connsiteX0" fmla="*/ 0 w 10105"/>
              <a:gd name="connsiteY0" fmla="*/ 1 h 10000"/>
              <a:gd name="connsiteX1" fmla="*/ 889 w 10105"/>
              <a:gd name="connsiteY1" fmla="*/ 0 h 10000"/>
              <a:gd name="connsiteX2" fmla="*/ 958 w 10105"/>
              <a:gd name="connsiteY2" fmla="*/ 586 h 10000"/>
              <a:gd name="connsiteX3" fmla="*/ 958 w 10105"/>
              <a:gd name="connsiteY3" fmla="*/ 9414 h 10000"/>
              <a:gd name="connsiteX4" fmla="*/ 1030 w 10105"/>
              <a:gd name="connsiteY4" fmla="*/ 10000 h 10000"/>
              <a:gd name="connsiteX5" fmla="*/ 4779 w 10105"/>
              <a:gd name="connsiteY5" fmla="*/ 10000 h 10000"/>
              <a:gd name="connsiteX6" fmla="*/ 4850 w 10105"/>
              <a:gd name="connsiteY6" fmla="*/ 9414 h 10000"/>
              <a:gd name="connsiteX7" fmla="*/ 4850 w 10105"/>
              <a:gd name="connsiteY7" fmla="*/ 4311 h 10000"/>
              <a:gd name="connsiteX8" fmla="*/ 4921 w 10105"/>
              <a:gd name="connsiteY8" fmla="*/ 3723 h 10000"/>
              <a:gd name="connsiteX9" fmla="*/ 8893 w 10105"/>
              <a:gd name="connsiteY9" fmla="*/ 3723 h 10000"/>
              <a:gd name="connsiteX10" fmla="*/ 8963 w 10105"/>
              <a:gd name="connsiteY10" fmla="*/ 4311 h 10000"/>
              <a:gd name="connsiteX11" fmla="*/ 8963 w 10105"/>
              <a:gd name="connsiteY11" fmla="*/ 6297 h 10000"/>
              <a:gd name="connsiteX12" fmla="*/ 9022 w 10105"/>
              <a:gd name="connsiteY12" fmla="*/ 6971 h 10000"/>
              <a:gd name="connsiteX13" fmla="*/ 10105 w 10105"/>
              <a:gd name="connsiteY13" fmla="*/ 6978 h 10000"/>
              <a:gd name="connsiteX0" fmla="*/ 0 w 10131"/>
              <a:gd name="connsiteY0" fmla="*/ 1 h 10000"/>
              <a:gd name="connsiteX1" fmla="*/ 889 w 10131"/>
              <a:gd name="connsiteY1" fmla="*/ 0 h 10000"/>
              <a:gd name="connsiteX2" fmla="*/ 958 w 10131"/>
              <a:gd name="connsiteY2" fmla="*/ 586 h 10000"/>
              <a:gd name="connsiteX3" fmla="*/ 958 w 10131"/>
              <a:gd name="connsiteY3" fmla="*/ 9414 h 10000"/>
              <a:gd name="connsiteX4" fmla="*/ 1030 w 10131"/>
              <a:gd name="connsiteY4" fmla="*/ 10000 h 10000"/>
              <a:gd name="connsiteX5" fmla="*/ 4779 w 10131"/>
              <a:gd name="connsiteY5" fmla="*/ 10000 h 10000"/>
              <a:gd name="connsiteX6" fmla="*/ 4850 w 10131"/>
              <a:gd name="connsiteY6" fmla="*/ 9414 h 10000"/>
              <a:gd name="connsiteX7" fmla="*/ 4850 w 10131"/>
              <a:gd name="connsiteY7" fmla="*/ 4311 h 10000"/>
              <a:gd name="connsiteX8" fmla="*/ 4921 w 10131"/>
              <a:gd name="connsiteY8" fmla="*/ 3723 h 10000"/>
              <a:gd name="connsiteX9" fmla="*/ 8893 w 10131"/>
              <a:gd name="connsiteY9" fmla="*/ 3723 h 10000"/>
              <a:gd name="connsiteX10" fmla="*/ 8963 w 10131"/>
              <a:gd name="connsiteY10" fmla="*/ 4311 h 10000"/>
              <a:gd name="connsiteX11" fmla="*/ 8963 w 10131"/>
              <a:gd name="connsiteY11" fmla="*/ 6297 h 10000"/>
              <a:gd name="connsiteX12" fmla="*/ 9022 w 10131"/>
              <a:gd name="connsiteY12" fmla="*/ 6971 h 10000"/>
              <a:gd name="connsiteX13" fmla="*/ 10131 w 10131"/>
              <a:gd name="connsiteY13" fmla="*/ 6978 h 10000"/>
              <a:gd name="connsiteX0" fmla="*/ 0 w 9996"/>
              <a:gd name="connsiteY0" fmla="*/ 1 h 10000"/>
              <a:gd name="connsiteX1" fmla="*/ 889 w 9996"/>
              <a:gd name="connsiteY1" fmla="*/ 0 h 10000"/>
              <a:gd name="connsiteX2" fmla="*/ 958 w 9996"/>
              <a:gd name="connsiteY2" fmla="*/ 586 h 10000"/>
              <a:gd name="connsiteX3" fmla="*/ 958 w 9996"/>
              <a:gd name="connsiteY3" fmla="*/ 9414 h 10000"/>
              <a:gd name="connsiteX4" fmla="*/ 1030 w 9996"/>
              <a:gd name="connsiteY4" fmla="*/ 10000 h 10000"/>
              <a:gd name="connsiteX5" fmla="*/ 4779 w 9996"/>
              <a:gd name="connsiteY5" fmla="*/ 10000 h 10000"/>
              <a:gd name="connsiteX6" fmla="*/ 4850 w 9996"/>
              <a:gd name="connsiteY6" fmla="*/ 9414 h 10000"/>
              <a:gd name="connsiteX7" fmla="*/ 4850 w 9996"/>
              <a:gd name="connsiteY7" fmla="*/ 4311 h 10000"/>
              <a:gd name="connsiteX8" fmla="*/ 4921 w 9996"/>
              <a:gd name="connsiteY8" fmla="*/ 3723 h 10000"/>
              <a:gd name="connsiteX9" fmla="*/ 8893 w 9996"/>
              <a:gd name="connsiteY9" fmla="*/ 3723 h 10000"/>
              <a:gd name="connsiteX10" fmla="*/ 8963 w 9996"/>
              <a:gd name="connsiteY10" fmla="*/ 4311 h 10000"/>
              <a:gd name="connsiteX11" fmla="*/ 8963 w 9996"/>
              <a:gd name="connsiteY11" fmla="*/ 6297 h 10000"/>
              <a:gd name="connsiteX12" fmla="*/ 9022 w 9996"/>
              <a:gd name="connsiteY12" fmla="*/ 6971 h 10000"/>
              <a:gd name="connsiteX13" fmla="*/ 9996 w 9996"/>
              <a:gd name="connsiteY13" fmla="*/ 6978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9996" h="10000">
                <a:moveTo>
                  <a:pt x="0" y="1"/>
                </a:moveTo>
                <a:lnTo>
                  <a:pt x="889" y="0"/>
                </a:lnTo>
                <a:cubicBezTo>
                  <a:pt x="924" y="0"/>
                  <a:pt x="958" y="272"/>
                  <a:pt x="958" y="586"/>
                </a:cubicBezTo>
                <a:lnTo>
                  <a:pt x="958" y="9414"/>
                </a:lnTo>
                <a:cubicBezTo>
                  <a:pt x="958" y="9750"/>
                  <a:pt x="989" y="10000"/>
                  <a:pt x="1030" y="10000"/>
                </a:cubicBezTo>
                <a:lnTo>
                  <a:pt x="4779" y="10000"/>
                </a:lnTo>
                <a:cubicBezTo>
                  <a:pt x="4818" y="10000"/>
                  <a:pt x="4850" y="9750"/>
                  <a:pt x="4850" y="9414"/>
                </a:cubicBezTo>
                <a:lnTo>
                  <a:pt x="4850" y="4311"/>
                </a:lnTo>
                <a:cubicBezTo>
                  <a:pt x="4850" y="3996"/>
                  <a:pt x="4883" y="3723"/>
                  <a:pt x="4921" y="3723"/>
                </a:cubicBezTo>
                <a:lnTo>
                  <a:pt x="8893" y="3723"/>
                </a:lnTo>
                <a:cubicBezTo>
                  <a:pt x="8932" y="3723"/>
                  <a:pt x="8963" y="3996"/>
                  <a:pt x="8963" y="4311"/>
                </a:cubicBezTo>
                <a:lnTo>
                  <a:pt x="8963" y="6297"/>
                </a:lnTo>
                <a:cubicBezTo>
                  <a:pt x="8963" y="6633"/>
                  <a:pt x="8986" y="6971"/>
                  <a:pt x="9022" y="6971"/>
                </a:cubicBezTo>
                <a:cubicBezTo>
                  <a:pt x="9669" y="6959"/>
                  <a:pt x="9686" y="6968"/>
                  <a:pt x="9996" y="6978"/>
                </a:cubicBezTo>
              </a:path>
            </a:pathLst>
          </a:custGeom>
          <a:noFill/>
          <a:ln w="12700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endParaRPr lang="en-US" sz="1800">
              <a:solidFill>
                <a:prstClr val="black"/>
              </a:solidFill>
              <a:latin typeface="Arial"/>
            </a:endParaRPr>
          </a:p>
        </p:txBody>
      </p:sp>
      <p:sp>
        <p:nvSpPr>
          <p:cNvPr id="13" name="Freeform 11"/>
          <p:cNvSpPr>
            <a:spLocks/>
          </p:cNvSpPr>
          <p:nvPr userDrawn="1"/>
        </p:nvSpPr>
        <p:spPr bwMode="gray">
          <a:xfrm>
            <a:off x="-4979" y="4336985"/>
            <a:ext cx="9147342" cy="1757619"/>
          </a:xfrm>
          <a:custGeom>
            <a:avLst/>
            <a:gdLst>
              <a:gd name="T0" fmla="*/ 0 w 8479"/>
              <a:gd name="T1" fmla="*/ 772 h 894"/>
              <a:gd name="T2" fmla="*/ 1132 w 8479"/>
              <a:gd name="T3" fmla="*/ 772 h 894"/>
              <a:gd name="T4" fmla="*/ 1160 w 8479"/>
              <a:gd name="T5" fmla="*/ 744 h 894"/>
              <a:gd name="T6" fmla="*/ 1160 w 8479"/>
              <a:gd name="T7" fmla="*/ 263 h 894"/>
              <a:gd name="T8" fmla="*/ 1188 w 8479"/>
              <a:gd name="T9" fmla="*/ 235 h 894"/>
              <a:gd name="T10" fmla="*/ 2202 w 8479"/>
              <a:gd name="T11" fmla="*/ 235 h 894"/>
              <a:gd name="T12" fmla="*/ 2230 w 8479"/>
              <a:gd name="T13" fmla="*/ 263 h 894"/>
              <a:gd name="T14" fmla="*/ 2230 w 8479"/>
              <a:gd name="T15" fmla="*/ 745 h 894"/>
              <a:gd name="T16" fmla="*/ 2258 w 8479"/>
              <a:gd name="T17" fmla="*/ 773 h 894"/>
              <a:gd name="T18" fmla="*/ 3688 w 8479"/>
              <a:gd name="T19" fmla="*/ 773 h 894"/>
              <a:gd name="T20" fmla="*/ 3716 w 8479"/>
              <a:gd name="T21" fmla="*/ 745 h 894"/>
              <a:gd name="T22" fmla="*/ 3716 w 8479"/>
              <a:gd name="T23" fmla="*/ 28 h 894"/>
              <a:gd name="T24" fmla="*/ 3744 w 8479"/>
              <a:gd name="T25" fmla="*/ 0 h 894"/>
              <a:gd name="T26" fmla="*/ 5033 w 8479"/>
              <a:gd name="T27" fmla="*/ 0 h 894"/>
              <a:gd name="T28" fmla="*/ 5061 w 8479"/>
              <a:gd name="T29" fmla="*/ 28 h 894"/>
              <a:gd name="T30" fmla="*/ 5061 w 8479"/>
              <a:gd name="T31" fmla="*/ 516 h 894"/>
              <a:gd name="T32" fmla="*/ 5089 w 8479"/>
              <a:gd name="T33" fmla="*/ 544 h 894"/>
              <a:gd name="T34" fmla="*/ 5446 w 8479"/>
              <a:gd name="T35" fmla="*/ 544 h 894"/>
              <a:gd name="T36" fmla="*/ 5474 w 8479"/>
              <a:gd name="T37" fmla="*/ 516 h 894"/>
              <a:gd name="T38" fmla="*/ 5474 w 8479"/>
              <a:gd name="T39" fmla="*/ 205 h 894"/>
              <a:gd name="T40" fmla="*/ 5502 w 8479"/>
              <a:gd name="T41" fmla="*/ 177 h 894"/>
              <a:gd name="T42" fmla="*/ 6295 w 8479"/>
              <a:gd name="T43" fmla="*/ 177 h 894"/>
              <a:gd name="T44" fmla="*/ 6323 w 8479"/>
              <a:gd name="T45" fmla="*/ 205 h 894"/>
              <a:gd name="T46" fmla="*/ 6323 w 8479"/>
              <a:gd name="T47" fmla="*/ 866 h 894"/>
              <a:gd name="T48" fmla="*/ 6351 w 8479"/>
              <a:gd name="T49" fmla="*/ 894 h 894"/>
              <a:gd name="T50" fmla="*/ 7237 w 8479"/>
              <a:gd name="T51" fmla="*/ 894 h 894"/>
              <a:gd name="T52" fmla="*/ 7265 w 8479"/>
              <a:gd name="T53" fmla="*/ 866 h 894"/>
              <a:gd name="T54" fmla="*/ 7265 w 8479"/>
              <a:gd name="T55" fmla="*/ 563 h 894"/>
              <a:gd name="T56" fmla="*/ 7293 w 8479"/>
              <a:gd name="T57" fmla="*/ 535 h 894"/>
              <a:gd name="T58" fmla="*/ 8479 w 8479"/>
              <a:gd name="T59" fmla="*/ 535 h 894"/>
              <a:gd name="connsiteX0" fmla="*/ 0 w 8665"/>
              <a:gd name="connsiteY0" fmla="*/ 8635 h 10000"/>
              <a:gd name="connsiteX1" fmla="*/ 33 w 8665"/>
              <a:gd name="connsiteY1" fmla="*/ 8322 h 10000"/>
              <a:gd name="connsiteX2" fmla="*/ 33 w 8665"/>
              <a:gd name="connsiteY2" fmla="*/ 2942 h 10000"/>
              <a:gd name="connsiteX3" fmla="*/ 66 w 8665"/>
              <a:gd name="connsiteY3" fmla="*/ 2629 h 10000"/>
              <a:gd name="connsiteX4" fmla="*/ 1262 w 8665"/>
              <a:gd name="connsiteY4" fmla="*/ 2629 h 10000"/>
              <a:gd name="connsiteX5" fmla="*/ 1295 w 8665"/>
              <a:gd name="connsiteY5" fmla="*/ 2942 h 10000"/>
              <a:gd name="connsiteX6" fmla="*/ 1295 w 8665"/>
              <a:gd name="connsiteY6" fmla="*/ 8333 h 10000"/>
              <a:gd name="connsiteX7" fmla="*/ 1328 w 8665"/>
              <a:gd name="connsiteY7" fmla="*/ 8647 h 10000"/>
              <a:gd name="connsiteX8" fmla="*/ 3015 w 8665"/>
              <a:gd name="connsiteY8" fmla="*/ 8647 h 10000"/>
              <a:gd name="connsiteX9" fmla="*/ 3048 w 8665"/>
              <a:gd name="connsiteY9" fmla="*/ 8333 h 10000"/>
              <a:gd name="connsiteX10" fmla="*/ 3048 w 8665"/>
              <a:gd name="connsiteY10" fmla="*/ 313 h 10000"/>
              <a:gd name="connsiteX11" fmla="*/ 3081 w 8665"/>
              <a:gd name="connsiteY11" fmla="*/ 0 h 10000"/>
              <a:gd name="connsiteX12" fmla="*/ 4601 w 8665"/>
              <a:gd name="connsiteY12" fmla="*/ 0 h 10000"/>
              <a:gd name="connsiteX13" fmla="*/ 4634 w 8665"/>
              <a:gd name="connsiteY13" fmla="*/ 313 h 10000"/>
              <a:gd name="connsiteX14" fmla="*/ 4634 w 8665"/>
              <a:gd name="connsiteY14" fmla="*/ 5772 h 10000"/>
              <a:gd name="connsiteX15" fmla="*/ 4667 w 8665"/>
              <a:gd name="connsiteY15" fmla="*/ 6085 h 10000"/>
              <a:gd name="connsiteX16" fmla="*/ 5088 w 8665"/>
              <a:gd name="connsiteY16" fmla="*/ 6085 h 10000"/>
              <a:gd name="connsiteX17" fmla="*/ 5121 w 8665"/>
              <a:gd name="connsiteY17" fmla="*/ 5772 h 10000"/>
              <a:gd name="connsiteX18" fmla="*/ 5121 w 8665"/>
              <a:gd name="connsiteY18" fmla="*/ 2293 h 10000"/>
              <a:gd name="connsiteX19" fmla="*/ 5154 w 8665"/>
              <a:gd name="connsiteY19" fmla="*/ 1980 h 10000"/>
              <a:gd name="connsiteX20" fmla="*/ 6089 w 8665"/>
              <a:gd name="connsiteY20" fmla="*/ 1980 h 10000"/>
              <a:gd name="connsiteX21" fmla="*/ 6122 w 8665"/>
              <a:gd name="connsiteY21" fmla="*/ 2293 h 10000"/>
              <a:gd name="connsiteX22" fmla="*/ 6122 w 8665"/>
              <a:gd name="connsiteY22" fmla="*/ 9687 h 10000"/>
              <a:gd name="connsiteX23" fmla="*/ 6155 w 8665"/>
              <a:gd name="connsiteY23" fmla="*/ 10000 h 10000"/>
              <a:gd name="connsiteX24" fmla="*/ 7200 w 8665"/>
              <a:gd name="connsiteY24" fmla="*/ 10000 h 10000"/>
              <a:gd name="connsiteX25" fmla="*/ 7233 w 8665"/>
              <a:gd name="connsiteY25" fmla="*/ 9687 h 10000"/>
              <a:gd name="connsiteX26" fmla="*/ 7233 w 8665"/>
              <a:gd name="connsiteY26" fmla="*/ 6298 h 10000"/>
              <a:gd name="connsiteX27" fmla="*/ 7266 w 8665"/>
              <a:gd name="connsiteY27" fmla="*/ 5984 h 10000"/>
              <a:gd name="connsiteX28" fmla="*/ 8665 w 8665"/>
              <a:gd name="connsiteY28" fmla="*/ 5984 h 10000"/>
              <a:gd name="connsiteX0" fmla="*/ 0 w 9962"/>
              <a:gd name="connsiteY0" fmla="*/ 8322 h 10000"/>
              <a:gd name="connsiteX1" fmla="*/ 0 w 9962"/>
              <a:gd name="connsiteY1" fmla="*/ 2942 h 10000"/>
              <a:gd name="connsiteX2" fmla="*/ 38 w 9962"/>
              <a:gd name="connsiteY2" fmla="*/ 2629 h 10000"/>
              <a:gd name="connsiteX3" fmla="*/ 1418 w 9962"/>
              <a:gd name="connsiteY3" fmla="*/ 2629 h 10000"/>
              <a:gd name="connsiteX4" fmla="*/ 1457 w 9962"/>
              <a:gd name="connsiteY4" fmla="*/ 2942 h 10000"/>
              <a:gd name="connsiteX5" fmla="*/ 1457 w 9962"/>
              <a:gd name="connsiteY5" fmla="*/ 8333 h 10000"/>
              <a:gd name="connsiteX6" fmla="*/ 1495 w 9962"/>
              <a:gd name="connsiteY6" fmla="*/ 8647 h 10000"/>
              <a:gd name="connsiteX7" fmla="*/ 3442 w 9962"/>
              <a:gd name="connsiteY7" fmla="*/ 8647 h 10000"/>
              <a:gd name="connsiteX8" fmla="*/ 3480 w 9962"/>
              <a:gd name="connsiteY8" fmla="*/ 8333 h 10000"/>
              <a:gd name="connsiteX9" fmla="*/ 3480 w 9962"/>
              <a:gd name="connsiteY9" fmla="*/ 313 h 10000"/>
              <a:gd name="connsiteX10" fmla="*/ 3518 w 9962"/>
              <a:gd name="connsiteY10" fmla="*/ 0 h 10000"/>
              <a:gd name="connsiteX11" fmla="*/ 5272 w 9962"/>
              <a:gd name="connsiteY11" fmla="*/ 0 h 10000"/>
              <a:gd name="connsiteX12" fmla="*/ 5310 w 9962"/>
              <a:gd name="connsiteY12" fmla="*/ 313 h 10000"/>
              <a:gd name="connsiteX13" fmla="*/ 5310 w 9962"/>
              <a:gd name="connsiteY13" fmla="*/ 5772 h 10000"/>
              <a:gd name="connsiteX14" fmla="*/ 5348 w 9962"/>
              <a:gd name="connsiteY14" fmla="*/ 6085 h 10000"/>
              <a:gd name="connsiteX15" fmla="*/ 5834 w 9962"/>
              <a:gd name="connsiteY15" fmla="*/ 6085 h 10000"/>
              <a:gd name="connsiteX16" fmla="*/ 5872 w 9962"/>
              <a:gd name="connsiteY16" fmla="*/ 5772 h 10000"/>
              <a:gd name="connsiteX17" fmla="*/ 5872 w 9962"/>
              <a:gd name="connsiteY17" fmla="*/ 2293 h 10000"/>
              <a:gd name="connsiteX18" fmla="*/ 5910 w 9962"/>
              <a:gd name="connsiteY18" fmla="*/ 1980 h 10000"/>
              <a:gd name="connsiteX19" fmla="*/ 6989 w 9962"/>
              <a:gd name="connsiteY19" fmla="*/ 1980 h 10000"/>
              <a:gd name="connsiteX20" fmla="*/ 7027 w 9962"/>
              <a:gd name="connsiteY20" fmla="*/ 2293 h 10000"/>
              <a:gd name="connsiteX21" fmla="*/ 7027 w 9962"/>
              <a:gd name="connsiteY21" fmla="*/ 9687 h 10000"/>
              <a:gd name="connsiteX22" fmla="*/ 7065 w 9962"/>
              <a:gd name="connsiteY22" fmla="*/ 10000 h 10000"/>
              <a:gd name="connsiteX23" fmla="*/ 8271 w 9962"/>
              <a:gd name="connsiteY23" fmla="*/ 10000 h 10000"/>
              <a:gd name="connsiteX24" fmla="*/ 8309 w 9962"/>
              <a:gd name="connsiteY24" fmla="*/ 9687 h 10000"/>
              <a:gd name="connsiteX25" fmla="*/ 8309 w 9962"/>
              <a:gd name="connsiteY25" fmla="*/ 6298 h 10000"/>
              <a:gd name="connsiteX26" fmla="*/ 8347 w 9962"/>
              <a:gd name="connsiteY26" fmla="*/ 5984 h 10000"/>
              <a:gd name="connsiteX27" fmla="*/ 9962 w 9962"/>
              <a:gd name="connsiteY27" fmla="*/ 5984 h 10000"/>
              <a:gd name="connsiteX0" fmla="*/ 0 w 10000"/>
              <a:gd name="connsiteY0" fmla="*/ 2942 h 10000"/>
              <a:gd name="connsiteX1" fmla="*/ 38 w 10000"/>
              <a:gd name="connsiteY1" fmla="*/ 2629 h 10000"/>
              <a:gd name="connsiteX2" fmla="*/ 1423 w 10000"/>
              <a:gd name="connsiteY2" fmla="*/ 2629 h 10000"/>
              <a:gd name="connsiteX3" fmla="*/ 1463 w 10000"/>
              <a:gd name="connsiteY3" fmla="*/ 2942 h 10000"/>
              <a:gd name="connsiteX4" fmla="*/ 1463 w 10000"/>
              <a:gd name="connsiteY4" fmla="*/ 8333 h 10000"/>
              <a:gd name="connsiteX5" fmla="*/ 1501 w 10000"/>
              <a:gd name="connsiteY5" fmla="*/ 8647 h 10000"/>
              <a:gd name="connsiteX6" fmla="*/ 3455 w 10000"/>
              <a:gd name="connsiteY6" fmla="*/ 8647 h 10000"/>
              <a:gd name="connsiteX7" fmla="*/ 3493 w 10000"/>
              <a:gd name="connsiteY7" fmla="*/ 8333 h 10000"/>
              <a:gd name="connsiteX8" fmla="*/ 3493 w 10000"/>
              <a:gd name="connsiteY8" fmla="*/ 313 h 10000"/>
              <a:gd name="connsiteX9" fmla="*/ 3531 w 10000"/>
              <a:gd name="connsiteY9" fmla="*/ 0 h 10000"/>
              <a:gd name="connsiteX10" fmla="*/ 5292 w 10000"/>
              <a:gd name="connsiteY10" fmla="*/ 0 h 10000"/>
              <a:gd name="connsiteX11" fmla="*/ 5330 w 10000"/>
              <a:gd name="connsiteY11" fmla="*/ 313 h 10000"/>
              <a:gd name="connsiteX12" fmla="*/ 5330 w 10000"/>
              <a:gd name="connsiteY12" fmla="*/ 5772 h 10000"/>
              <a:gd name="connsiteX13" fmla="*/ 5368 w 10000"/>
              <a:gd name="connsiteY13" fmla="*/ 6085 h 10000"/>
              <a:gd name="connsiteX14" fmla="*/ 5856 w 10000"/>
              <a:gd name="connsiteY14" fmla="*/ 6085 h 10000"/>
              <a:gd name="connsiteX15" fmla="*/ 5894 w 10000"/>
              <a:gd name="connsiteY15" fmla="*/ 5772 h 10000"/>
              <a:gd name="connsiteX16" fmla="*/ 5894 w 10000"/>
              <a:gd name="connsiteY16" fmla="*/ 2293 h 10000"/>
              <a:gd name="connsiteX17" fmla="*/ 5933 w 10000"/>
              <a:gd name="connsiteY17" fmla="*/ 1980 h 10000"/>
              <a:gd name="connsiteX18" fmla="*/ 7016 w 10000"/>
              <a:gd name="connsiteY18" fmla="*/ 1980 h 10000"/>
              <a:gd name="connsiteX19" fmla="*/ 7054 w 10000"/>
              <a:gd name="connsiteY19" fmla="*/ 2293 h 10000"/>
              <a:gd name="connsiteX20" fmla="*/ 7054 w 10000"/>
              <a:gd name="connsiteY20" fmla="*/ 9687 h 10000"/>
              <a:gd name="connsiteX21" fmla="*/ 7092 w 10000"/>
              <a:gd name="connsiteY21" fmla="*/ 10000 h 10000"/>
              <a:gd name="connsiteX22" fmla="*/ 8303 w 10000"/>
              <a:gd name="connsiteY22" fmla="*/ 10000 h 10000"/>
              <a:gd name="connsiteX23" fmla="*/ 8341 w 10000"/>
              <a:gd name="connsiteY23" fmla="*/ 9687 h 10000"/>
              <a:gd name="connsiteX24" fmla="*/ 8341 w 10000"/>
              <a:gd name="connsiteY24" fmla="*/ 6298 h 10000"/>
              <a:gd name="connsiteX25" fmla="*/ 8379 w 10000"/>
              <a:gd name="connsiteY25" fmla="*/ 5984 h 10000"/>
              <a:gd name="connsiteX26" fmla="*/ 10000 w 10000"/>
              <a:gd name="connsiteY26" fmla="*/ 5984 h 10000"/>
              <a:gd name="connsiteX0" fmla="*/ 0 w 9962"/>
              <a:gd name="connsiteY0" fmla="*/ 2629 h 10000"/>
              <a:gd name="connsiteX1" fmla="*/ 1385 w 9962"/>
              <a:gd name="connsiteY1" fmla="*/ 2629 h 10000"/>
              <a:gd name="connsiteX2" fmla="*/ 1425 w 9962"/>
              <a:gd name="connsiteY2" fmla="*/ 2942 h 10000"/>
              <a:gd name="connsiteX3" fmla="*/ 1425 w 9962"/>
              <a:gd name="connsiteY3" fmla="*/ 8333 h 10000"/>
              <a:gd name="connsiteX4" fmla="*/ 1463 w 9962"/>
              <a:gd name="connsiteY4" fmla="*/ 8647 h 10000"/>
              <a:gd name="connsiteX5" fmla="*/ 3417 w 9962"/>
              <a:gd name="connsiteY5" fmla="*/ 8647 h 10000"/>
              <a:gd name="connsiteX6" fmla="*/ 3455 w 9962"/>
              <a:gd name="connsiteY6" fmla="*/ 8333 h 10000"/>
              <a:gd name="connsiteX7" fmla="*/ 3455 w 9962"/>
              <a:gd name="connsiteY7" fmla="*/ 313 h 10000"/>
              <a:gd name="connsiteX8" fmla="*/ 3493 w 9962"/>
              <a:gd name="connsiteY8" fmla="*/ 0 h 10000"/>
              <a:gd name="connsiteX9" fmla="*/ 5254 w 9962"/>
              <a:gd name="connsiteY9" fmla="*/ 0 h 10000"/>
              <a:gd name="connsiteX10" fmla="*/ 5292 w 9962"/>
              <a:gd name="connsiteY10" fmla="*/ 313 h 10000"/>
              <a:gd name="connsiteX11" fmla="*/ 5292 w 9962"/>
              <a:gd name="connsiteY11" fmla="*/ 5772 h 10000"/>
              <a:gd name="connsiteX12" fmla="*/ 5330 w 9962"/>
              <a:gd name="connsiteY12" fmla="*/ 6085 h 10000"/>
              <a:gd name="connsiteX13" fmla="*/ 5818 w 9962"/>
              <a:gd name="connsiteY13" fmla="*/ 6085 h 10000"/>
              <a:gd name="connsiteX14" fmla="*/ 5856 w 9962"/>
              <a:gd name="connsiteY14" fmla="*/ 5772 h 10000"/>
              <a:gd name="connsiteX15" fmla="*/ 5856 w 9962"/>
              <a:gd name="connsiteY15" fmla="*/ 2293 h 10000"/>
              <a:gd name="connsiteX16" fmla="*/ 5895 w 9962"/>
              <a:gd name="connsiteY16" fmla="*/ 1980 h 10000"/>
              <a:gd name="connsiteX17" fmla="*/ 6978 w 9962"/>
              <a:gd name="connsiteY17" fmla="*/ 1980 h 10000"/>
              <a:gd name="connsiteX18" fmla="*/ 7016 w 9962"/>
              <a:gd name="connsiteY18" fmla="*/ 2293 h 10000"/>
              <a:gd name="connsiteX19" fmla="*/ 7016 w 9962"/>
              <a:gd name="connsiteY19" fmla="*/ 9687 h 10000"/>
              <a:gd name="connsiteX20" fmla="*/ 7054 w 9962"/>
              <a:gd name="connsiteY20" fmla="*/ 10000 h 10000"/>
              <a:gd name="connsiteX21" fmla="*/ 8265 w 9962"/>
              <a:gd name="connsiteY21" fmla="*/ 10000 h 10000"/>
              <a:gd name="connsiteX22" fmla="*/ 8303 w 9962"/>
              <a:gd name="connsiteY22" fmla="*/ 9687 h 10000"/>
              <a:gd name="connsiteX23" fmla="*/ 8303 w 9962"/>
              <a:gd name="connsiteY23" fmla="*/ 6298 h 10000"/>
              <a:gd name="connsiteX24" fmla="*/ 8341 w 9962"/>
              <a:gd name="connsiteY24" fmla="*/ 5984 h 10000"/>
              <a:gd name="connsiteX25" fmla="*/ 9962 w 9962"/>
              <a:gd name="connsiteY25" fmla="*/ 5984 h 10000"/>
              <a:gd name="connsiteX0" fmla="*/ 0 w 8610"/>
              <a:gd name="connsiteY0" fmla="*/ 2629 h 10000"/>
              <a:gd name="connsiteX1" fmla="*/ 40 w 8610"/>
              <a:gd name="connsiteY1" fmla="*/ 2942 h 10000"/>
              <a:gd name="connsiteX2" fmla="*/ 40 w 8610"/>
              <a:gd name="connsiteY2" fmla="*/ 8333 h 10000"/>
              <a:gd name="connsiteX3" fmla="*/ 79 w 8610"/>
              <a:gd name="connsiteY3" fmla="*/ 8647 h 10000"/>
              <a:gd name="connsiteX4" fmla="*/ 2040 w 8610"/>
              <a:gd name="connsiteY4" fmla="*/ 8647 h 10000"/>
              <a:gd name="connsiteX5" fmla="*/ 2078 w 8610"/>
              <a:gd name="connsiteY5" fmla="*/ 8333 h 10000"/>
              <a:gd name="connsiteX6" fmla="*/ 2078 w 8610"/>
              <a:gd name="connsiteY6" fmla="*/ 313 h 10000"/>
              <a:gd name="connsiteX7" fmla="*/ 2116 w 8610"/>
              <a:gd name="connsiteY7" fmla="*/ 0 h 10000"/>
              <a:gd name="connsiteX8" fmla="*/ 3884 w 8610"/>
              <a:gd name="connsiteY8" fmla="*/ 0 h 10000"/>
              <a:gd name="connsiteX9" fmla="*/ 3922 w 8610"/>
              <a:gd name="connsiteY9" fmla="*/ 313 h 10000"/>
              <a:gd name="connsiteX10" fmla="*/ 3922 w 8610"/>
              <a:gd name="connsiteY10" fmla="*/ 5772 h 10000"/>
              <a:gd name="connsiteX11" fmla="*/ 3960 w 8610"/>
              <a:gd name="connsiteY11" fmla="*/ 6085 h 10000"/>
              <a:gd name="connsiteX12" fmla="*/ 4450 w 8610"/>
              <a:gd name="connsiteY12" fmla="*/ 6085 h 10000"/>
              <a:gd name="connsiteX13" fmla="*/ 4488 w 8610"/>
              <a:gd name="connsiteY13" fmla="*/ 5772 h 10000"/>
              <a:gd name="connsiteX14" fmla="*/ 4488 w 8610"/>
              <a:gd name="connsiteY14" fmla="*/ 2293 h 10000"/>
              <a:gd name="connsiteX15" fmla="*/ 4527 w 8610"/>
              <a:gd name="connsiteY15" fmla="*/ 1980 h 10000"/>
              <a:gd name="connsiteX16" fmla="*/ 5615 w 8610"/>
              <a:gd name="connsiteY16" fmla="*/ 1980 h 10000"/>
              <a:gd name="connsiteX17" fmla="*/ 5653 w 8610"/>
              <a:gd name="connsiteY17" fmla="*/ 2293 h 10000"/>
              <a:gd name="connsiteX18" fmla="*/ 5653 w 8610"/>
              <a:gd name="connsiteY18" fmla="*/ 9687 h 10000"/>
              <a:gd name="connsiteX19" fmla="*/ 5691 w 8610"/>
              <a:gd name="connsiteY19" fmla="*/ 10000 h 10000"/>
              <a:gd name="connsiteX20" fmla="*/ 6907 w 8610"/>
              <a:gd name="connsiteY20" fmla="*/ 10000 h 10000"/>
              <a:gd name="connsiteX21" fmla="*/ 6945 w 8610"/>
              <a:gd name="connsiteY21" fmla="*/ 9687 h 10000"/>
              <a:gd name="connsiteX22" fmla="*/ 6945 w 8610"/>
              <a:gd name="connsiteY22" fmla="*/ 6298 h 10000"/>
              <a:gd name="connsiteX23" fmla="*/ 6983 w 8610"/>
              <a:gd name="connsiteY23" fmla="*/ 5984 h 10000"/>
              <a:gd name="connsiteX24" fmla="*/ 8610 w 8610"/>
              <a:gd name="connsiteY24" fmla="*/ 5984 h 10000"/>
              <a:gd name="connsiteX0" fmla="*/ 0 w 9954"/>
              <a:gd name="connsiteY0" fmla="*/ 2942 h 10000"/>
              <a:gd name="connsiteX1" fmla="*/ 0 w 9954"/>
              <a:gd name="connsiteY1" fmla="*/ 8333 h 10000"/>
              <a:gd name="connsiteX2" fmla="*/ 46 w 9954"/>
              <a:gd name="connsiteY2" fmla="*/ 8647 h 10000"/>
              <a:gd name="connsiteX3" fmla="*/ 2323 w 9954"/>
              <a:gd name="connsiteY3" fmla="*/ 8647 h 10000"/>
              <a:gd name="connsiteX4" fmla="*/ 2367 w 9954"/>
              <a:gd name="connsiteY4" fmla="*/ 8333 h 10000"/>
              <a:gd name="connsiteX5" fmla="*/ 2367 w 9954"/>
              <a:gd name="connsiteY5" fmla="*/ 313 h 10000"/>
              <a:gd name="connsiteX6" fmla="*/ 2412 w 9954"/>
              <a:gd name="connsiteY6" fmla="*/ 0 h 10000"/>
              <a:gd name="connsiteX7" fmla="*/ 4465 w 9954"/>
              <a:gd name="connsiteY7" fmla="*/ 0 h 10000"/>
              <a:gd name="connsiteX8" fmla="*/ 4509 w 9954"/>
              <a:gd name="connsiteY8" fmla="*/ 313 h 10000"/>
              <a:gd name="connsiteX9" fmla="*/ 4509 w 9954"/>
              <a:gd name="connsiteY9" fmla="*/ 5772 h 10000"/>
              <a:gd name="connsiteX10" fmla="*/ 4553 w 9954"/>
              <a:gd name="connsiteY10" fmla="*/ 6085 h 10000"/>
              <a:gd name="connsiteX11" fmla="*/ 5122 w 9954"/>
              <a:gd name="connsiteY11" fmla="*/ 6085 h 10000"/>
              <a:gd name="connsiteX12" fmla="*/ 5167 w 9954"/>
              <a:gd name="connsiteY12" fmla="*/ 5772 h 10000"/>
              <a:gd name="connsiteX13" fmla="*/ 5167 w 9954"/>
              <a:gd name="connsiteY13" fmla="*/ 2293 h 10000"/>
              <a:gd name="connsiteX14" fmla="*/ 5212 w 9954"/>
              <a:gd name="connsiteY14" fmla="*/ 1980 h 10000"/>
              <a:gd name="connsiteX15" fmla="*/ 6475 w 9954"/>
              <a:gd name="connsiteY15" fmla="*/ 1980 h 10000"/>
              <a:gd name="connsiteX16" fmla="*/ 6520 w 9954"/>
              <a:gd name="connsiteY16" fmla="*/ 2293 h 10000"/>
              <a:gd name="connsiteX17" fmla="*/ 6520 w 9954"/>
              <a:gd name="connsiteY17" fmla="*/ 9687 h 10000"/>
              <a:gd name="connsiteX18" fmla="*/ 6564 w 9954"/>
              <a:gd name="connsiteY18" fmla="*/ 10000 h 10000"/>
              <a:gd name="connsiteX19" fmla="*/ 7976 w 9954"/>
              <a:gd name="connsiteY19" fmla="*/ 10000 h 10000"/>
              <a:gd name="connsiteX20" fmla="*/ 8020 w 9954"/>
              <a:gd name="connsiteY20" fmla="*/ 9687 h 10000"/>
              <a:gd name="connsiteX21" fmla="*/ 8020 w 9954"/>
              <a:gd name="connsiteY21" fmla="*/ 6298 h 10000"/>
              <a:gd name="connsiteX22" fmla="*/ 8064 w 9954"/>
              <a:gd name="connsiteY22" fmla="*/ 5984 h 10000"/>
              <a:gd name="connsiteX23" fmla="*/ 9954 w 9954"/>
              <a:gd name="connsiteY23" fmla="*/ 5984 h 10000"/>
              <a:gd name="connsiteX0" fmla="*/ 0 w 10000"/>
              <a:gd name="connsiteY0" fmla="*/ 8333 h 10000"/>
              <a:gd name="connsiteX1" fmla="*/ 46 w 10000"/>
              <a:gd name="connsiteY1" fmla="*/ 8647 h 10000"/>
              <a:gd name="connsiteX2" fmla="*/ 2334 w 10000"/>
              <a:gd name="connsiteY2" fmla="*/ 8647 h 10000"/>
              <a:gd name="connsiteX3" fmla="*/ 2378 w 10000"/>
              <a:gd name="connsiteY3" fmla="*/ 8333 h 10000"/>
              <a:gd name="connsiteX4" fmla="*/ 2378 w 10000"/>
              <a:gd name="connsiteY4" fmla="*/ 313 h 10000"/>
              <a:gd name="connsiteX5" fmla="*/ 2423 w 10000"/>
              <a:gd name="connsiteY5" fmla="*/ 0 h 10000"/>
              <a:gd name="connsiteX6" fmla="*/ 4486 w 10000"/>
              <a:gd name="connsiteY6" fmla="*/ 0 h 10000"/>
              <a:gd name="connsiteX7" fmla="*/ 4530 w 10000"/>
              <a:gd name="connsiteY7" fmla="*/ 313 h 10000"/>
              <a:gd name="connsiteX8" fmla="*/ 4530 w 10000"/>
              <a:gd name="connsiteY8" fmla="*/ 5772 h 10000"/>
              <a:gd name="connsiteX9" fmla="*/ 4574 w 10000"/>
              <a:gd name="connsiteY9" fmla="*/ 6085 h 10000"/>
              <a:gd name="connsiteX10" fmla="*/ 5146 w 10000"/>
              <a:gd name="connsiteY10" fmla="*/ 6085 h 10000"/>
              <a:gd name="connsiteX11" fmla="*/ 5191 w 10000"/>
              <a:gd name="connsiteY11" fmla="*/ 5772 h 10000"/>
              <a:gd name="connsiteX12" fmla="*/ 5191 w 10000"/>
              <a:gd name="connsiteY12" fmla="*/ 2293 h 10000"/>
              <a:gd name="connsiteX13" fmla="*/ 5236 w 10000"/>
              <a:gd name="connsiteY13" fmla="*/ 1980 h 10000"/>
              <a:gd name="connsiteX14" fmla="*/ 6505 w 10000"/>
              <a:gd name="connsiteY14" fmla="*/ 1980 h 10000"/>
              <a:gd name="connsiteX15" fmla="*/ 6550 w 10000"/>
              <a:gd name="connsiteY15" fmla="*/ 2293 h 10000"/>
              <a:gd name="connsiteX16" fmla="*/ 6550 w 10000"/>
              <a:gd name="connsiteY16" fmla="*/ 9687 h 10000"/>
              <a:gd name="connsiteX17" fmla="*/ 6594 w 10000"/>
              <a:gd name="connsiteY17" fmla="*/ 10000 h 10000"/>
              <a:gd name="connsiteX18" fmla="*/ 8013 w 10000"/>
              <a:gd name="connsiteY18" fmla="*/ 10000 h 10000"/>
              <a:gd name="connsiteX19" fmla="*/ 8057 w 10000"/>
              <a:gd name="connsiteY19" fmla="*/ 9687 h 10000"/>
              <a:gd name="connsiteX20" fmla="*/ 8057 w 10000"/>
              <a:gd name="connsiteY20" fmla="*/ 6298 h 10000"/>
              <a:gd name="connsiteX21" fmla="*/ 8101 w 10000"/>
              <a:gd name="connsiteY21" fmla="*/ 5984 h 10000"/>
              <a:gd name="connsiteX22" fmla="*/ 10000 w 10000"/>
              <a:gd name="connsiteY22" fmla="*/ 5984 h 10000"/>
              <a:gd name="connsiteX0" fmla="*/ 0 w 8101"/>
              <a:gd name="connsiteY0" fmla="*/ 8333 h 10000"/>
              <a:gd name="connsiteX1" fmla="*/ 46 w 8101"/>
              <a:gd name="connsiteY1" fmla="*/ 8647 h 10000"/>
              <a:gd name="connsiteX2" fmla="*/ 2334 w 8101"/>
              <a:gd name="connsiteY2" fmla="*/ 8647 h 10000"/>
              <a:gd name="connsiteX3" fmla="*/ 2378 w 8101"/>
              <a:gd name="connsiteY3" fmla="*/ 8333 h 10000"/>
              <a:gd name="connsiteX4" fmla="*/ 2378 w 8101"/>
              <a:gd name="connsiteY4" fmla="*/ 313 h 10000"/>
              <a:gd name="connsiteX5" fmla="*/ 2423 w 8101"/>
              <a:gd name="connsiteY5" fmla="*/ 0 h 10000"/>
              <a:gd name="connsiteX6" fmla="*/ 4486 w 8101"/>
              <a:gd name="connsiteY6" fmla="*/ 0 h 10000"/>
              <a:gd name="connsiteX7" fmla="*/ 4530 w 8101"/>
              <a:gd name="connsiteY7" fmla="*/ 313 h 10000"/>
              <a:gd name="connsiteX8" fmla="*/ 4530 w 8101"/>
              <a:gd name="connsiteY8" fmla="*/ 5772 h 10000"/>
              <a:gd name="connsiteX9" fmla="*/ 4574 w 8101"/>
              <a:gd name="connsiteY9" fmla="*/ 6085 h 10000"/>
              <a:gd name="connsiteX10" fmla="*/ 5146 w 8101"/>
              <a:gd name="connsiteY10" fmla="*/ 6085 h 10000"/>
              <a:gd name="connsiteX11" fmla="*/ 5191 w 8101"/>
              <a:gd name="connsiteY11" fmla="*/ 5772 h 10000"/>
              <a:gd name="connsiteX12" fmla="*/ 5191 w 8101"/>
              <a:gd name="connsiteY12" fmla="*/ 2293 h 10000"/>
              <a:gd name="connsiteX13" fmla="*/ 5236 w 8101"/>
              <a:gd name="connsiteY13" fmla="*/ 1980 h 10000"/>
              <a:gd name="connsiteX14" fmla="*/ 6505 w 8101"/>
              <a:gd name="connsiteY14" fmla="*/ 1980 h 10000"/>
              <a:gd name="connsiteX15" fmla="*/ 6550 w 8101"/>
              <a:gd name="connsiteY15" fmla="*/ 2293 h 10000"/>
              <a:gd name="connsiteX16" fmla="*/ 6550 w 8101"/>
              <a:gd name="connsiteY16" fmla="*/ 9687 h 10000"/>
              <a:gd name="connsiteX17" fmla="*/ 6594 w 8101"/>
              <a:gd name="connsiteY17" fmla="*/ 10000 h 10000"/>
              <a:gd name="connsiteX18" fmla="*/ 8013 w 8101"/>
              <a:gd name="connsiteY18" fmla="*/ 10000 h 10000"/>
              <a:gd name="connsiteX19" fmla="*/ 8057 w 8101"/>
              <a:gd name="connsiteY19" fmla="*/ 9687 h 10000"/>
              <a:gd name="connsiteX20" fmla="*/ 8057 w 8101"/>
              <a:gd name="connsiteY20" fmla="*/ 6298 h 10000"/>
              <a:gd name="connsiteX21" fmla="*/ 8101 w 8101"/>
              <a:gd name="connsiteY21" fmla="*/ 5984 h 10000"/>
              <a:gd name="connsiteX0" fmla="*/ 0 w 9946"/>
              <a:gd name="connsiteY0" fmla="*/ 8333 h 10000"/>
              <a:gd name="connsiteX1" fmla="*/ 57 w 9946"/>
              <a:gd name="connsiteY1" fmla="*/ 8647 h 10000"/>
              <a:gd name="connsiteX2" fmla="*/ 2881 w 9946"/>
              <a:gd name="connsiteY2" fmla="*/ 8647 h 10000"/>
              <a:gd name="connsiteX3" fmla="*/ 2935 w 9946"/>
              <a:gd name="connsiteY3" fmla="*/ 8333 h 10000"/>
              <a:gd name="connsiteX4" fmla="*/ 2935 w 9946"/>
              <a:gd name="connsiteY4" fmla="*/ 313 h 10000"/>
              <a:gd name="connsiteX5" fmla="*/ 2991 w 9946"/>
              <a:gd name="connsiteY5" fmla="*/ 0 h 10000"/>
              <a:gd name="connsiteX6" fmla="*/ 5538 w 9946"/>
              <a:gd name="connsiteY6" fmla="*/ 0 h 10000"/>
              <a:gd name="connsiteX7" fmla="*/ 5592 w 9946"/>
              <a:gd name="connsiteY7" fmla="*/ 313 h 10000"/>
              <a:gd name="connsiteX8" fmla="*/ 5592 w 9946"/>
              <a:gd name="connsiteY8" fmla="*/ 5772 h 10000"/>
              <a:gd name="connsiteX9" fmla="*/ 5646 w 9946"/>
              <a:gd name="connsiteY9" fmla="*/ 6085 h 10000"/>
              <a:gd name="connsiteX10" fmla="*/ 6352 w 9946"/>
              <a:gd name="connsiteY10" fmla="*/ 6085 h 10000"/>
              <a:gd name="connsiteX11" fmla="*/ 6408 w 9946"/>
              <a:gd name="connsiteY11" fmla="*/ 5772 h 10000"/>
              <a:gd name="connsiteX12" fmla="*/ 6408 w 9946"/>
              <a:gd name="connsiteY12" fmla="*/ 2293 h 10000"/>
              <a:gd name="connsiteX13" fmla="*/ 6463 w 9946"/>
              <a:gd name="connsiteY13" fmla="*/ 1980 h 10000"/>
              <a:gd name="connsiteX14" fmla="*/ 8030 w 9946"/>
              <a:gd name="connsiteY14" fmla="*/ 1980 h 10000"/>
              <a:gd name="connsiteX15" fmla="*/ 8085 w 9946"/>
              <a:gd name="connsiteY15" fmla="*/ 2293 h 10000"/>
              <a:gd name="connsiteX16" fmla="*/ 8085 w 9946"/>
              <a:gd name="connsiteY16" fmla="*/ 9687 h 10000"/>
              <a:gd name="connsiteX17" fmla="*/ 8140 w 9946"/>
              <a:gd name="connsiteY17" fmla="*/ 10000 h 10000"/>
              <a:gd name="connsiteX18" fmla="*/ 9891 w 9946"/>
              <a:gd name="connsiteY18" fmla="*/ 10000 h 10000"/>
              <a:gd name="connsiteX19" fmla="*/ 9946 w 9946"/>
              <a:gd name="connsiteY19" fmla="*/ 9687 h 10000"/>
              <a:gd name="connsiteX20" fmla="*/ 9946 w 9946"/>
              <a:gd name="connsiteY20" fmla="*/ 6298 h 10000"/>
              <a:gd name="connsiteX0" fmla="*/ 0 w 10000"/>
              <a:gd name="connsiteY0" fmla="*/ 8333 h 10000"/>
              <a:gd name="connsiteX1" fmla="*/ 57 w 10000"/>
              <a:gd name="connsiteY1" fmla="*/ 8647 h 10000"/>
              <a:gd name="connsiteX2" fmla="*/ 2897 w 10000"/>
              <a:gd name="connsiteY2" fmla="*/ 8647 h 10000"/>
              <a:gd name="connsiteX3" fmla="*/ 2951 w 10000"/>
              <a:gd name="connsiteY3" fmla="*/ 8333 h 10000"/>
              <a:gd name="connsiteX4" fmla="*/ 2951 w 10000"/>
              <a:gd name="connsiteY4" fmla="*/ 313 h 10000"/>
              <a:gd name="connsiteX5" fmla="*/ 3007 w 10000"/>
              <a:gd name="connsiteY5" fmla="*/ 0 h 10000"/>
              <a:gd name="connsiteX6" fmla="*/ 5568 w 10000"/>
              <a:gd name="connsiteY6" fmla="*/ 0 h 10000"/>
              <a:gd name="connsiteX7" fmla="*/ 5622 w 10000"/>
              <a:gd name="connsiteY7" fmla="*/ 313 h 10000"/>
              <a:gd name="connsiteX8" fmla="*/ 5622 w 10000"/>
              <a:gd name="connsiteY8" fmla="*/ 5772 h 10000"/>
              <a:gd name="connsiteX9" fmla="*/ 5677 w 10000"/>
              <a:gd name="connsiteY9" fmla="*/ 6085 h 10000"/>
              <a:gd name="connsiteX10" fmla="*/ 6386 w 10000"/>
              <a:gd name="connsiteY10" fmla="*/ 6085 h 10000"/>
              <a:gd name="connsiteX11" fmla="*/ 6443 w 10000"/>
              <a:gd name="connsiteY11" fmla="*/ 5772 h 10000"/>
              <a:gd name="connsiteX12" fmla="*/ 6443 w 10000"/>
              <a:gd name="connsiteY12" fmla="*/ 2293 h 10000"/>
              <a:gd name="connsiteX13" fmla="*/ 6498 w 10000"/>
              <a:gd name="connsiteY13" fmla="*/ 1980 h 10000"/>
              <a:gd name="connsiteX14" fmla="*/ 8074 w 10000"/>
              <a:gd name="connsiteY14" fmla="*/ 1980 h 10000"/>
              <a:gd name="connsiteX15" fmla="*/ 8129 w 10000"/>
              <a:gd name="connsiteY15" fmla="*/ 2293 h 10000"/>
              <a:gd name="connsiteX16" fmla="*/ 8129 w 10000"/>
              <a:gd name="connsiteY16" fmla="*/ 9687 h 10000"/>
              <a:gd name="connsiteX17" fmla="*/ 8184 w 10000"/>
              <a:gd name="connsiteY17" fmla="*/ 10000 h 10000"/>
              <a:gd name="connsiteX18" fmla="*/ 9945 w 10000"/>
              <a:gd name="connsiteY18" fmla="*/ 10000 h 10000"/>
              <a:gd name="connsiteX19" fmla="*/ 10000 w 10000"/>
              <a:gd name="connsiteY19" fmla="*/ 9687 h 10000"/>
              <a:gd name="connsiteX0" fmla="*/ 0 w 9945"/>
              <a:gd name="connsiteY0" fmla="*/ 8333 h 10000"/>
              <a:gd name="connsiteX1" fmla="*/ 57 w 9945"/>
              <a:gd name="connsiteY1" fmla="*/ 8647 h 10000"/>
              <a:gd name="connsiteX2" fmla="*/ 2897 w 9945"/>
              <a:gd name="connsiteY2" fmla="*/ 8647 h 10000"/>
              <a:gd name="connsiteX3" fmla="*/ 2951 w 9945"/>
              <a:gd name="connsiteY3" fmla="*/ 8333 h 10000"/>
              <a:gd name="connsiteX4" fmla="*/ 2951 w 9945"/>
              <a:gd name="connsiteY4" fmla="*/ 313 h 10000"/>
              <a:gd name="connsiteX5" fmla="*/ 3007 w 9945"/>
              <a:gd name="connsiteY5" fmla="*/ 0 h 10000"/>
              <a:gd name="connsiteX6" fmla="*/ 5568 w 9945"/>
              <a:gd name="connsiteY6" fmla="*/ 0 h 10000"/>
              <a:gd name="connsiteX7" fmla="*/ 5622 w 9945"/>
              <a:gd name="connsiteY7" fmla="*/ 313 h 10000"/>
              <a:gd name="connsiteX8" fmla="*/ 5622 w 9945"/>
              <a:gd name="connsiteY8" fmla="*/ 5772 h 10000"/>
              <a:gd name="connsiteX9" fmla="*/ 5677 w 9945"/>
              <a:gd name="connsiteY9" fmla="*/ 6085 h 10000"/>
              <a:gd name="connsiteX10" fmla="*/ 6386 w 9945"/>
              <a:gd name="connsiteY10" fmla="*/ 6085 h 10000"/>
              <a:gd name="connsiteX11" fmla="*/ 6443 w 9945"/>
              <a:gd name="connsiteY11" fmla="*/ 5772 h 10000"/>
              <a:gd name="connsiteX12" fmla="*/ 6443 w 9945"/>
              <a:gd name="connsiteY12" fmla="*/ 2293 h 10000"/>
              <a:gd name="connsiteX13" fmla="*/ 6498 w 9945"/>
              <a:gd name="connsiteY13" fmla="*/ 1980 h 10000"/>
              <a:gd name="connsiteX14" fmla="*/ 8074 w 9945"/>
              <a:gd name="connsiteY14" fmla="*/ 1980 h 10000"/>
              <a:gd name="connsiteX15" fmla="*/ 8129 w 9945"/>
              <a:gd name="connsiteY15" fmla="*/ 2293 h 10000"/>
              <a:gd name="connsiteX16" fmla="*/ 8129 w 9945"/>
              <a:gd name="connsiteY16" fmla="*/ 9687 h 10000"/>
              <a:gd name="connsiteX17" fmla="*/ 8184 w 9945"/>
              <a:gd name="connsiteY17" fmla="*/ 10000 h 10000"/>
              <a:gd name="connsiteX18" fmla="*/ 9945 w 9945"/>
              <a:gd name="connsiteY18" fmla="*/ 10000 h 10000"/>
              <a:gd name="connsiteX0" fmla="*/ 0 w 8229"/>
              <a:gd name="connsiteY0" fmla="*/ 8333 h 10000"/>
              <a:gd name="connsiteX1" fmla="*/ 57 w 8229"/>
              <a:gd name="connsiteY1" fmla="*/ 8647 h 10000"/>
              <a:gd name="connsiteX2" fmla="*/ 2913 w 8229"/>
              <a:gd name="connsiteY2" fmla="*/ 8647 h 10000"/>
              <a:gd name="connsiteX3" fmla="*/ 2967 w 8229"/>
              <a:gd name="connsiteY3" fmla="*/ 8333 h 10000"/>
              <a:gd name="connsiteX4" fmla="*/ 2967 w 8229"/>
              <a:gd name="connsiteY4" fmla="*/ 313 h 10000"/>
              <a:gd name="connsiteX5" fmla="*/ 3024 w 8229"/>
              <a:gd name="connsiteY5" fmla="*/ 0 h 10000"/>
              <a:gd name="connsiteX6" fmla="*/ 5599 w 8229"/>
              <a:gd name="connsiteY6" fmla="*/ 0 h 10000"/>
              <a:gd name="connsiteX7" fmla="*/ 5653 w 8229"/>
              <a:gd name="connsiteY7" fmla="*/ 313 h 10000"/>
              <a:gd name="connsiteX8" fmla="*/ 5653 w 8229"/>
              <a:gd name="connsiteY8" fmla="*/ 5772 h 10000"/>
              <a:gd name="connsiteX9" fmla="*/ 5708 w 8229"/>
              <a:gd name="connsiteY9" fmla="*/ 6085 h 10000"/>
              <a:gd name="connsiteX10" fmla="*/ 6421 w 8229"/>
              <a:gd name="connsiteY10" fmla="*/ 6085 h 10000"/>
              <a:gd name="connsiteX11" fmla="*/ 6479 w 8229"/>
              <a:gd name="connsiteY11" fmla="*/ 5772 h 10000"/>
              <a:gd name="connsiteX12" fmla="*/ 6479 w 8229"/>
              <a:gd name="connsiteY12" fmla="*/ 2293 h 10000"/>
              <a:gd name="connsiteX13" fmla="*/ 6534 w 8229"/>
              <a:gd name="connsiteY13" fmla="*/ 1980 h 10000"/>
              <a:gd name="connsiteX14" fmla="*/ 8119 w 8229"/>
              <a:gd name="connsiteY14" fmla="*/ 1980 h 10000"/>
              <a:gd name="connsiteX15" fmla="*/ 8174 w 8229"/>
              <a:gd name="connsiteY15" fmla="*/ 2293 h 10000"/>
              <a:gd name="connsiteX16" fmla="*/ 8174 w 8229"/>
              <a:gd name="connsiteY16" fmla="*/ 9687 h 10000"/>
              <a:gd name="connsiteX17" fmla="*/ 8229 w 8229"/>
              <a:gd name="connsiteY17" fmla="*/ 10000 h 10000"/>
              <a:gd name="connsiteX0" fmla="*/ 0 w 9933"/>
              <a:gd name="connsiteY0" fmla="*/ 8333 h 9687"/>
              <a:gd name="connsiteX1" fmla="*/ 69 w 9933"/>
              <a:gd name="connsiteY1" fmla="*/ 8647 h 9687"/>
              <a:gd name="connsiteX2" fmla="*/ 3540 w 9933"/>
              <a:gd name="connsiteY2" fmla="*/ 8647 h 9687"/>
              <a:gd name="connsiteX3" fmla="*/ 3606 w 9933"/>
              <a:gd name="connsiteY3" fmla="*/ 8333 h 9687"/>
              <a:gd name="connsiteX4" fmla="*/ 3606 w 9933"/>
              <a:gd name="connsiteY4" fmla="*/ 313 h 9687"/>
              <a:gd name="connsiteX5" fmla="*/ 3675 w 9933"/>
              <a:gd name="connsiteY5" fmla="*/ 0 h 9687"/>
              <a:gd name="connsiteX6" fmla="*/ 6804 w 9933"/>
              <a:gd name="connsiteY6" fmla="*/ 0 h 9687"/>
              <a:gd name="connsiteX7" fmla="*/ 6870 w 9933"/>
              <a:gd name="connsiteY7" fmla="*/ 313 h 9687"/>
              <a:gd name="connsiteX8" fmla="*/ 6870 w 9933"/>
              <a:gd name="connsiteY8" fmla="*/ 5772 h 9687"/>
              <a:gd name="connsiteX9" fmla="*/ 6936 w 9933"/>
              <a:gd name="connsiteY9" fmla="*/ 6085 h 9687"/>
              <a:gd name="connsiteX10" fmla="*/ 7803 w 9933"/>
              <a:gd name="connsiteY10" fmla="*/ 6085 h 9687"/>
              <a:gd name="connsiteX11" fmla="*/ 7873 w 9933"/>
              <a:gd name="connsiteY11" fmla="*/ 5772 h 9687"/>
              <a:gd name="connsiteX12" fmla="*/ 7873 w 9933"/>
              <a:gd name="connsiteY12" fmla="*/ 2293 h 9687"/>
              <a:gd name="connsiteX13" fmla="*/ 7940 w 9933"/>
              <a:gd name="connsiteY13" fmla="*/ 1980 h 9687"/>
              <a:gd name="connsiteX14" fmla="*/ 9866 w 9933"/>
              <a:gd name="connsiteY14" fmla="*/ 1980 h 9687"/>
              <a:gd name="connsiteX15" fmla="*/ 9933 w 9933"/>
              <a:gd name="connsiteY15" fmla="*/ 2293 h 9687"/>
              <a:gd name="connsiteX16" fmla="*/ 9933 w 9933"/>
              <a:gd name="connsiteY16" fmla="*/ 9687 h 9687"/>
              <a:gd name="connsiteX0" fmla="*/ 0 w 10000"/>
              <a:gd name="connsiteY0" fmla="*/ 8602 h 8926"/>
              <a:gd name="connsiteX1" fmla="*/ 69 w 10000"/>
              <a:gd name="connsiteY1" fmla="*/ 8926 h 8926"/>
              <a:gd name="connsiteX2" fmla="*/ 3564 w 10000"/>
              <a:gd name="connsiteY2" fmla="*/ 8926 h 8926"/>
              <a:gd name="connsiteX3" fmla="*/ 3630 w 10000"/>
              <a:gd name="connsiteY3" fmla="*/ 8602 h 8926"/>
              <a:gd name="connsiteX4" fmla="*/ 3630 w 10000"/>
              <a:gd name="connsiteY4" fmla="*/ 323 h 8926"/>
              <a:gd name="connsiteX5" fmla="*/ 3700 w 10000"/>
              <a:gd name="connsiteY5" fmla="*/ 0 h 8926"/>
              <a:gd name="connsiteX6" fmla="*/ 6850 w 10000"/>
              <a:gd name="connsiteY6" fmla="*/ 0 h 8926"/>
              <a:gd name="connsiteX7" fmla="*/ 6916 w 10000"/>
              <a:gd name="connsiteY7" fmla="*/ 323 h 8926"/>
              <a:gd name="connsiteX8" fmla="*/ 6916 w 10000"/>
              <a:gd name="connsiteY8" fmla="*/ 5959 h 8926"/>
              <a:gd name="connsiteX9" fmla="*/ 6983 w 10000"/>
              <a:gd name="connsiteY9" fmla="*/ 6282 h 8926"/>
              <a:gd name="connsiteX10" fmla="*/ 7856 w 10000"/>
              <a:gd name="connsiteY10" fmla="*/ 6282 h 8926"/>
              <a:gd name="connsiteX11" fmla="*/ 7926 w 10000"/>
              <a:gd name="connsiteY11" fmla="*/ 5959 h 8926"/>
              <a:gd name="connsiteX12" fmla="*/ 7926 w 10000"/>
              <a:gd name="connsiteY12" fmla="*/ 2367 h 8926"/>
              <a:gd name="connsiteX13" fmla="*/ 7994 w 10000"/>
              <a:gd name="connsiteY13" fmla="*/ 2044 h 8926"/>
              <a:gd name="connsiteX14" fmla="*/ 9933 w 10000"/>
              <a:gd name="connsiteY14" fmla="*/ 2044 h 8926"/>
              <a:gd name="connsiteX15" fmla="*/ 10000 w 10000"/>
              <a:gd name="connsiteY15" fmla="*/ 2367 h 8926"/>
              <a:gd name="connsiteX0" fmla="*/ 0 w 10000"/>
              <a:gd name="connsiteY0" fmla="*/ 9637 h 10000"/>
              <a:gd name="connsiteX1" fmla="*/ 3564 w 10000"/>
              <a:gd name="connsiteY1" fmla="*/ 10000 h 10000"/>
              <a:gd name="connsiteX2" fmla="*/ 3630 w 10000"/>
              <a:gd name="connsiteY2" fmla="*/ 9637 h 10000"/>
              <a:gd name="connsiteX3" fmla="*/ 3630 w 10000"/>
              <a:gd name="connsiteY3" fmla="*/ 362 h 10000"/>
              <a:gd name="connsiteX4" fmla="*/ 3700 w 10000"/>
              <a:gd name="connsiteY4" fmla="*/ 0 h 10000"/>
              <a:gd name="connsiteX5" fmla="*/ 6850 w 10000"/>
              <a:gd name="connsiteY5" fmla="*/ 0 h 10000"/>
              <a:gd name="connsiteX6" fmla="*/ 6916 w 10000"/>
              <a:gd name="connsiteY6" fmla="*/ 362 h 10000"/>
              <a:gd name="connsiteX7" fmla="*/ 6916 w 10000"/>
              <a:gd name="connsiteY7" fmla="*/ 6676 h 10000"/>
              <a:gd name="connsiteX8" fmla="*/ 6983 w 10000"/>
              <a:gd name="connsiteY8" fmla="*/ 7038 h 10000"/>
              <a:gd name="connsiteX9" fmla="*/ 7856 w 10000"/>
              <a:gd name="connsiteY9" fmla="*/ 7038 h 10000"/>
              <a:gd name="connsiteX10" fmla="*/ 7926 w 10000"/>
              <a:gd name="connsiteY10" fmla="*/ 6676 h 10000"/>
              <a:gd name="connsiteX11" fmla="*/ 7926 w 10000"/>
              <a:gd name="connsiteY11" fmla="*/ 2652 h 10000"/>
              <a:gd name="connsiteX12" fmla="*/ 7994 w 10000"/>
              <a:gd name="connsiteY12" fmla="*/ 2290 h 10000"/>
              <a:gd name="connsiteX13" fmla="*/ 9933 w 10000"/>
              <a:gd name="connsiteY13" fmla="*/ 2290 h 10000"/>
              <a:gd name="connsiteX14" fmla="*/ 10000 w 10000"/>
              <a:gd name="connsiteY14" fmla="*/ 2652 h 10000"/>
              <a:gd name="connsiteX0" fmla="*/ 0 w 9777"/>
              <a:gd name="connsiteY0" fmla="*/ 10089 h 10109"/>
              <a:gd name="connsiteX1" fmla="*/ 3341 w 9777"/>
              <a:gd name="connsiteY1" fmla="*/ 10000 h 10109"/>
              <a:gd name="connsiteX2" fmla="*/ 3407 w 9777"/>
              <a:gd name="connsiteY2" fmla="*/ 9637 h 10109"/>
              <a:gd name="connsiteX3" fmla="*/ 3407 w 9777"/>
              <a:gd name="connsiteY3" fmla="*/ 362 h 10109"/>
              <a:gd name="connsiteX4" fmla="*/ 3477 w 9777"/>
              <a:gd name="connsiteY4" fmla="*/ 0 h 10109"/>
              <a:gd name="connsiteX5" fmla="*/ 6627 w 9777"/>
              <a:gd name="connsiteY5" fmla="*/ 0 h 10109"/>
              <a:gd name="connsiteX6" fmla="*/ 6693 w 9777"/>
              <a:gd name="connsiteY6" fmla="*/ 362 h 10109"/>
              <a:gd name="connsiteX7" fmla="*/ 6693 w 9777"/>
              <a:gd name="connsiteY7" fmla="*/ 6676 h 10109"/>
              <a:gd name="connsiteX8" fmla="*/ 6760 w 9777"/>
              <a:gd name="connsiteY8" fmla="*/ 7038 h 10109"/>
              <a:gd name="connsiteX9" fmla="*/ 7633 w 9777"/>
              <a:gd name="connsiteY9" fmla="*/ 7038 h 10109"/>
              <a:gd name="connsiteX10" fmla="*/ 7703 w 9777"/>
              <a:gd name="connsiteY10" fmla="*/ 6676 h 10109"/>
              <a:gd name="connsiteX11" fmla="*/ 7703 w 9777"/>
              <a:gd name="connsiteY11" fmla="*/ 2652 h 10109"/>
              <a:gd name="connsiteX12" fmla="*/ 7771 w 9777"/>
              <a:gd name="connsiteY12" fmla="*/ 2290 h 10109"/>
              <a:gd name="connsiteX13" fmla="*/ 9710 w 9777"/>
              <a:gd name="connsiteY13" fmla="*/ 2290 h 10109"/>
              <a:gd name="connsiteX14" fmla="*/ 9777 w 9777"/>
              <a:gd name="connsiteY14" fmla="*/ 2652 h 10109"/>
              <a:gd name="connsiteX0" fmla="*/ 0 w 10000"/>
              <a:gd name="connsiteY0" fmla="*/ 9855 h 9901"/>
              <a:gd name="connsiteX1" fmla="*/ 3417 w 10000"/>
              <a:gd name="connsiteY1" fmla="*/ 9892 h 9901"/>
              <a:gd name="connsiteX2" fmla="*/ 3485 w 10000"/>
              <a:gd name="connsiteY2" fmla="*/ 9533 h 9901"/>
              <a:gd name="connsiteX3" fmla="*/ 3485 w 10000"/>
              <a:gd name="connsiteY3" fmla="*/ 358 h 9901"/>
              <a:gd name="connsiteX4" fmla="*/ 3556 w 10000"/>
              <a:gd name="connsiteY4" fmla="*/ 0 h 9901"/>
              <a:gd name="connsiteX5" fmla="*/ 6778 w 10000"/>
              <a:gd name="connsiteY5" fmla="*/ 0 h 9901"/>
              <a:gd name="connsiteX6" fmla="*/ 6846 w 10000"/>
              <a:gd name="connsiteY6" fmla="*/ 358 h 9901"/>
              <a:gd name="connsiteX7" fmla="*/ 6846 w 10000"/>
              <a:gd name="connsiteY7" fmla="*/ 6604 h 9901"/>
              <a:gd name="connsiteX8" fmla="*/ 6914 w 10000"/>
              <a:gd name="connsiteY8" fmla="*/ 6962 h 9901"/>
              <a:gd name="connsiteX9" fmla="*/ 7807 w 10000"/>
              <a:gd name="connsiteY9" fmla="*/ 6962 h 9901"/>
              <a:gd name="connsiteX10" fmla="*/ 7879 w 10000"/>
              <a:gd name="connsiteY10" fmla="*/ 6604 h 9901"/>
              <a:gd name="connsiteX11" fmla="*/ 7879 w 10000"/>
              <a:gd name="connsiteY11" fmla="*/ 2623 h 9901"/>
              <a:gd name="connsiteX12" fmla="*/ 7948 w 10000"/>
              <a:gd name="connsiteY12" fmla="*/ 2265 h 9901"/>
              <a:gd name="connsiteX13" fmla="*/ 9931 w 10000"/>
              <a:gd name="connsiteY13" fmla="*/ 2265 h 9901"/>
              <a:gd name="connsiteX14" fmla="*/ 10000 w 10000"/>
              <a:gd name="connsiteY14" fmla="*/ 2623 h 9901"/>
              <a:gd name="connsiteX0" fmla="*/ 0 w 10000"/>
              <a:gd name="connsiteY0" fmla="*/ 9954 h 10007"/>
              <a:gd name="connsiteX1" fmla="*/ 3417 w 10000"/>
              <a:gd name="connsiteY1" fmla="*/ 9991 h 10007"/>
              <a:gd name="connsiteX2" fmla="*/ 3485 w 10000"/>
              <a:gd name="connsiteY2" fmla="*/ 9628 h 10007"/>
              <a:gd name="connsiteX3" fmla="*/ 3485 w 10000"/>
              <a:gd name="connsiteY3" fmla="*/ 362 h 10007"/>
              <a:gd name="connsiteX4" fmla="*/ 3556 w 10000"/>
              <a:gd name="connsiteY4" fmla="*/ 0 h 10007"/>
              <a:gd name="connsiteX5" fmla="*/ 6778 w 10000"/>
              <a:gd name="connsiteY5" fmla="*/ 0 h 10007"/>
              <a:gd name="connsiteX6" fmla="*/ 6846 w 10000"/>
              <a:gd name="connsiteY6" fmla="*/ 362 h 10007"/>
              <a:gd name="connsiteX7" fmla="*/ 6846 w 10000"/>
              <a:gd name="connsiteY7" fmla="*/ 6670 h 10007"/>
              <a:gd name="connsiteX8" fmla="*/ 6914 w 10000"/>
              <a:gd name="connsiteY8" fmla="*/ 7032 h 10007"/>
              <a:gd name="connsiteX9" fmla="*/ 7807 w 10000"/>
              <a:gd name="connsiteY9" fmla="*/ 7032 h 10007"/>
              <a:gd name="connsiteX10" fmla="*/ 7879 w 10000"/>
              <a:gd name="connsiteY10" fmla="*/ 6670 h 10007"/>
              <a:gd name="connsiteX11" fmla="*/ 7879 w 10000"/>
              <a:gd name="connsiteY11" fmla="*/ 2649 h 10007"/>
              <a:gd name="connsiteX12" fmla="*/ 7948 w 10000"/>
              <a:gd name="connsiteY12" fmla="*/ 2288 h 10007"/>
              <a:gd name="connsiteX13" fmla="*/ 9931 w 10000"/>
              <a:gd name="connsiteY13" fmla="*/ 2288 h 10007"/>
              <a:gd name="connsiteX14" fmla="*/ 10000 w 10000"/>
              <a:gd name="connsiteY14" fmla="*/ 2649 h 10007"/>
              <a:gd name="connsiteX0" fmla="*/ 0 w 10000"/>
              <a:gd name="connsiteY0" fmla="*/ 9954 h 10038"/>
              <a:gd name="connsiteX1" fmla="*/ 3417 w 10000"/>
              <a:gd name="connsiteY1" fmla="*/ 9991 h 10038"/>
              <a:gd name="connsiteX2" fmla="*/ 3485 w 10000"/>
              <a:gd name="connsiteY2" fmla="*/ 9628 h 10038"/>
              <a:gd name="connsiteX3" fmla="*/ 3485 w 10000"/>
              <a:gd name="connsiteY3" fmla="*/ 362 h 10038"/>
              <a:gd name="connsiteX4" fmla="*/ 3556 w 10000"/>
              <a:gd name="connsiteY4" fmla="*/ 0 h 10038"/>
              <a:gd name="connsiteX5" fmla="*/ 6778 w 10000"/>
              <a:gd name="connsiteY5" fmla="*/ 0 h 10038"/>
              <a:gd name="connsiteX6" fmla="*/ 6846 w 10000"/>
              <a:gd name="connsiteY6" fmla="*/ 362 h 10038"/>
              <a:gd name="connsiteX7" fmla="*/ 6846 w 10000"/>
              <a:gd name="connsiteY7" fmla="*/ 6670 h 10038"/>
              <a:gd name="connsiteX8" fmla="*/ 6914 w 10000"/>
              <a:gd name="connsiteY8" fmla="*/ 7032 h 10038"/>
              <a:gd name="connsiteX9" fmla="*/ 7807 w 10000"/>
              <a:gd name="connsiteY9" fmla="*/ 7032 h 10038"/>
              <a:gd name="connsiteX10" fmla="*/ 7879 w 10000"/>
              <a:gd name="connsiteY10" fmla="*/ 6670 h 10038"/>
              <a:gd name="connsiteX11" fmla="*/ 7879 w 10000"/>
              <a:gd name="connsiteY11" fmla="*/ 2649 h 10038"/>
              <a:gd name="connsiteX12" fmla="*/ 7948 w 10000"/>
              <a:gd name="connsiteY12" fmla="*/ 2288 h 10038"/>
              <a:gd name="connsiteX13" fmla="*/ 9931 w 10000"/>
              <a:gd name="connsiteY13" fmla="*/ 2288 h 10038"/>
              <a:gd name="connsiteX14" fmla="*/ 10000 w 10000"/>
              <a:gd name="connsiteY14" fmla="*/ 2649 h 10038"/>
              <a:gd name="connsiteX0" fmla="*/ 0 w 10000"/>
              <a:gd name="connsiteY0" fmla="*/ 9954 h 10007"/>
              <a:gd name="connsiteX1" fmla="*/ 3417 w 10000"/>
              <a:gd name="connsiteY1" fmla="*/ 9991 h 10007"/>
              <a:gd name="connsiteX2" fmla="*/ 3485 w 10000"/>
              <a:gd name="connsiteY2" fmla="*/ 9628 h 10007"/>
              <a:gd name="connsiteX3" fmla="*/ 3485 w 10000"/>
              <a:gd name="connsiteY3" fmla="*/ 362 h 10007"/>
              <a:gd name="connsiteX4" fmla="*/ 3556 w 10000"/>
              <a:gd name="connsiteY4" fmla="*/ 0 h 10007"/>
              <a:gd name="connsiteX5" fmla="*/ 6778 w 10000"/>
              <a:gd name="connsiteY5" fmla="*/ 0 h 10007"/>
              <a:gd name="connsiteX6" fmla="*/ 6846 w 10000"/>
              <a:gd name="connsiteY6" fmla="*/ 362 h 10007"/>
              <a:gd name="connsiteX7" fmla="*/ 6846 w 10000"/>
              <a:gd name="connsiteY7" fmla="*/ 6670 h 10007"/>
              <a:gd name="connsiteX8" fmla="*/ 6914 w 10000"/>
              <a:gd name="connsiteY8" fmla="*/ 7032 h 10007"/>
              <a:gd name="connsiteX9" fmla="*/ 7807 w 10000"/>
              <a:gd name="connsiteY9" fmla="*/ 7032 h 10007"/>
              <a:gd name="connsiteX10" fmla="*/ 7879 w 10000"/>
              <a:gd name="connsiteY10" fmla="*/ 6670 h 10007"/>
              <a:gd name="connsiteX11" fmla="*/ 7879 w 10000"/>
              <a:gd name="connsiteY11" fmla="*/ 2649 h 10007"/>
              <a:gd name="connsiteX12" fmla="*/ 7948 w 10000"/>
              <a:gd name="connsiteY12" fmla="*/ 2288 h 10007"/>
              <a:gd name="connsiteX13" fmla="*/ 9931 w 10000"/>
              <a:gd name="connsiteY13" fmla="*/ 2288 h 10007"/>
              <a:gd name="connsiteX14" fmla="*/ 10000 w 10000"/>
              <a:gd name="connsiteY14" fmla="*/ 2649 h 10007"/>
              <a:gd name="connsiteX0" fmla="*/ 0 w 10000"/>
              <a:gd name="connsiteY0" fmla="*/ 9972 h 10018"/>
              <a:gd name="connsiteX1" fmla="*/ 3417 w 10000"/>
              <a:gd name="connsiteY1" fmla="*/ 9991 h 10018"/>
              <a:gd name="connsiteX2" fmla="*/ 3485 w 10000"/>
              <a:gd name="connsiteY2" fmla="*/ 9628 h 10018"/>
              <a:gd name="connsiteX3" fmla="*/ 3485 w 10000"/>
              <a:gd name="connsiteY3" fmla="*/ 362 h 10018"/>
              <a:gd name="connsiteX4" fmla="*/ 3556 w 10000"/>
              <a:gd name="connsiteY4" fmla="*/ 0 h 10018"/>
              <a:gd name="connsiteX5" fmla="*/ 6778 w 10000"/>
              <a:gd name="connsiteY5" fmla="*/ 0 h 10018"/>
              <a:gd name="connsiteX6" fmla="*/ 6846 w 10000"/>
              <a:gd name="connsiteY6" fmla="*/ 362 h 10018"/>
              <a:gd name="connsiteX7" fmla="*/ 6846 w 10000"/>
              <a:gd name="connsiteY7" fmla="*/ 6670 h 10018"/>
              <a:gd name="connsiteX8" fmla="*/ 6914 w 10000"/>
              <a:gd name="connsiteY8" fmla="*/ 7032 h 10018"/>
              <a:gd name="connsiteX9" fmla="*/ 7807 w 10000"/>
              <a:gd name="connsiteY9" fmla="*/ 7032 h 10018"/>
              <a:gd name="connsiteX10" fmla="*/ 7879 w 10000"/>
              <a:gd name="connsiteY10" fmla="*/ 6670 h 10018"/>
              <a:gd name="connsiteX11" fmla="*/ 7879 w 10000"/>
              <a:gd name="connsiteY11" fmla="*/ 2649 h 10018"/>
              <a:gd name="connsiteX12" fmla="*/ 7948 w 10000"/>
              <a:gd name="connsiteY12" fmla="*/ 2288 h 10018"/>
              <a:gd name="connsiteX13" fmla="*/ 9931 w 10000"/>
              <a:gd name="connsiteY13" fmla="*/ 2288 h 10018"/>
              <a:gd name="connsiteX14" fmla="*/ 10000 w 10000"/>
              <a:gd name="connsiteY14" fmla="*/ 2649 h 10018"/>
              <a:gd name="connsiteX0" fmla="*/ 0 w 10000"/>
              <a:gd name="connsiteY0" fmla="*/ 9972 h 9991"/>
              <a:gd name="connsiteX1" fmla="*/ 3417 w 10000"/>
              <a:gd name="connsiteY1" fmla="*/ 9991 h 9991"/>
              <a:gd name="connsiteX2" fmla="*/ 3485 w 10000"/>
              <a:gd name="connsiteY2" fmla="*/ 9628 h 9991"/>
              <a:gd name="connsiteX3" fmla="*/ 3485 w 10000"/>
              <a:gd name="connsiteY3" fmla="*/ 362 h 9991"/>
              <a:gd name="connsiteX4" fmla="*/ 3556 w 10000"/>
              <a:gd name="connsiteY4" fmla="*/ 0 h 9991"/>
              <a:gd name="connsiteX5" fmla="*/ 6778 w 10000"/>
              <a:gd name="connsiteY5" fmla="*/ 0 h 9991"/>
              <a:gd name="connsiteX6" fmla="*/ 6846 w 10000"/>
              <a:gd name="connsiteY6" fmla="*/ 362 h 9991"/>
              <a:gd name="connsiteX7" fmla="*/ 6846 w 10000"/>
              <a:gd name="connsiteY7" fmla="*/ 6670 h 9991"/>
              <a:gd name="connsiteX8" fmla="*/ 6914 w 10000"/>
              <a:gd name="connsiteY8" fmla="*/ 7032 h 9991"/>
              <a:gd name="connsiteX9" fmla="*/ 7807 w 10000"/>
              <a:gd name="connsiteY9" fmla="*/ 7032 h 9991"/>
              <a:gd name="connsiteX10" fmla="*/ 7879 w 10000"/>
              <a:gd name="connsiteY10" fmla="*/ 6670 h 9991"/>
              <a:gd name="connsiteX11" fmla="*/ 7879 w 10000"/>
              <a:gd name="connsiteY11" fmla="*/ 2649 h 9991"/>
              <a:gd name="connsiteX12" fmla="*/ 7948 w 10000"/>
              <a:gd name="connsiteY12" fmla="*/ 2288 h 9991"/>
              <a:gd name="connsiteX13" fmla="*/ 9931 w 10000"/>
              <a:gd name="connsiteY13" fmla="*/ 2288 h 9991"/>
              <a:gd name="connsiteX14" fmla="*/ 10000 w 10000"/>
              <a:gd name="connsiteY14" fmla="*/ 2649 h 9991"/>
              <a:gd name="connsiteX0" fmla="*/ 0 w 10000"/>
              <a:gd name="connsiteY0" fmla="*/ 10008 h 10015"/>
              <a:gd name="connsiteX1" fmla="*/ 3417 w 10000"/>
              <a:gd name="connsiteY1" fmla="*/ 10000 h 10015"/>
              <a:gd name="connsiteX2" fmla="*/ 3485 w 10000"/>
              <a:gd name="connsiteY2" fmla="*/ 9637 h 10015"/>
              <a:gd name="connsiteX3" fmla="*/ 3485 w 10000"/>
              <a:gd name="connsiteY3" fmla="*/ 362 h 10015"/>
              <a:gd name="connsiteX4" fmla="*/ 3556 w 10000"/>
              <a:gd name="connsiteY4" fmla="*/ 0 h 10015"/>
              <a:gd name="connsiteX5" fmla="*/ 6778 w 10000"/>
              <a:gd name="connsiteY5" fmla="*/ 0 h 10015"/>
              <a:gd name="connsiteX6" fmla="*/ 6846 w 10000"/>
              <a:gd name="connsiteY6" fmla="*/ 362 h 10015"/>
              <a:gd name="connsiteX7" fmla="*/ 6846 w 10000"/>
              <a:gd name="connsiteY7" fmla="*/ 6676 h 10015"/>
              <a:gd name="connsiteX8" fmla="*/ 6914 w 10000"/>
              <a:gd name="connsiteY8" fmla="*/ 7038 h 10015"/>
              <a:gd name="connsiteX9" fmla="*/ 7807 w 10000"/>
              <a:gd name="connsiteY9" fmla="*/ 7038 h 10015"/>
              <a:gd name="connsiteX10" fmla="*/ 7879 w 10000"/>
              <a:gd name="connsiteY10" fmla="*/ 6676 h 10015"/>
              <a:gd name="connsiteX11" fmla="*/ 7879 w 10000"/>
              <a:gd name="connsiteY11" fmla="*/ 2651 h 10015"/>
              <a:gd name="connsiteX12" fmla="*/ 7948 w 10000"/>
              <a:gd name="connsiteY12" fmla="*/ 2290 h 10015"/>
              <a:gd name="connsiteX13" fmla="*/ 9931 w 10000"/>
              <a:gd name="connsiteY13" fmla="*/ 2290 h 10015"/>
              <a:gd name="connsiteX14" fmla="*/ 10000 w 10000"/>
              <a:gd name="connsiteY14" fmla="*/ 2651 h 10015"/>
              <a:gd name="connsiteX0" fmla="*/ 0 w 10000"/>
              <a:gd name="connsiteY0" fmla="*/ 10008 h 10008"/>
              <a:gd name="connsiteX1" fmla="*/ 3417 w 10000"/>
              <a:gd name="connsiteY1" fmla="*/ 10000 h 10008"/>
              <a:gd name="connsiteX2" fmla="*/ 3485 w 10000"/>
              <a:gd name="connsiteY2" fmla="*/ 9637 h 10008"/>
              <a:gd name="connsiteX3" fmla="*/ 3485 w 10000"/>
              <a:gd name="connsiteY3" fmla="*/ 362 h 10008"/>
              <a:gd name="connsiteX4" fmla="*/ 3556 w 10000"/>
              <a:gd name="connsiteY4" fmla="*/ 0 h 10008"/>
              <a:gd name="connsiteX5" fmla="*/ 6778 w 10000"/>
              <a:gd name="connsiteY5" fmla="*/ 0 h 10008"/>
              <a:gd name="connsiteX6" fmla="*/ 6846 w 10000"/>
              <a:gd name="connsiteY6" fmla="*/ 362 h 10008"/>
              <a:gd name="connsiteX7" fmla="*/ 6846 w 10000"/>
              <a:gd name="connsiteY7" fmla="*/ 6676 h 10008"/>
              <a:gd name="connsiteX8" fmla="*/ 6914 w 10000"/>
              <a:gd name="connsiteY8" fmla="*/ 7038 h 10008"/>
              <a:gd name="connsiteX9" fmla="*/ 7807 w 10000"/>
              <a:gd name="connsiteY9" fmla="*/ 7038 h 10008"/>
              <a:gd name="connsiteX10" fmla="*/ 7879 w 10000"/>
              <a:gd name="connsiteY10" fmla="*/ 6676 h 10008"/>
              <a:gd name="connsiteX11" fmla="*/ 7879 w 10000"/>
              <a:gd name="connsiteY11" fmla="*/ 2651 h 10008"/>
              <a:gd name="connsiteX12" fmla="*/ 7948 w 10000"/>
              <a:gd name="connsiteY12" fmla="*/ 2290 h 10008"/>
              <a:gd name="connsiteX13" fmla="*/ 9931 w 10000"/>
              <a:gd name="connsiteY13" fmla="*/ 2290 h 10008"/>
              <a:gd name="connsiteX14" fmla="*/ 10000 w 10000"/>
              <a:gd name="connsiteY14" fmla="*/ 2651 h 10008"/>
              <a:gd name="connsiteX0" fmla="*/ 0 w 10000"/>
              <a:gd name="connsiteY0" fmla="*/ 10008 h 10008"/>
              <a:gd name="connsiteX1" fmla="*/ 3417 w 10000"/>
              <a:gd name="connsiteY1" fmla="*/ 10000 h 10008"/>
              <a:gd name="connsiteX2" fmla="*/ 3485 w 10000"/>
              <a:gd name="connsiteY2" fmla="*/ 9637 h 10008"/>
              <a:gd name="connsiteX3" fmla="*/ 3485 w 10000"/>
              <a:gd name="connsiteY3" fmla="*/ 362 h 10008"/>
              <a:gd name="connsiteX4" fmla="*/ 3556 w 10000"/>
              <a:gd name="connsiteY4" fmla="*/ 0 h 10008"/>
              <a:gd name="connsiteX5" fmla="*/ 6778 w 10000"/>
              <a:gd name="connsiteY5" fmla="*/ 0 h 10008"/>
              <a:gd name="connsiteX6" fmla="*/ 6846 w 10000"/>
              <a:gd name="connsiteY6" fmla="*/ 362 h 10008"/>
              <a:gd name="connsiteX7" fmla="*/ 6846 w 10000"/>
              <a:gd name="connsiteY7" fmla="*/ 6676 h 10008"/>
              <a:gd name="connsiteX8" fmla="*/ 6914 w 10000"/>
              <a:gd name="connsiteY8" fmla="*/ 7038 h 10008"/>
              <a:gd name="connsiteX9" fmla="*/ 7807 w 10000"/>
              <a:gd name="connsiteY9" fmla="*/ 7038 h 10008"/>
              <a:gd name="connsiteX10" fmla="*/ 7879 w 10000"/>
              <a:gd name="connsiteY10" fmla="*/ 6676 h 10008"/>
              <a:gd name="connsiteX11" fmla="*/ 7879 w 10000"/>
              <a:gd name="connsiteY11" fmla="*/ 2651 h 10008"/>
              <a:gd name="connsiteX12" fmla="*/ 7948 w 10000"/>
              <a:gd name="connsiteY12" fmla="*/ 2290 h 10008"/>
              <a:gd name="connsiteX13" fmla="*/ 10000 w 10000"/>
              <a:gd name="connsiteY13" fmla="*/ 2651 h 10008"/>
              <a:gd name="connsiteX0" fmla="*/ 0 w 9969"/>
              <a:gd name="connsiteY0" fmla="*/ 10008 h 10008"/>
              <a:gd name="connsiteX1" fmla="*/ 3417 w 9969"/>
              <a:gd name="connsiteY1" fmla="*/ 10000 h 10008"/>
              <a:gd name="connsiteX2" fmla="*/ 3485 w 9969"/>
              <a:gd name="connsiteY2" fmla="*/ 9637 h 10008"/>
              <a:gd name="connsiteX3" fmla="*/ 3485 w 9969"/>
              <a:gd name="connsiteY3" fmla="*/ 362 h 10008"/>
              <a:gd name="connsiteX4" fmla="*/ 3556 w 9969"/>
              <a:gd name="connsiteY4" fmla="*/ 0 h 10008"/>
              <a:gd name="connsiteX5" fmla="*/ 6778 w 9969"/>
              <a:gd name="connsiteY5" fmla="*/ 0 h 10008"/>
              <a:gd name="connsiteX6" fmla="*/ 6846 w 9969"/>
              <a:gd name="connsiteY6" fmla="*/ 362 h 10008"/>
              <a:gd name="connsiteX7" fmla="*/ 6846 w 9969"/>
              <a:gd name="connsiteY7" fmla="*/ 6676 h 10008"/>
              <a:gd name="connsiteX8" fmla="*/ 6914 w 9969"/>
              <a:gd name="connsiteY8" fmla="*/ 7038 h 10008"/>
              <a:gd name="connsiteX9" fmla="*/ 7807 w 9969"/>
              <a:gd name="connsiteY9" fmla="*/ 7038 h 10008"/>
              <a:gd name="connsiteX10" fmla="*/ 7879 w 9969"/>
              <a:gd name="connsiteY10" fmla="*/ 6676 h 10008"/>
              <a:gd name="connsiteX11" fmla="*/ 7879 w 9969"/>
              <a:gd name="connsiteY11" fmla="*/ 2651 h 10008"/>
              <a:gd name="connsiteX12" fmla="*/ 7948 w 9969"/>
              <a:gd name="connsiteY12" fmla="*/ 2290 h 10008"/>
              <a:gd name="connsiteX13" fmla="*/ 9969 w 9969"/>
              <a:gd name="connsiteY13" fmla="*/ 2271 h 10008"/>
              <a:gd name="connsiteX0" fmla="*/ 0 w 9995"/>
              <a:gd name="connsiteY0" fmla="*/ 10000 h 10000"/>
              <a:gd name="connsiteX1" fmla="*/ 3428 w 9995"/>
              <a:gd name="connsiteY1" fmla="*/ 9992 h 10000"/>
              <a:gd name="connsiteX2" fmla="*/ 3496 w 9995"/>
              <a:gd name="connsiteY2" fmla="*/ 9629 h 10000"/>
              <a:gd name="connsiteX3" fmla="*/ 3496 w 9995"/>
              <a:gd name="connsiteY3" fmla="*/ 362 h 10000"/>
              <a:gd name="connsiteX4" fmla="*/ 3567 w 9995"/>
              <a:gd name="connsiteY4" fmla="*/ 0 h 10000"/>
              <a:gd name="connsiteX5" fmla="*/ 6799 w 9995"/>
              <a:gd name="connsiteY5" fmla="*/ 0 h 10000"/>
              <a:gd name="connsiteX6" fmla="*/ 6867 w 9995"/>
              <a:gd name="connsiteY6" fmla="*/ 362 h 10000"/>
              <a:gd name="connsiteX7" fmla="*/ 6867 w 9995"/>
              <a:gd name="connsiteY7" fmla="*/ 6671 h 10000"/>
              <a:gd name="connsiteX8" fmla="*/ 6936 w 9995"/>
              <a:gd name="connsiteY8" fmla="*/ 7032 h 10000"/>
              <a:gd name="connsiteX9" fmla="*/ 7831 w 9995"/>
              <a:gd name="connsiteY9" fmla="*/ 7032 h 10000"/>
              <a:gd name="connsiteX10" fmla="*/ 7904 w 9995"/>
              <a:gd name="connsiteY10" fmla="*/ 6671 h 10000"/>
              <a:gd name="connsiteX11" fmla="*/ 7904 w 9995"/>
              <a:gd name="connsiteY11" fmla="*/ 2649 h 10000"/>
              <a:gd name="connsiteX12" fmla="*/ 7973 w 9995"/>
              <a:gd name="connsiteY12" fmla="*/ 2288 h 10000"/>
              <a:gd name="connsiteX13" fmla="*/ 9995 w 9995"/>
              <a:gd name="connsiteY13" fmla="*/ 2377 h 10000"/>
              <a:gd name="connsiteX0" fmla="*/ 0 w 10000"/>
              <a:gd name="connsiteY0" fmla="*/ 10000 h 10000"/>
              <a:gd name="connsiteX1" fmla="*/ 3430 w 10000"/>
              <a:gd name="connsiteY1" fmla="*/ 9992 h 10000"/>
              <a:gd name="connsiteX2" fmla="*/ 3498 w 10000"/>
              <a:gd name="connsiteY2" fmla="*/ 9629 h 10000"/>
              <a:gd name="connsiteX3" fmla="*/ 3498 w 10000"/>
              <a:gd name="connsiteY3" fmla="*/ 362 h 10000"/>
              <a:gd name="connsiteX4" fmla="*/ 3569 w 10000"/>
              <a:gd name="connsiteY4" fmla="*/ 0 h 10000"/>
              <a:gd name="connsiteX5" fmla="*/ 6802 w 10000"/>
              <a:gd name="connsiteY5" fmla="*/ 0 h 10000"/>
              <a:gd name="connsiteX6" fmla="*/ 6870 w 10000"/>
              <a:gd name="connsiteY6" fmla="*/ 362 h 10000"/>
              <a:gd name="connsiteX7" fmla="*/ 6870 w 10000"/>
              <a:gd name="connsiteY7" fmla="*/ 6671 h 10000"/>
              <a:gd name="connsiteX8" fmla="*/ 6939 w 10000"/>
              <a:gd name="connsiteY8" fmla="*/ 7032 h 10000"/>
              <a:gd name="connsiteX9" fmla="*/ 7835 w 10000"/>
              <a:gd name="connsiteY9" fmla="*/ 7032 h 10000"/>
              <a:gd name="connsiteX10" fmla="*/ 7908 w 10000"/>
              <a:gd name="connsiteY10" fmla="*/ 6671 h 10000"/>
              <a:gd name="connsiteX11" fmla="*/ 7908 w 10000"/>
              <a:gd name="connsiteY11" fmla="*/ 2649 h 10000"/>
              <a:gd name="connsiteX12" fmla="*/ 7977 w 10000"/>
              <a:gd name="connsiteY12" fmla="*/ 2288 h 10000"/>
              <a:gd name="connsiteX13" fmla="*/ 10000 w 10000"/>
              <a:gd name="connsiteY13" fmla="*/ 2296 h 10000"/>
              <a:gd name="connsiteX0" fmla="*/ 0 w 10049"/>
              <a:gd name="connsiteY0" fmla="*/ 10000 h 10000"/>
              <a:gd name="connsiteX1" fmla="*/ 3479 w 10049"/>
              <a:gd name="connsiteY1" fmla="*/ 9992 h 10000"/>
              <a:gd name="connsiteX2" fmla="*/ 3547 w 10049"/>
              <a:gd name="connsiteY2" fmla="*/ 9629 h 10000"/>
              <a:gd name="connsiteX3" fmla="*/ 3547 w 10049"/>
              <a:gd name="connsiteY3" fmla="*/ 362 h 10000"/>
              <a:gd name="connsiteX4" fmla="*/ 3618 w 10049"/>
              <a:gd name="connsiteY4" fmla="*/ 0 h 10000"/>
              <a:gd name="connsiteX5" fmla="*/ 6851 w 10049"/>
              <a:gd name="connsiteY5" fmla="*/ 0 h 10000"/>
              <a:gd name="connsiteX6" fmla="*/ 6919 w 10049"/>
              <a:gd name="connsiteY6" fmla="*/ 362 h 10000"/>
              <a:gd name="connsiteX7" fmla="*/ 6919 w 10049"/>
              <a:gd name="connsiteY7" fmla="*/ 6671 h 10000"/>
              <a:gd name="connsiteX8" fmla="*/ 6988 w 10049"/>
              <a:gd name="connsiteY8" fmla="*/ 7032 h 10000"/>
              <a:gd name="connsiteX9" fmla="*/ 7884 w 10049"/>
              <a:gd name="connsiteY9" fmla="*/ 7032 h 10000"/>
              <a:gd name="connsiteX10" fmla="*/ 7957 w 10049"/>
              <a:gd name="connsiteY10" fmla="*/ 6671 h 10000"/>
              <a:gd name="connsiteX11" fmla="*/ 7957 w 10049"/>
              <a:gd name="connsiteY11" fmla="*/ 2649 h 10000"/>
              <a:gd name="connsiteX12" fmla="*/ 8026 w 10049"/>
              <a:gd name="connsiteY12" fmla="*/ 2288 h 10000"/>
              <a:gd name="connsiteX13" fmla="*/ 10049 w 10049"/>
              <a:gd name="connsiteY13" fmla="*/ 2296 h 10000"/>
              <a:gd name="connsiteX0" fmla="*/ 0 w 10007"/>
              <a:gd name="connsiteY0" fmla="*/ 10000 h 10000"/>
              <a:gd name="connsiteX1" fmla="*/ 3437 w 10007"/>
              <a:gd name="connsiteY1" fmla="*/ 9992 h 10000"/>
              <a:gd name="connsiteX2" fmla="*/ 3505 w 10007"/>
              <a:gd name="connsiteY2" fmla="*/ 9629 h 10000"/>
              <a:gd name="connsiteX3" fmla="*/ 3505 w 10007"/>
              <a:gd name="connsiteY3" fmla="*/ 362 h 10000"/>
              <a:gd name="connsiteX4" fmla="*/ 3576 w 10007"/>
              <a:gd name="connsiteY4" fmla="*/ 0 h 10000"/>
              <a:gd name="connsiteX5" fmla="*/ 6809 w 10007"/>
              <a:gd name="connsiteY5" fmla="*/ 0 h 10000"/>
              <a:gd name="connsiteX6" fmla="*/ 6877 w 10007"/>
              <a:gd name="connsiteY6" fmla="*/ 362 h 10000"/>
              <a:gd name="connsiteX7" fmla="*/ 6877 w 10007"/>
              <a:gd name="connsiteY7" fmla="*/ 6671 h 10000"/>
              <a:gd name="connsiteX8" fmla="*/ 6946 w 10007"/>
              <a:gd name="connsiteY8" fmla="*/ 7032 h 10000"/>
              <a:gd name="connsiteX9" fmla="*/ 7842 w 10007"/>
              <a:gd name="connsiteY9" fmla="*/ 7032 h 10000"/>
              <a:gd name="connsiteX10" fmla="*/ 7915 w 10007"/>
              <a:gd name="connsiteY10" fmla="*/ 6671 h 10000"/>
              <a:gd name="connsiteX11" fmla="*/ 7915 w 10007"/>
              <a:gd name="connsiteY11" fmla="*/ 2649 h 10000"/>
              <a:gd name="connsiteX12" fmla="*/ 7984 w 10007"/>
              <a:gd name="connsiteY12" fmla="*/ 2288 h 10000"/>
              <a:gd name="connsiteX13" fmla="*/ 10007 w 10007"/>
              <a:gd name="connsiteY13" fmla="*/ 2296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0007" h="10000">
                <a:moveTo>
                  <a:pt x="0" y="10000"/>
                </a:moveTo>
                <a:lnTo>
                  <a:pt x="3437" y="9992"/>
                </a:lnTo>
                <a:cubicBezTo>
                  <a:pt x="3474" y="9992"/>
                  <a:pt x="3505" y="9824"/>
                  <a:pt x="3505" y="9629"/>
                </a:cubicBezTo>
                <a:lnTo>
                  <a:pt x="3505" y="362"/>
                </a:lnTo>
                <a:cubicBezTo>
                  <a:pt x="3505" y="168"/>
                  <a:pt x="3536" y="0"/>
                  <a:pt x="3576" y="0"/>
                </a:cubicBezTo>
                <a:lnTo>
                  <a:pt x="6809" y="0"/>
                </a:lnTo>
                <a:cubicBezTo>
                  <a:pt x="6845" y="0"/>
                  <a:pt x="6877" y="168"/>
                  <a:pt x="6877" y="362"/>
                </a:cubicBezTo>
                <a:lnTo>
                  <a:pt x="6877" y="6671"/>
                </a:lnTo>
                <a:cubicBezTo>
                  <a:pt x="6877" y="6865"/>
                  <a:pt x="6906" y="7032"/>
                  <a:pt x="6946" y="7032"/>
                </a:cubicBezTo>
                <a:lnTo>
                  <a:pt x="7842" y="7032"/>
                </a:lnTo>
                <a:cubicBezTo>
                  <a:pt x="7883" y="7032"/>
                  <a:pt x="7915" y="6865"/>
                  <a:pt x="7915" y="6671"/>
                </a:cubicBezTo>
                <a:lnTo>
                  <a:pt x="7915" y="2649"/>
                </a:lnTo>
                <a:cubicBezTo>
                  <a:pt x="7915" y="2443"/>
                  <a:pt x="7943" y="2288"/>
                  <a:pt x="7984" y="2288"/>
                </a:cubicBezTo>
                <a:lnTo>
                  <a:pt x="10007" y="2296"/>
                </a:lnTo>
              </a:path>
            </a:pathLst>
          </a:custGeom>
          <a:noFill/>
          <a:ln w="12700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endParaRPr lang="en-US" sz="1800">
              <a:solidFill>
                <a:prstClr val="black"/>
              </a:solidFill>
              <a:latin typeface="Arial"/>
            </a:endParaRPr>
          </a:p>
        </p:txBody>
      </p:sp>
      <p:sp>
        <p:nvSpPr>
          <p:cNvPr id="10" name="Freeform 8"/>
          <p:cNvSpPr>
            <a:spLocks/>
          </p:cNvSpPr>
          <p:nvPr userDrawn="1"/>
        </p:nvSpPr>
        <p:spPr bwMode="gray">
          <a:xfrm>
            <a:off x="-10278" y="5966252"/>
            <a:ext cx="9157459" cy="323466"/>
          </a:xfrm>
          <a:custGeom>
            <a:avLst/>
            <a:gdLst>
              <a:gd name="T0" fmla="*/ 0 w 8480"/>
              <a:gd name="T1" fmla="*/ 0 h 144"/>
              <a:gd name="T2" fmla="*/ 776 w 8480"/>
              <a:gd name="T3" fmla="*/ 0 h 144"/>
              <a:gd name="T4" fmla="*/ 804 w 8480"/>
              <a:gd name="T5" fmla="*/ 28 h 144"/>
              <a:gd name="T6" fmla="*/ 804 w 8480"/>
              <a:gd name="T7" fmla="*/ 114 h 144"/>
              <a:gd name="T8" fmla="*/ 831 w 8480"/>
              <a:gd name="T9" fmla="*/ 142 h 144"/>
              <a:gd name="T10" fmla="*/ 2854 w 8480"/>
              <a:gd name="T11" fmla="*/ 142 h 144"/>
              <a:gd name="T12" fmla="*/ 2882 w 8480"/>
              <a:gd name="T13" fmla="*/ 114 h 144"/>
              <a:gd name="T14" fmla="*/ 2882 w 8480"/>
              <a:gd name="T15" fmla="*/ 28 h 144"/>
              <a:gd name="T16" fmla="*/ 2910 w 8480"/>
              <a:gd name="T17" fmla="*/ 0 h 144"/>
              <a:gd name="T18" fmla="*/ 6767 w 8480"/>
              <a:gd name="T19" fmla="*/ 0 h 144"/>
              <a:gd name="T20" fmla="*/ 6795 w 8480"/>
              <a:gd name="T21" fmla="*/ 28 h 144"/>
              <a:gd name="T22" fmla="*/ 6795 w 8480"/>
              <a:gd name="T23" fmla="*/ 116 h 144"/>
              <a:gd name="T24" fmla="*/ 6823 w 8480"/>
              <a:gd name="T25" fmla="*/ 144 h 144"/>
              <a:gd name="T26" fmla="*/ 8480 w 8480"/>
              <a:gd name="T27" fmla="*/ 144 h 144"/>
              <a:gd name="connsiteX0" fmla="*/ 0 w 9085"/>
              <a:gd name="connsiteY0" fmla="*/ 0 h 10000"/>
              <a:gd name="connsiteX1" fmla="*/ 33 w 9085"/>
              <a:gd name="connsiteY1" fmla="*/ 1944 h 10000"/>
              <a:gd name="connsiteX2" fmla="*/ 33 w 9085"/>
              <a:gd name="connsiteY2" fmla="*/ 7917 h 10000"/>
              <a:gd name="connsiteX3" fmla="*/ 65 w 9085"/>
              <a:gd name="connsiteY3" fmla="*/ 9861 h 10000"/>
              <a:gd name="connsiteX4" fmla="*/ 2451 w 9085"/>
              <a:gd name="connsiteY4" fmla="*/ 9861 h 10000"/>
              <a:gd name="connsiteX5" fmla="*/ 2484 w 9085"/>
              <a:gd name="connsiteY5" fmla="*/ 7917 h 10000"/>
              <a:gd name="connsiteX6" fmla="*/ 2484 w 9085"/>
              <a:gd name="connsiteY6" fmla="*/ 1944 h 10000"/>
              <a:gd name="connsiteX7" fmla="*/ 2517 w 9085"/>
              <a:gd name="connsiteY7" fmla="*/ 0 h 10000"/>
              <a:gd name="connsiteX8" fmla="*/ 7065 w 9085"/>
              <a:gd name="connsiteY8" fmla="*/ 0 h 10000"/>
              <a:gd name="connsiteX9" fmla="*/ 7098 w 9085"/>
              <a:gd name="connsiteY9" fmla="*/ 1944 h 10000"/>
              <a:gd name="connsiteX10" fmla="*/ 7098 w 9085"/>
              <a:gd name="connsiteY10" fmla="*/ 8056 h 10000"/>
              <a:gd name="connsiteX11" fmla="*/ 7131 w 9085"/>
              <a:gd name="connsiteY11" fmla="*/ 10000 h 10000"/>
              <a:gd name="connsiteX12" fmla="*/ 9085 w 9085"/>
              <a:gd name="connsiteY12" fmla="*/ 10000 h 10000"/>
              <a:gd name="connsiteX0" fmla="*/ 0 w 9964"/>
              <a:gd name="connsiteY0" fmla="*/ 1944 h 10000"/>
              <a:gd name="connsiteX1" fmla="*/ 0 w 9964"/>
              <a:gd name="connsiteY1" fmla="*/ 7917 h 10000"/>
              <a:gd name="connsiteX2" fmla="*/ 36 w 9964"/>
              <a:gd name="connsiteY2" fmla="*/ 9861 h 10000"/>
              <a:gd name="connsiteX3" fmla="*/ 2662 w 9964"/>
              <a:gd name="connsiteY3" fmla="*/ 9861 h 10000"/>
              <a:gd name="connsiteX4" fmla="*/ 2698 w 9964"/>
              <a:gd name="connsiteY4" fmla="*/ 7917 h 10000"/>
              <a:gd name="connsiteX5" fmla="*/ 2698 w 9964"/>
              <a:gd name="connsiteY5" fmla="*/ 1944 h 10000"/>
              <a:gd name="connsiteX6" fmla="*/ 2735 w 9964"/>
              <a:gd name="connsiteY6" fmla="*/ 0 h 10000"/>
              <a:gd name="connsiteX7" fmla="*/ 7741 w 9964"/>
              <a:gd name="connsiteY7" fmla="*/ 0 h 10000"/>
              <a:gd name="connsiteX8" fmla="*/ 7777 w 9964"/>
              <a:gd name="connsiteY8" fmla="*/ 1944 h 10000"/>
              <a:gd name="connsiteX9" fmla="*/ 7777 w 9964"/>
              <a:gd name="connsiteY9" fmla="*/ 8056 h 10000"/>
              <a:gd name="connsiteX10" fmla="*/ 7813 w 9964"/>
              <a:gd name="connsiteY10" fmla="*/ 10000 h 10000"/>
              <a:gd name="connsiteX11" fmla="*/ 9964 w 9964"/>
              <a:gd name="connsiteY11" fmla="*/ 10000 h 10000"/>
              <a:gd name="connsiteX0" fmla="*/ 0 w 10000"/>
              <a:gd name="connsiteY0" fmla="*/ 7917 h 10000"/>
              <a:gd name="connsiteX1" fmla="*/ 36 w 10000"/>
              <a:gd name="connsiteY1" fmla="*/ 9861 h 10000"/>
              <a:gd name="connsiteX2" fmla="*/ 2672 w 10000"/>
              <a:gd name="connsiteY2" fmla="*/ 9861 h 10000"/>
              <a:gd name="connsiteX3" fmla="*/ 2708 w 10000"/>
              <a:gd name="connsiteY3" fmla="*/ 7917 h 10000"/>
              <a:gd name="connsiteX4" fmla="*/ 2708 w 10000"/>
              <a:gd name="connsiteY4" fmla="*/ 1944 h 10000"/>
              <a:gd name="connsiteX5" fmla="*/ 2745 w 10000"/>
              <a:gd name="connsiteY5" fmla="*/ 0 h 10000"/>
              <a:gd name="connsiteX6" fmla="*/ 7769 w 10000"/>
              <a:gd name="connsiteY6" fmla="*/ 0 h 10000"/>
              <a:gd name="connsiteX7" fmla="*/ 7805 w 10000"/>
              <a:gd name="connsiteY7" fmla="*/ 1944 h 10000"/>
              <a:gd name="connsiteX8" fmla="*/ 7805 w 10000"/>
              <a:gd name="connsiteY8" fmla="*/ 8056 h 10000"/>
              <a:gd name="connsiteX9" fmla="*/ 7841 w 10000"/>
              <a:gd name="connsiteY9" fmla="*/ 10000 h 10000"/>
              <a:gd name="connsiteX10" fmla="*/ 10000 w 10000"/>
              <a:gd name="connsiteY10" fmla="*/ 10000 h 10000"/>
              <a:gd name="connsiteX0" fmla="*/ 0 w 9964"/>
              <a:gd name="connsiteY0" fmla="*/ 9861 h 10000"/>
              <a:gd name="connsiteX1" fmla="*/ 2636 w 9964"/>
              <a:gd name="connsiteY1" fmla="*/ 9861 h 10000"/>
              <a:gd name="connsiteX2" fmla="*/ 2672 w 9964"/>
              <a:gd name="connsiteY2" fmla="*/ 7917 h 10000"/>
              <a:gd name="connsiteX3" fmla="*/ 2672 w 9964"/>
              <a:gd name="connsiteY3" fmla="*/ 1944 h 10000"/>
              <a:gd name="connsiteX4" fmla="*/ 2709 w 9964"/>
              <a:gd name="connsiteY4" fmla="*/ 0 h 10000"/>
              <a:gd name="connsiteX5" fmla="*/ 7733 w 9964"/>
              <a:gd name="connsiteY5" fmla="*/ 0 h 10000"/>
              <a:gd name="connsiteX6" fmla="*/ 7769 w 9964"/>
              <a:gd name="connsiteY6" fmla="*/ 1944 h 10000"/>
              <a:gd name="connsiteX7" fmla="*/ 7769 w 9964"/>
              <a:gd name="connsiteY7" fmla="*/ 8056 h 10000"/>
              <a:gd name="connsiteX8" fmla="*/ 7805 w 9964"/>
              <a:gd name="connsiteY8" fmla="*/ 10000 h 10000"/>
              <a:gd name="connsiteX9" fmla="*/ 9964 w 9964"/>
              <a:gd name="connsiteY9" fmla="*/ 10000 h 10000"/>
              <a:gd name="connsiteX0" fmla="*/ 0 w 7833"/>
              <a:gd name="connsiteY0" fmla="*/ 9861 h 10000"/>
              <a:gd name="connsiteX1" fmla="*/ 2646 w 7833"/>
              <a:gd name="connsiteY1" fmla="*/ 9861 h 10000"/>
              <a:gd name="connsiteX2" fmla="*/ 2682 w 7833"/>
              <a:gd name="connsiteY2" fmla="*/ 7917 h 10000"/>
              <a:gd name="connsiteX3" fmla="*/ 2682 w 7833"/>
              <a:gd name="connsiteY3" fmla="*/ 1944 h 10000"/>
              <a:gd name="connsiteX4" fmla="*/ 2719 w 7833"/>
              <a:gd name="connsiteY4" fmla="*/ 0 h 10000"/>
              <a:gd name="connsiteX5" fmla="*/ 7761 w 7833"/>
              <a:gd name="connsiteY5" fmla="*/ 0 h 10000"/>
              <a:gd name="connsiteX6" fmla="*/ 7797 w 7833"/>
              <a:gd name="connsiteY6" fmla="*/ 1944 h 10000"/>
              <a:gd name="connsiteX7" fmla="*/ 7797 w 7833"/>
              <a:gd name="connsiteY7" fmla="*/ 8056 h 10000"/>
              <a:gd name="connsiteX8" fmla="*/ 7833 w 7833"/>
              <a:gd name="connsiteY8" fmla="*/ 10000 h 10000"/>
              <a:gd name="connsiteX0" fmla="*/ 0 w 9954"/>
              <a:gd name="connsiteY0" fmla="*/ 9861 h 9861"/>
              <a:gd name="connsiteX1" fmla="*/ 3378 w 9954"/>
              <a:gd name="connsiteY1" fmla="*/ 9861 h 9861"/>
              <a:gd name="connsiteX2" fmla="*/ 3424 w 9954"/>
              <a:gd name="connsiteY2" fmla="*/ 7917 h 9861"/>
              <a:gd name="connsiteX3" fmla="*/ 3424 w 9954"/>
              <a:gd name="connsiteY3" fmla="*/ 1944 h 9861"/>
              <a:gd name="connsiteX4" fmla="*/ 3471 w 9954"/>
              <a:gd name="connsiteY4" fmla="*/ 0 h 9861"/>
              <a:gd name="connsiteX5" fmla="*/ 9908 w 9954"/>
              <a:gd name="connsiteY5" fmla="*/ 0 h 9861"/>
              <a:gd name="connsiteX6" fmla="*/ 9954 w 9954"/>
              <a:gd name="connsiteY6" fmla="*/ 1944 h 9861"/>
              <a:gd name="connsiteX7" fmla="*/ 9954 w 9954"/>
              <a:gd name="connsiteY7" fmla="*/ 8056 h 9861"/>
              <a:gd name="connsiteX0" fmla="*/ 0 w 10000"/>
              <a:gd name="connsiteY0" fmla="*/ 10000 h 10000"/>
              <a:gd name="connsiteX1" fmla="*/ 3394 w 10000"/>
              <a:gd name="connsiteY1" fmla="*/ 10000 h 10000"/>
              <a:gd name="connsiteX2" fmla="*/ 3440 w 10000"/>
              <a:gd name="connsiteY2" fmla="*/ 8029 h 10000"/>
              <a:gd name="connsiteX3" fmla="*/ 3440 w 10000"/>
              <a:gd name="connsiteY3" fmla="*/ 1971 h 10000"/>
              <a:gd name="connsiteX4" fmla="*/ 3487 w 10000"/>
              <a:gd name="connsiteY4" fmla="*/ 0 h 10000"/>
              <a:gd name="connsiteX5" fmla="*/ 9954 w 10000"/>
              <a:gd name="connsiteY5" fmla="*/ 0 h 10000"/>
              <a:gd name="connsiteX6" fmla="*/ 10000 w 10000"/>
              <a:gd name="connsiteY6" fmla="*/ 1971 h 10000"/>
              <a:gd name="connsiteX0" fmla="*/ 0 w 7965"/>
              <a:gd name="connsiteY0" fmla="*/ 9803 h 10000"/>
              <a:gd name="connsiteX1" fmla="*/ 1359 w 7965"/>
              <a:gd name="connsiteY1" fmla="*/ 10000 h 10000"/>
              <a:gd name="connsiteX2" fmla="*/ 1405 w 7965"/>
              <a:gd name="connsiteY2" fmla="*/ 8029 h 10000"/>
              <a:gd name="connsiteX3" fmla="*/ 1405 w 7965"/>
              <a:gd name="connsiteY3" fmla="*/ 1971 h 10000"/>
              <a:gd name="connsiteX4" fmla="*/ 1452 w 7965"/>
              <a:gd name="connsiteY4" fmla="*/ 0 h 10000"/>
              <a:gd name="connsiteX5" fmla="*/ 7919 w 7965"/>
              <a:gd name="connsiteY5" fmla="*/ 0 h 10000"/>
              <a:gd name="connsiteX6" fmla="*/ 7965 w 7965"/>
              <a:gd name="connsiteY6" fmla="*/ 1971 h 10000"/>
              <a:gd name="connsiteX0" fmla="*/ 0 w 10000"/>
              <a:gd name="connsiteY0" fmla="*/ 9803 h 10000"/>
              <a:gd name="connsiteX1" fmla="*/ 1706 w 10000"/>
              <a:gd name="connsiteY1" fmla="*/ 10000 h 10000"/>
              <a:gd name="connsiteX2" fmla="*/ 1764 w 10000"/>
              <a:gd name="connsiteY2" fmla="*/ 8029 h 10000"/>
              <a:gd name="connsiteX3" fmla="*/ 1764 w 10000"/>
              <a:gd name="connsiteY3" fmla="*/ 1971 h 10000"/>
              <a:gd name="connsiteX4" fmla="*/ 1823 w 10000"/>
              <a:gd name="connsiteY4" fmla="*/ 0 h 10000"/>
              <a:gd name="connsiteX5" fmla="*/ 9942 w 10000"/>
              <a:gd name="connsiteY5" fmla="*/ 0 h 10000"/>
              <a:gd name="connsiteX6" fmla="*/ 10000 w 10000"/>
              <a:gd name="connsiteY6" fmla="*/ 1971 h 10000"/>
              <a:gd name="connsiteX0" fmla="*/ 0 w 9295"/>
              <a:gd name="connsiteY0" fmla="*/ 9803 h 10000"/>
              <a:gd name="connsiteX1" fmla="*/ 1001 w 9295"/>
              <a:gd name="connsiteY1" fmla="*/ 10000 h 10000"/>
              <a:gd name="connsiteX2" fmla="*/ 1059 w 9295"/>
              <a:gd name="connsiteY2" fmla="*/ 8029 h 10000"/>
              <a:gd name="connsiteX3" fmla="*/ 1059 w 9295"/>
              <a:gd name="connsiteY3" fmla="*/ 1971 h 10000"/>
              <a:gd name="connsiteX4" fmla="*/ 1118 w 9295"/>
              <a:gd name="connsiteY4" fmla="*/ 0 h 10000"/>
              <a:gd name="connsiteX5" fmla="*/ 9237 w 9295"/>
              <a:gd name="connsiteY5" fmla="*/ 0 h 10000"/>
              <a:gd name="connsiteX6" fmla="*/ 9295 w 9295"/>
              <a:gd name="connsiteY6" fmla="*/ 1971 h 10000"/>
              <a:gd name="connsiteX0" fmla="*/ 0 w 10000"/>
              <a:gd name="connsiteY0" fmla="*/ 10246 h 10246"/>
              <a:gd name="connsiteX1" fmla="*/ 1077 w 10000"/>
              <a:gd name="connsiteY1" fmla="*/ 10000 h 10246"/>
              <a:gd name="connsiteX2" fmla="*/ 1139 w 10000"/>
              <a:gd name="connsiteY2" fmla="*/ 8029 h 10246"/>
              <a:gd name="connsiteX3" fmla="*/ 1139 w 10000"/>
              <a:gd name="connsiteY3" fmla="*/ 1971 h 10246"/>
              <a:gd name="connsiteX4" fmla="*/ 1203 w 10000"/>
              <a:gd name="connsiteY4" fmla="*/ 0 h 10246"/>
              <a:gd name="connsiteX5" fmla="*/ 9938 w 10000"/>
              <a:gd name="connsiteY5" fmla="*/ 0 h 10246"/>
              <a:gd name="connsiteX6" fmla="*/ 10000 w 10000"/>
              <a:gd name="connsiteY6" fmla="*/ 1971 h 10246"/>
              <a:gd name="connsiteX0" fmla="*/ 0 w 10000"/>
              <a:gd name="connsiteY0" fmla="*/ 9951 h 10000"/>
              <a:gd name="connsiteX1" fmla="*/ 1077 w 10000"/>
              <a:gd name="connsiteY1" fmla="*/ 10000 h 10000"/>
              <a:gd name="connsiteX2" fmla="*/ 1139 w 10000"/>
              <a:gd name="connsiteY2" fmla="*/ 8029 h 10000"/>
              <a:gd name="connsiteX3" fmla="*/ 1139 w 10000"/>
              <a:gd name="connsiteY3" fmla="*/ 1971 h 10000"/>
              <a:gd name="connsiteX4" fmla="*/ 1203 w 10000"/>
              <a:gd name="connsiteY4" fmla="*/ 0 h 10000"/>
              <a:gd name="connsiteX5" fmla="*/ 9938 w 10000"/>
              <a:gd name="connsiteY5" fmla="*/ 0 h 10000"/>
              <a:gd name="connsiteX6" fmla="*/ 10000 w 10000"/>
              <a:gd name="connsiteY6" fmla="*/ 1971 h 10000"/>
              <a:gd name="connsiteX0" fmla="*/ 0 w 10000"/>
              <a:gd name="connsiteY0" fmla="*/ 9951 h 10000"/>
              <a:gd name="connsiteX1" fmla="*/ 1077 w 10000"/>
              <a:gd name="connsiteY1" fmla="*/ 10000 h 10000"/>
              <a:gd name="connsiteX2" fmla="*/ 1139 w 10000"/>
              <a:gd name="connsiteY2" fmla="*/ 8029 h 10000"/>
              <a:gd name="connsiteX3" fmla="*/ 1139 w 10000"/>
              <a:gd name="connsiteY3" fmla="*/ 1971 h 10000"/>
              <a:gd name="connsiteX4" fmla="*/ 1203 w 10000"/>
              <a:gd name="connsiteY4" fmla="*/ 0 h 10000"/>
              <a:gd name="connsiteX5" fmla="*/ 10000 w 10000"/>
              <a:gd name="connsiteY5" fmla="*/ 1971 h 10000"/>
              <a:gd name="connsiteX0" fmla="*/ 0 w 8215"/>
              <a:gd name="connsiteY0" fmla="*/ 12209 h 12258"/>
              <a:gd name="connsiteX1" fmla="*/ 1077 w 8215"/>
              <a:gd name="connsiteY1" fmla="*/ 12258 h 12258"/>
              <a:gd name="connsiteX2" fmla="*/ 1139 w 8215"/>
              <a:gd name="connsiteY2" fmla="*/ 10287 h 12258"/>
              <a:gd name="connsiteX3" fmla="*/ 1139 w 8215"/>
              <a:gd name="connsiteY3" fmla="*/ 4229 h 12258"/>
              <a:gd name="connsiteX4" fmla="*/ 1203 w 8215"/>
              <a:gd name="connsiteY4" fmla="*/ 2258 h 12258"/>
              <a:gd name="connsiteX5" fmla="*/ 8215 w 8215"/>
              <a:gd name="connsiteY5" fmla="*/ 0 h 12258"/>
              <a:gd name="connsiteX0" fmla="*/ 0 w 10000"/>
              <a:gd name="connsiteY0" fmla="*/ 8195 h 8235"/>
              <a:gd name="connsiteX1" fmla="*/ 1311 w 10000"/>
              <a:gd name="connsiteY1" fmla="*/ 8235 h 8235"/>
              <a:gd name="connsiteX2" fmla="*/ 1386 w 10000"/>
              <a:gd name="connsiteY2" fmla="*/ 6627 h 8235"/>
              <a:gd name="connsiteX3" fmla="*/ 1386 w 10000"/>
              <a:gd name="connsiteY3" fmla="*/ 1685 h 8235"/>
              <a:gd name="connsiteX4" fmla="*/ 1464 w 10000"/>
              <a:gd name="connsiteY4" fmla="*/ 77 h 8235"/>
              <a:gd name="connsiteX5" fmla="*/ 10000 w 10000"/>
              <a:gd name="connsiteY5" fmla="*/ 0 h 8235"/>
              <a:gd name="connsiteX0" fmla="*/ 0 w 10000"/>
              <a:gd name="connsiteY0" fmla="*/ 9951 h 10000"/>
              <a:gd name="connsiteX1" fmla="*/ 1311 w 10000"/>
              <a:gd name="connsiteY1" fmla="*/ 10000 h 10000"/>
              <a:gd name="connsiteX2" fmla="*/ 1386 w 10000"/>
              <a:gd name="connsiteY2" fmla="*/ 8047 h 10000"/>
              <a:gd name="connsiteX3" fmla="*/ 1386 w 10000"/>
              <a:gd name="connsiteY3" fmla="*/ 2046 h 10000"/>
              <a:gd name="connsiteX4" fmla="*/ 1464 w 10000"/>
              <a:gd name="connsiteY4" fmla="*/ 94 h 10000"/>
              <a:gd name="connsiteX5" fmla="*/ 10000 w 10000"/>
              <a:gd name="connsiteY5" fmla="*/ 0 h 10000"/>
              <a:gd name="connsiteX0" fmla="*/ 0 w 9993"/>
              <a:gd name="connsiteY0" fmla="*/ 9857 h 9906"/>
              <a:gd name="connsiteX1" fmla="*/ 1311 w 9993"/>
              <a:gd name="connsiteY1" fmla="*/ 9906 h 9906"/>
              <a:gd name="connsiteX2" fmla="*/ 1386 w 9993"/>
              <a:gd name="connsiteY2" fmla="*/ 7953 h 9906"/>
              <a:gd name="connsiteX3" fmla="*/ 1386 w 9993"/>
              <a:gd name="connsiteY3" fmla="*/ 1952 h 9906"/>
              <a:gd name="connsiteX4" fmla="*/ 1464 w 9993"/>
              <a:gd name="connsiteY4" fmla="*/ 0 h 9906"/>
              <a:gd name="connsiteX5" fmla="*/ 9993 w 9993"/>
              <a:gd name="connsiteY5" fmla="*/ 101 h 9906"/>
              <a:gd name="connsiteX0" fmla="*/ 0 w 10007"/>
              <a:gd name="connsiteY0" fmla="*/ 10439 h 10488"/>
              <a:gd name="connsiteX1" fmla="*/ 1312 w 10007"/>
              <a:gd name="connsiteY1" fmla="*/ 10488 h 10488"/>
              <a:gd name="connsiteX2" fmla="*/ 1387 w 10007"/>
              <a:gd name="connsiteY2" fmla="*/ 8516 h 10488"/>
              <a:gd name="connsiteX3" fmla="*/ 1387 w 10007"/>
              <a:gd name="connsiteY3" fmla="*/ 2459 h 10488"/>
              <a:gd name="connsiteX4" fmla="*/ 1465 w 10007"/>
              <a:gd name="connsiteY4" fmla="*/ 488 h 10488"/>
              <a:gd name="connsiteX5" fmla="*/ 10007 w 10007"/>
              <a:gd name="connsiteY5" fmla="*/ 0 h 10488"/>
              <a:gd name="connsiteX0" fmla="*/ 0 w 10007"/>
              <a:gd name="connsiteY0" fmla="*/ 9951 h 10000"/>
              <a:gd name="connsiteX1" fmla="*/ 1312 w 10007"/>
              <a:gd name="connsiteY1" fmla="*/ 10000 h 10000"/>
              <a:gd name="connsiteX2" fmla="*/ 1387 w 10007"/>
              <a:gd name="connsiteY2" fmla="*/ 8028 h 10000"/>
              <a:gd name="connsiteX3" fmla="*/ 1387 w 10007"/>
              <a:gd name="connsiteY3" fmla="*/ 1971 h 10000"/>
              <a:gd name="connsiteX4" fmla="*/ 1465 w 10007"/>
              <a:gd name="connsiteY4" fmla="*/ 0 h 10000"/>
              <a:gd name="connsiteX5" fmla="*/ 10007 w 10007"/>
              <a:gd name="connsiteY5" fmla="*/ 496 h 10000"/>
              <a:gd name="connsiteX0" fmla="*/ 0 w 10007"/>
              <a:gd name="connsiteY0" fmla="*/ 9951 h 10000"/>
              <a:gd name="connsiteX1" fmla="*/ 1312 w 10007"/>
              <a:gd name="connsiteY1" fmla="*/ 10000 h 10000"/>
              <a:gd name="connsiteX2" fmla="*/ 1387 w 10007"/>
              <a:gd name="connsiteY2" fmla="*/ 8028 h 10000"/>
              <a:gd name="connsiteX3" fmla="*/ 1387 w 10007"/>
              <a:gd name="connsiteY3" fmla="*/ 1971 h 10000"/>
              <a:gd name="connsiteX4" fmla="*/ 1465 w 10007"/>
              <a:gd name="connsiteY4" fmla="*/ 0 h 10000"/>
              <a:gd name="connsiteX5" fmla="*/ 10007 w 10007"/>
              <a:gd name="connsiteY5" fmla="*/ 1480 h 10000"/>
              <a:gd name="connsiteX0" fmla="*/ 0 w 10007"/>
              <a:gd name="connsiteY0" fmla="*/ 9951 h 10000"/>
              <a:gd name="connsiteX1" fmla="*/ 1312 w 10007"/>
              <a:gd name="connsiteY1" fmla="*/ 10000 h 10000"/>
              <a:gd name="connsiteX2" fmla="*/ 1387 w 10007"/>
              <a:gd name="connsiteY2" fmla="*/ 8028 h 10000"/>
              <a:gd name="connsiteX3" fmla="*/ 1387 w 10007"/>
              <a:gd name="connsiteY3" fmla="*/ 1971 h 10000"/>
              <a:gd name="connsiteX4" fmla="*/ 1465 w 10007"/>
              <a:gd name="connsiteY4" fmla="*/ 0 h 10000"/>
              <a:gd name="connsiteX5" fmla="*/ 10007 w 10007"/>
              <a:gd name="connsiteY5" fmla="*/ 496 h 10000"/>
              <a:gd name="connsiteX0" fmla="*/ 0 w 10021"/>
              <a:gd name="connsiteY0" fmla="*/ 10045 h 10094"/>
              <a:gd name="connsiteX1" fmla="*/ 1312 w 10021"/>
              <a:gd name="connsiteY1" fmla="*/ 10094 h 10094"/>
              <a:gd name="connsiteX2" fmla="*/ 1387 w 10021"/>
              <a:gd name="connsiteY2" fmla="*/ 8122 h 10094"/>
              <a:gd name="connsiteX3" fmla="*/ 1387 w 10021"/>
              <a:gd name="connsiteY3" fmla="*/ 2065 h 10094"/>
              <a:gd name="connsiteX4" fmla="*/ 1465 w 10021"/>
              <a:gd name="connsiteY4" fmla="*/ 94 h 10094"/>
              <a:gd name="connsiteX5" fmla="*/ 10021 w 10021"/>
              <a:gd name="connsiteY5" fmla="*/ 0 h 10094"/>
              <a:gd name="connsiteX0" fmla="*/ 0 w 10021"/>
              <a:gd name="connsiteY0" fmla="*/ 10438 h 10487"/>
              <a:gd name="connsiteX1" fmla="*/ 1312 w 10021"/>
              <a:gd name="connsiteY1" fmla="*/ 10487 h 10487"/>
              <a:gd name="connsiteX2" fmla="*/ 1387 w 10021"/>
              <a:gd name="connsiteY2" fmla="*/ 8515 h 10487"/>
              <a:gd name="connsiteX3" fmla="*/ 1387 w 10021"/>
              <a:gd name="connsiteY3" fmla="*/ 2458 h 10487"/>
              <a:gd name="connsiteX4" fmla="*/ 1465 w 10021"/>
              <a:gd name="connsiteY4" fmla="*/ 487 h 10487"/>
              <a:gd name="connsiteX5" fmla="*/ 10021 w 10021"/>
              <a:gd name="connsiteY5" fmla="*/ 0 h 10487"/>
              <a:gd name="connsiteX0" fmla="*/ 0 w 10021"/>
              <a:gd name="connsiteY0" fmla="*/ 9951 h 10000"/>
              <a:gd name="connsiteX1" fmla="*/ 1312 w 10021"/>
              <a:gd name="connsiteY1" fmla="*/ 10000 h 10000"/>
              <a:gd name="connsiteX2" fmla="*/ 1387 w 10021"/>
              <a:gd name="connsiteY2" fmla="*/ 8028 h 10000"/>
              <a:gd name="connsiteX3" fmla="*/ 1387 w 10021"/>
              <a:gd name="connsiteY3" fmla="*/ 1971 h 10000"/>
              <a:gd name="connsiteX4" fmla="*/ 1465 w 10021"/>
              <a:gd name="connsiteY4" fmla="*/ 0 h 10000"/>
              <a:gd name="connsiteX5" fmla="*/ 10021 w 10021"/>
              <a:gd name="connsiteY5" fmla="*/ 300 h 10000"/>
              <a:gd name="connsiteX0" fmla="*/ 0 w 10021"/>
              <a:gd name="connsiteY0" fmla="*/ 10241 h 10290"/>
              <a:gd name="connsiteX1" fmla="*/ 1312 w 10021"/>
              <a:gd name="connsiteY1" fmla="*/ 10290 h 10290"/>
              <a:gd name="connsiteX2" fmla="*/ 1387 w 10021"/>
              <a:gd name="connsiteY2" fmla="*/ 8318 h 10290"/>
              <a:gd name="connsiteX3" fmla="*/ 1387 w 10021"/>
              <a:gd name="connsiteY3" fmla="*/ 2261 h 10290"/>
              <a:gd name="connsiteX4" fmla="*/ 1465 w 10021"/>
              <a:gd name="connsiteY4" fmla="*/ 290 h 10290"/>
              <a:gd name="connsiteX5" fmla="*/ 10021 w 10021"/>
              <a:gd name="connsiteY5" fmla="*/ 0 h 10290"/>
              <a:gd name="connsiteX0" fmla="*/ 0 w 10018"/>
              <a:gd name="connsiteY0" fmla="*/ 10020 h 10069"/>
              <a:gd name="connsiteX1" fmla="*/ 1312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69"/>
              <a:gd name="connsiteX1" fmla="*/ 1312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217"/>
              <a:gd name="connsiteX1" fmla="*/ 1312 w 10018"/>
              <a:gd name="connsiteY1" fmla="*/ 10217 h 10217"/>
              <a:gd name="connsiteX2" fmla="*/ 1387 w 10018"/>
              <a:gd name="connsiteY2" fmla="*/ 8097 h 10217"/>
              <a:gd name="connsiteX3" fmla="*/ 1387 w 10018"/>
              <a:gd name="connsiteY3" fmla="*/ 2040 h 10217"/>
              <a:gd name="connsiteX4" fmla="*/ 1465 w 10018"/>
              <a:gd name="connsiteY4" fmla="*/ 69 h 10217"/>
              <a:gd name="connsiteX5" fmla="*/ 10018 w 10018"/>
              <a:gd name="connsiteY5" fmla="*/ 0 h 10217"/>
              <a:gd name="connsiteX0" fmla="*/ 0 w 10018"/>
              <a:gd name="connsiteY0" fmla="*/ 10020 h 10069"/>
              <a:gd name="connsiteX1" fmla="*/ 1312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69"/>
              <a:gd name="connsiteX1" fmla="*/ 1312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20"/>
              <a:gd name="connsiteX1" fmla="*/ 1312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12 w 10018"/>
              <a:gd name="connsiteY1" fmla="*/ 9921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9"/>
              <a:gd name="connsiteX1" fmla="*/ 1309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69"/>
              <a:gd name="connsiteX1" fmla="*/ 1309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20"/>
              <a:gd name="connsiteX1" fmla="*/ 1309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09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09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9"/>
              <a:gd name="connsiteX1" fmla="*/ 1304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20"/>
              <a:gd name="connsiteX1" fmla="*/ 1304 w 10018"/>
              <a:gd name="connsiteY1" fmla="*/ 9921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142"/>
              <a:gd name="connsiteX1" fmla="*/ 1304 w 10018"/>
              <a:gd name="connsiteY1" fmla="*/ 10142 h 10142"/>
              <a:gd name="connsiteX2" fmla="*/ 1387 w 10018"/>
              <a:gd name="connsiteY2" fmla="*/ 8097 h 10142"/>
              <a:gd name="connsiteX3" fmla="*/ 1387 w 10018"/>
              <a:gd name="connsiteY3" fmla="*/ 2040 h 10142"/>
              <a:gd name="connsiteX4" fmla="*/ 1465 w 10018"/>
              <a:gd name="connsiteY4" fmla="*/ 69 h 10142"/>
              <a:gd name="connsiteX5" fmla="*/ 10018 w 10018"/>
              <a:gd name="connsiteY5" fmla="*/ 0 h 10142"/>
              <a:gd name="connsiteX0" fmla="*/ 0 w 10018"/>
              <a:gd name="connsiteY0" fmla="*/ 10020 h 10142"/>
              <a:gd name="connsiteX1" fmla="*/ 1309 w 10018"/>
              <a:gd name="connsiteY1" fmla="*/ 10142 h 10142"/>
              <a:gd name="connsiteX2" fmla="*/ 1387 w 10018"/>
              <a:gd name="connsiteY2" fmla="*/ 8097 h 10142"/>
              <a:gd name="connsiteX3" fmla="*/ 1387 w 10018"/>
              <a:gd name="connsiteY3" fmla="*/ 2040 h 10142"/>
              <a:gd name="connsiteX4" fmla="*/ 1465 w 10018"/>
              <a:gd name="connsiteY4" fmla="*/ 69 h 10142"/>
              <a:gd name="connsiteX5" fmla="*/ 10018 w 10018"/>
              <a:gd name="connsiteY5" fmla="*/ 0 h 10142"/>
              <a:gd name="connsiteX0" fmla="*/ 0 w 10018"/>
              <a:gd name="connsiteY0" fmla="*/ 10020 h 10020"/>
              <a:gd name="connsiteX1" fmla="*/ 1309 w 10018"/>
              <a:gd name="connsiteY1" fmla="*/ 9921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01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9"/>
              <a:gd name="connsiteX1" fmla="*/ 1298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20"/>
              <a:gd name="connsiteX1" fmla="*/ 1301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01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290"/>
              <a:gd name="connsiteX1" fmla="*/ 1301 w 10018"/>
              <a:gd name="connsiteY1" fmla="*/ 10290 h 10290"/>
              <a:gd name="connsiteX2" fmla="*/ 1387 w 10018"/>
              <a:gd name="connsiteY2" fmla="*/ 8097 h 10290"/>
              <a:gd name="connsiteX3" fmla="*/ 1387 w 10018"/>
              <a:gd name="connsiteY3" fmla="*/ 2040 h 10290"/>
              <a:gd name="connsiteX4" fmla="*/ 1465 w 10018"/>
              <a:gd name="connsiteY4" fmla="*/ 69 h 10290"/>
              <a:gd name="connsiteX5" fmla="*/ 10018 w 10018"/>
              <a:gd name="connsiteY5" fmla="*/ 0 h 10290"/>
              <a:gd name="connsiteX0" fmla="*/ 0 w 10018"/>
              <a:gd name="connsiteY0" fmla="*/ 10020 h 10020"/>
              <a:gd name="connsiteX1" fmla="*/ 1301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9"/>
              <a:gd name="connsiteX1" fmla="*/ 1301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73"/>
              <a:gd name="connsiteX1" fmla="*/ 1301 w 10018"/>
              <a:gd name="connsiteY1" fmla="*/ 10069 h 10073"/>
              <a:gd name="connsiteX2" fmla="*/ 1387 w 10018"/>
              <a:gd name="connsiteY2" fmla="*/ 8097 h 10073"/>
              <a:gd name="connsiteX3" fmla="*/ 1387 w 10018"/>
              <a:gd name="connsiteY3" fmla="*/ 2040 h 10073"/>
              <a:gd name="connsiteX4" fmla="*/ 1465 w 10018"/>
              <a:gd name="connsiteY4" fmla="*/ 69 h 10073"/>
              <a:gd name="connsiteX5" fmla="*/ 10018 w 10018"/>
              <a:gd name="connsiteY5" fmla="*/ 0 h 10073"/>
              <a:gd name="connsiteX0" fmla="*/ 70 w 10088"/>
              <a:gd name="connsiteY0" fmla="*/ 10020 h 10069"/>
              <a:gd name="connsiteX1" fmla="*/ 1371 w 10088"/>
              <a:gd name="connsiteY1" fmla="*/ 10069 h 10069"/>
              <a:gd name="connsiteX2" fmla="*/ 1457 w 10088"/>
              <a:gd name="connsiteY2" fmla="*/ 8097 h 10069"/>
              <a:gd name="connsiteX3" fmla="*/ 1457 w 10088"/>
              <a:gd name="connsiteY3" fmla="*/ 2040 h 10069"/>
              <a:gd name="connsiteX4" fmla="*/ 1535 w 10088"/>
              <a:gd name="connsiteY4" fmla="*/ 69 h 10069"/>
              <a:gd name="connsiteX5" fmla="*/ 10088 w 10088"/>
              <a:gd name="connsiteY5" fmla="*/ 0 h 10069"/>
              <a:gd name="connsiteX0" fmla="*/ 46 w 10064"/>
              <a:gd name="connsiteY0" fmla="*/ 10020 h 10230"/>
              <a:gd name="connsiteX1" fmla="*/ 1347 w 10064"/>
              <a:gd name="connsiteY1" fmla="*/ 10069 h 10230"/>
              <a:gd name="connsiteX2" fmla="*/ 1433 w 10064"/>
              <a:gd name="connsiteY2" fmla="*/ 8097 h 10230"/>
              <a:gd name="connsiteX3" fmla="*/ 1433 w 10064"/>
              <a:gd name="connsiteY3" fmla="*/ 2040 h 10230"/>
              <a:gd name="connsiteX4" fmla="*/ 1511 w 10064"/>
              <a:gd name="connsiteY4" fmla="*/ 69 h 10230"/>
              <a:gd name="connsiteX5" fmla="*/ 10064 w 10064"/>
              <a:gd name="connsiteY5" fmla="*/ 0 h 10230"/>
              <a:gd name="connsiteX0" fmla="*/ 50 w 10068"/>
              <a:gd name="connsiteY0" fmla="*/ 10020 h 10133"/>
              <a:gd name="connsiteX1" fmla="*/ 1351 w 10068"/>
              <a:gd name="connsiteY1" fmla="*/ 10069 h 10133"/>
              <a:gd name="connsiteX2" fmla="*/ 1437 w 10068"/>
              <a:gd name="connsiteY2" fmla="*/ 8097 h 10133"/>
              <a:gd name="connsiteX3" fmla="*/ 1437 w 10068"/>
              <a:gd name="connsiteY3" fmla="*/ 2040 h 10133"/>
              <a:gd name="connsiteX4" fmla="*/ 1515 w 10068"/>
              <a:gd name="connsiteY4" fmla="*/ 69 h 10133"/>
              <a:gd name="connsiteX5" fmla="*/ 10068 w 10068"/>
              <a:gd name="connsiteY5" fmla="*/ 0 h 10133"/>
              <a:gd name="connsiteX0" fmla="*/ 0 w 10018"/>
              <a:gd name="connsiteY0" fmla="*/ 10020 h 10073"/>
              <a:gd name="connsiteX1" fmla="*/ 1301 w 10018"/>
              <a:gd name="connsiteY1" fmla="*/ 10069 h 10073"/>
              <a:gd name="connsiteX2" fmla="*/ 1387 w 10018"/>
              <a:gd name="connsiteY2" fmla="*/ 8097 h 10073"/>
              <a:gd name="connsiteX3" fmla="*/ 1387 w 10018"/>
              <a:gd name="connsiteY3" fmla="*/ 2040 h 10073"/>
              <a:gd name="connsiteX4" fmla="*/ 1465 w 10018"/>
              <a:gd name="connsiteY4" fmla="*/ 69 h 10073"/>
              <a:gd name="connsiteX5" fmla="*/ 10018 w 10018"/>
              <a:gd name="connsiteY5" fmla="*/ 0 h 10073"/>
              <a:gd name="connsiteX0" fmla="*/ 0 w 10018"/>
              <a:gd name="connsiteY0" fmla="*/ 10020 h 10073"/>
              <a:gd name="connsiteX1" fmla="*/ 1301 w 10018"/>
              <a:gd name="connsiteY1" fmla="*/ 10069 h 10073"/>
              <a:gd name="connsiteX2" fmla="*/ 1387 w 10018"/>
              <a:gd name="connsiteY2" fmla="*/ 8097 h 10073"/>
              <a:gd name="connsiteX3" fmla="*/ 1387 w 10018"/>
              <a:gd name="connsiteY3" fmla="*/ 2040 h 10073"/>
              <a:gd name="connsiteX4" fmla="*/ 1465 w 10018"/>
              <a:gd name="connsiteY4" fmla="*/ 69 h 10073"/>
              <a:gd name="connsiteX5" fmla="*/ 10018 w 10018"/>
              <a:gd name="connsiteY5" fmla="*/ 0 h 10073"/>
              <a:gd name="connsiteX0" fmla="*/ 3 w 10021"/>
              <a:gd name="connsiteY0" fmla="*/ 10020 h 10069"/>
              <a:gd name="connsiteX1" fmla="*/ 1304 w 10021"/>
              <a:gd name="connsiteY1" fmla="*/ 10069 h 10069"/>
              <a:gd name="connsiteX2" fmla="*/ 1390 w 10021"/>
              <a:gd name="connsiteY2" fmla="*/ 8097 h 10069"/>
              <a:gd name="connsiteX3" fmla="*/ 1390 w 10021"/>
              <a:gd name="connsiteY3" fmla="*/ 2040 h 10069"/>
              <a:gd name="connsiteX4" fmla="*/ 1468 w 10021"/>
              <a:gd name="connsiteY4" fmla="*/ 69 h 10069"/>
              <a:gd name="connsiteX5" fmla="*/ 10021 w 10021"/>
              <a:gd name="connsiteY5" fmla="*/ 0 h 10069"/>
              <a:gd name="connsiteX0" fmla="*/ 3 w 10021"/>
              <a:gd name="connsiteY0" fmla="*/ 10020 h 10217"/>
              <a:gd name="connsiteX1" fmla="*/ 1304 w 10021"/>
              <a:gd name="connsiteY1" fmla="*/ 10217 h 10217"/>
              <a:gd name="connsiteX2" fmla="*/ 1390 w 10021"/>
              <a:gd name="connsiteY2" fmla="*/ 8097 h 10217"/>
              <a:gd name="connsiteX3" fmla="*/ 1390 w 10021"/>
              <a:gd name="connsiteY3" fmla="*/ 2040 h 10217"/>
              <a:gd name="connsiteX4" fmla="*/ 1468 w 10021"/>
              <a:gd name="connsiteY4" fmla="*/ 69 h 10217"/>
              <a:gd name="connsiteX5" fmla="*/ 10021 w 10021"/>
              <a:gd name="connsiteY5" fmla="*/ 0 h 10217"/>
              <a:gd name="connsiteX0" fmla="*/ 3 w 10021"/>
              <a:gd name="connsiteY0" fmla="*/ 10020 h 10020"/>
              <a:gd name="connsiteX1" fmla="*/ 1304 w 10021"/>
              <a:gd name="connsiteY1" fmla="*/ 9996 h 10020"/>
              <a:gd name="connsiteX2" fmla="*/ 1390 w 10021"/>
              <a:gd name="connsiteY2" fmla="*/ 8097 h 10020"/>
              <a:gd name="connsiteX3" fmla="*/ 1390 w 10021"/>
              <a:gd name="connsiteY3" fmla="*/ 2040 h 10020"/>
              <a:gd name="connsiteX4" fmla="*/ 1468 w 10021"/>
              <a:gd name="connsiteY4" fmla="*/ 69 h 10020"/>
              <a:gd name="connsiteX5" fmla="*/ 10021 w 10021"/>
              <a:gd name="connsiteY5" fmla="*/ 0 h 10020"/>
              <a:gd name="connsiteX0" fmla="*/ 0 w 10018"/>
              <a:gd name="connsiteY0" fmla="*/ 10020 h 10020"/>
              <a:gd name="connsiteX1" fmla="*/ 1301 w 10018"/>
              <a:gd name="connsiteY1" fmla="*/ 9996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4"/>
              <a:gd name="connsiteX1" fmla="*/ 1301 w 10018"/>
              <a:gd name="connsiteY1" fmla="*/ 9996 h 10064"/>
              <a:gd name="connsiteX2" fmla="*/ 1387 w 10018"/>
              <a:gd name="connsiteY2" fmla="*/ 8097 h 10064"/>
              <a:gd name="connsiteX3" fmla="*/ 1387 w 10018"/>
              <a:gd name="connsiteY3" fmla="*/ 2040 h 10064"/>
              <a:gd name="connsiteX4" fmla="*/ 1465 w 10018"/>
              <a:gd name="connsiteY4" fmla="*/ 69 h 10064"/>
              <a:gd name="connsiteX5" fmla="*/ 10018 w 10018"/>
              <a:gd name="connsiteY5" fmla="*/ 0 h 10064"/>
              <a:gd name="connsiteX0" fmla="*/ 0 w 10018"/>
              <a:gd name="connsiteY0" fmla="*/ 10020 h 10047"/>
              <a:gd name="connsiteX1" fmla="*/ 1301 w 10018"/>
              <a:gd name="connsiteY1" fmla="*/ 9996 h 10047"/>
              <a:gd name="connsiteX2" fmla="*/ 1387 w 10018"/>
              <a:gd name="connsiteY2" fmla="*/ 8097 h 10047"/>
              <a:gd name="connsiteX3" fmla="*/ 1387 w 10018"/>
              <a:gd name="connsiteY3" fmla="*/ 2040 h 10047"/>
              <a:gd name="connsiteX4" fmla="*/ 1465 w 10018"/>
              <a:gd name="connsiteY4" fmla="*/ 69 h 10047"/>
              <a:gd name="connsiteX5" fmla="*/ 10018 w 10018"/>
              <a:gd name="connsiteY5" fmla="*/ 0 h 10047"/>
              <a:gd name="connsiteX0" fmla="*/ 0 w 10018"/>
              <a:gd name="connsiteY0" fmla="*/ 10020 h 10047"/>
              <a:gd name="connsiteX1" fmla="*/ 1301 w 10018"/>
              <a:gd name="connsiteY1" fmla="*/ 9996 h 10047"/>
              <a:gd name="connsiteX2" fmla="*/ 1387 w 10018"/>
              <a:gd name="connsiteY2" fmla="*/ 8097 h 10047"/>
              <a:gd name="connsiteX3" fmla="*/ 1387 w 10018"/>
              <a:gd name="connsiteY3" fmla="*/ 2040 h 10047"/>
              <a:gd name="connsiteX4" fmla="*/ 1465 w 10018"/>
              <a:gd name="connsiteY4" fmla="*/ 69 h 10047"/>
              <a:gd name="connsiteX5" fmla="*/ 10018 w 10018"/>
              <a:gd name="connsiteY5" fmla="*/ 0 h 10047"/>
              <a:gd name="connsiteX0" fmla="*/ 0 w 10018"/>
              <a:gd name="connsiteY0" fmla="*/ 10020 h 10020"/>
              <a:gd name="connsiteX1" fmla="*/ 1301 w 10018"/>
              <a:gd name="connsiteY1" fmla="*/ 9996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8"/>
              <a:gd name="connsiteX1" fmla="*/ 1301 w 10018"/>
              <a:gd name="connsiteY1" fmla="*/ 9996 h 10068"/>
              <a:gd name="connsiteX2" fmla="*/ 1387 w 10018"/>
              <a:gd name="connsiteY2" fmla="*/ 8097 h 10068"/>
              <a:gd name="connsiteX3" fmla="*/ 1387 w 10018"/>
              <a:gd name="connsiteY3" fmla="*/ 2040 h 10068"/>
              <a:gd name="connsiteX4" fmla="*/ 1465 w 10018"/>
              <a:gd name="connsiteY4" fmla="*/ 69 h 10068"/>
              <a:gd name="connsiteX5" fmla="*/ 10018 w 10018"/>
              <a:gd name="connsiteY5" fmla="*/ 0 h 10068"/>
              <a:gd name="connsiteX0" fmla="*/ 0 w 10018"/>
              <a:gd name="connsiteY0" fmla="*/ 10020 h 10020"/>
              <a:gd name="connsiteX1" fmla="*/ 1301 w 10018"/>
              <a:gd name="connsiteY1" fmla="*/ 9996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01 w 10018"/>
              <a:gd name="connsiteY1" fmla="*/ 9996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018" h="10020">
                <a:moveTo>
                  <a:pt x="0" y="10020"/>
                </a:moveTo>
                <a:cubicBezTo>
                  <a:pt x="522" y="10020"/>
                  <a:pt x="1266" y="9996"/>
                  <a:pt x="1301" y="9996"/>
                </a:cubicBezTo>
                <a:cubicBezTo>
                  <a:pt x="1344" y="9996"/>
                  <a:pt x="1387" y="9224"/>
                  <a:pt x="1387" y="8097"/>
                </a:cubicBezTo>
                <a:lnTo>
                  <a:pt x="1387" y="2040"/>
                </a:lnTo>
                <a:cubicBezTo>
                  <a:pt x="1387" y="913"/>
                  <a:pt x="1424" y="69"/>
                  <a:pt x="1465" y="69"/>
                </a:cubicBezTo>
                <a:lnTo>
                  <a:pt x="10018" y="0"/>
                </a:lnTo>
              </a:path>
            </a:pathLst>
          </a:custGeom>
          <a:noFill/>
          <a:ln w="12700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endParaRPr lang="en-US" sz="1800">
              <a:solidFill>
                <a:prstClr val="black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70965791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ubrik 1"/>
          <p:cNvSpPr>
            <a:spLocks noGrp="1"/>
          </p:cNvSpPr>
          <p:nvPr>
            <p:ph type="title"/>
          </p:nvPr>
        </p:nvSpPr>
        <p:spPr>
          <a:xfrm>
            <a:off x="1619250" y="404870"/>
            <a:ext cx="6935788" cy="668338"/>
          </a:xfrm>
        </p:spPr>
        <p:txBody>
          <a:bodyPr/>
          <a:lstStyle/>
          <a:p>
            <a:r>
              <a:rPr lang="sv-SE" smtClean="0"/>
              <a:t>Klicka här för att ändra format</a:t>
            </a:r>
            <a:endParaRPr lang="en-GB" dirty="0"/>
          </a:p>
        </p:txBody>
      </p:sp>
      <p:sp>
        <p:nvSpPr>
          <p:cNvPr id="7" name="Platshållare för innehåll 2"/>
          <p:cNvSpPr>
            <a:spLocks noGrp="1"/>
          </p:cNvSpPr>
          <p:nvPr>
            <p:ph idx="1"/>
          </p:nvPr>
        </p:nvSpPr>
        <p:spPr>
          <a:xfrm>
            <a:off x="1619250" y="1582739"/>
            <a:ext cx="6935788" cy="4078286"/>
          </a:xfrm>
        </p:spPr>
        <p:txBody>
          <a:bodyPr/>
          <a:lstStyle/>
          <a:p>
            <a:pPr lvl="0"/>
            <a:r>
              <a:rPr lang="sv-SE" smtClean="0"/>
              <a:t>Klicka här för att ändra format på bakgrundstexten</a:t>
            </a:r>
          </a:p>
          <a:p>
            <a:pPr lvl="1"/>
            <a:r>
              <a:rPr lang="sv-SE" smtClean="0"/>
              <a:t>Nivå två</a:t>
            </a:r>
          </a:p>
          <a:p>
            <a:pPr lvl="2"/>
            <a:r>
              <a:rPr lang="sv-SE" smtClean="0"/>
              <a:t>Nivå tre</a:t>
            </a:r>
          </a:p>
          <a:p>
            <a:pPr lvl="3"/>
            <a:r>
              <a:rPr lang="sv-SE" smtClean="0"/>
              <a:t>Nivå fyra</a:t>
            </a:r>
          </a:p>
          <a:p>
            <a:pPr lvl="4"/>
            <a:r>
              <a:rPr lang="sv-SE" smtClean="0"/>
              <a:t>Nivå fem</a:t>
            </a:r>
            <a:endParaRPr lang="en-GB" dirty="0"/>
          </a:p>
        </p:txBody>
      </p:sp>
      <p:sp>
        <p:nvSpPr>
          <p:cNvPr id="8" name="Platshållare för datum 3"/>
          <p:cNvSpPr>
            <a:spLocks noGrp="1"/>
          </p:cNvSpPr>
          <p:nvPr>
            <p:ph type="dt" sz="half" idx="10"/>
          </p:nvPr>
        </p:nvSpPr>
        <p:spPr>
          <a:xfrm>
            <a:off x="5580112" y="6288509"/>
            <a:ext cx="2133600" cy="365125"/>
          </a:xfrm>
        </p:spPr>
        <p:txBody>
          <a:bodyPr/>
          <a:lstStyle>
            <a:lvl1pPr>
              <a:defRPr sz="1100"/>
            </a:lvl1pPr>
          </a:lstStyle>
          <a:p>
            <a:fld id="{962FB5EC-3E98-4D81-B234-0D2AA9BD8035}" type="datetime1">
              <a:rPr lang="sv-SE" smtClean="0">
                <a:solidFill>
                  <a:prstClr val="white"/>
                </a:solidFill>
              </a:rPr>
              <a:pPr/>
              <a:t>2019-02-26</a:t>
            </a:fld>
            <a:endParaRPr lang="sv-SE">
              <a:solidFill>
                <a:prstClr val="white"/>
              </a:solidFill>
            </a:endParaRPr>
          </a:p>
        </p:txBody>
      </p:sp>
      <p:sp>
        <p:nvSpPr>
          <p:cNvPr id="9" name="Platshållare för bildnummer 5"/>
          <p:cNvSpPr>
            <a:spLocks noGrp="1"/>
          </p:cNvSpPr>
          <p:nvPr>
            <p:ph type="sldNum" sz="quarter" idx="12"/>
          </p:nvPr>
        </p:nvSpPr>
        <p:spPr>
          <a:xfrm>
            <a:off x="8172399" y="6301410"/>
            <a:ext cx="531863" cy="365125"/>
          </a:xfrm>
        </p:spPr>
        <p:txBody>
          <a:bodyPr/>
          <a:lstStyle>
            <a:lvl1pPr>
              <a:defRPr sz="1100"/>
            </a:lvl1pPr>
          </a:lstStyle>
          <a:p>
            <a:fld id="{680D72F4-1C41-4187-A4BC-492CF086CF40}" type="slidenum">
              <a:rPr lang="sv-SE" smtClean="0">
                <a:solidFill>
                  <a:prstClr val="white"/>
                </a:solidFill>
              </a:rPr>
              <a:pPr/>
              <a:t>‹#›</a:t>
            </a:fld>
            <a:endParaRPr lang="sv-SE">
              <a:solidFill>
                <a:prstClr val="white"/>
              </a:solidFill>
            </a:endParaRPr>
          </a:p>
        </p:txBody>
      </p:sp>
      <p:sp>
        <p:nvSpPr>
          <p:cNvPr id="10" name="Platshållare för sidfot 4"/>
          <p:cNvSpPr>
            <a:spLocks noGrp="1"/>
          </p:cNvSpPr>
          <p:nvPr>
            <p:ph type="ftr" sz="quarter" idx="11"/>
          </p:nvPr>
        </p:nvSpPr>
        <p:spPr>
          <a:xfrm>
            <a:off x="1619250" y="6345300"/>
            <a:ext cx="2895600" cy="365125"/>
          </a:xfrm>
        </p:spPr>
        <p:txBody>
          <a:bodyPr lIns="0" tIns="0" rIns="0" bIns="0" anchor="t"/>
          <a:lstStyle>
            <a:lvl1pPr algn="l">
              <a:lnSpc>
                <a:spcPts val="900"/>
              </a:lnSpc>
              <a:defRPr sz="1100" b="1" cap="all" baseline="0">
                <a:solidFill>
                  <a:schemeClr val="bg1"/>
                </a:solidFill>
              </a:defRPr>
            </a:lvl1pPr>
          </a:lstStyle>
          <a:p>
            <a:endParaRPr lang="sv-SE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2820230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>
          <a:xfrm>
            <a:off x="1619250" y="1582739"/>
            <a:ext cx="3312790" cy="4078286"/>
          </a:xfrm>
        </p:spPr>
        <p:txBody>
          <a:bodyPr/>
          <a:lstStyle/>
          <a:p>
            <a:pPr lvl="0"/>
            <a:r>
              <a:rPr lang="sv-SE" smtClean="0"/>
              <a:t>Klicka här för att ändra format på bakgrundstexten</a:t>
            </a:r>
          </a:p>
          <a:p>
            <a:pPr lvl="1"/>
            <a:r>
              <a:rPr lang="sv-SE" smtClean="0"/>
              <a:t>Nivå två</a:t>
            </a:r>
          </a:p>
          <a:p>
            <a:pPr lvl="2"/>
            <a:r>
              <a:rPr lang="sv-SE" smtClean="0"/>
              <a:t>Nivå tre</a:t>
            </a:r>
          </a:p>
          <a:p>
            <a:pPr lvl="3"/>
            <a:r>
              <a:rPr lang="sv-SE" smtClean="0"/>
              <a:t>Nivå fyra</a:t>
            </a:r>
          </a:p>
          <a:p>
            <a:pPr lvl="4"/>
            <a:r>
              <a:rPr lang="sv-SE" smtClean="0"/>
              <a:t>Nivå fem</a:t>
            </a:r>
            <a:endParaRPr lang="en-GB" dirty="0"/>
          </a:p>
        </p:txBody>
      </p:sp>
      <p:sp>
        <p:nvSpPr>
          <p:cNvPr id="9" name="Platshållare för bild 8"/>
          <p:cNvSpPr>
            <a:spLocks noGrp="1"/>
          </p:cNvSpPr>
          <p:nvPr>
            <p:ph type="pic" sz="quarter" idx="13"/>
          </p:nvPr>
        </p:nvSpPr>
        <p:spPr>
          <a:xfrm>
            <a:off x="5226050" y="1582739"/>
            <a:ext cx="3328988" cy="4078286"/>
          </a:xfrm>
        </p:spPr>
        <p:txBody>
          <a:bodyPr/>
          <a:lstStyle/>
          <a:p>
            <a:r>
              <a:rPr lang="sv-SE" smtClean="0"/>
              <a:t>Dra bilden till platshållaren eller klicka på ikonen för att lägga till den</a:t>
            </a:r>
            <a:endParaRPr lang="en-GB"/>
          </a:p>
        </p:txBody>
      </p:sp>
      <p:sp>
        <p:nvSpPr>
          <p:cNvPr id="8" name="Rubrik 1"/>
          <p:cNvSpPr>
            <a:spLocks noGrp="1"/>
          </p:cNvSpPr>
          <p:nvPr>
            <p:ph type="title"/>
          </p:nvPr>
        </p:nvSpPr>
        <p:spPr>
          <a:xfrm>
            <a:off x="1619250" y="404870"/>
            <a:ext cx="6935788" cy="668338"/>
          </a:xfrm>
        </p:spPr>
        <p:txBody>
          <a:bodyPr/>
          <a:lstStyle/>
          <a:p>
            <a:r>
              <a:rPr lang="sv-SE" smtClean="0"/>
              <a:t>Klicka här för att ändra format</a:t>
            </a:r>
            <a:endParaRPr lang="en-GB" dirty="0"/>
          </a:p>
        </p:txBody>
      </p:sp>
      <p:sp>
        <p:nvSpPr>
          <p:cNvPr id="10" name="Platshållare för datum 3"/>
          <p:cNvSpPr>
            <a:spLocks noGrp="1"/>
          </p:cNvSpPr>
          <p:nvPr>
            <p:ph type="dt" sz="half" idx="10"/>
          </p:nvPr>
        </p:nvSpPr>
        <p:spPr>
          <a:xfrm>
            <a:off x="5580112" y="6288509"/>
            <a:ext cx="2133600" cy="365125"/>
          </a:xfrm>
        </p:spPr>
        <p:txBody>
          <a:bodyPr/>
          <a:lstStyle>
            <a:lvl1pPr>
              <a:defRPr sz="1100"/>
            </a:lvl1pPr>
          </a:lstStyle>
          <a:p>
            <a:fld id="{41C58112-B10D-429A-A095-67DE3A4DADE0}" type="datetime1">
              <a:rPr lang="sv-SE" smtClean="0">
                <a:solidFill>
                  <a:prstClr val="white"/>
                </a:solidFill>
              </a:rPr>
              <a:pPr/>
              <a:t>2019-02-26</a:t>
            </a:fld>
            <a:endParaRPr lang="sv-SE">
              <a:solidFill>
                <a:prstClr val="white"/>
              </a:solidFill>
            </a:endParaRPr>
          </a:p>
        </p:txBody>
      </p:sp>
      <p:sp>
        <p:nvSpPr>
          <p:cNvPr id="11" name="Platshållare för bildnummer 5"/>
          <p:cNvSpPr>
            <a:spLocks noGrp="1"/>
          </p:cNvSpPr>
          <p:nvPr>
            <p:ph type="sldNum" sz="quarter" idx="12"/>
          </p:nvPr>
        </p:nvSpPr>
        <p:spPr>
          <a:xfrm>
            <a:off x="8172399" y="6301410"/>
            <a:ext cx="531863" cy="365125"/>
          </a:xfrm>
        </p:spPr>
        <p:txBody>
          <a:bodyPr/>
          <a:lstStyle>
            <a:lvl1pPr>
              <a:defRPr sz="1100"/>
            </a:lvl1pPr>
          </a:lstStyle>
          <a:p>
            <a:fld id="{680D72F4-1C41-4187-A4BC-492CF086CF40}" type="slidenum">
              <a:rPr lang="sv-SE" smtClean="0">
                <a:solidFill>
                  <a:prstClr val="white"/>
                </a:solidFill>
              </a:rPr>
              <a:pPr/>
              <a:t>‹#›</a:t>
            </a:fld>
            <a:endParaRPr lang="sv-SE">
              <a:solidFill>
                <a:prstClr val="white"/>
              </a:solidFill>
            </a:endParaRPr>
          </a:p>
        </p:txBody>
      </p:sp>
      <p:sp>
        <p:nvSpPr>
          <p:cNvPr id="12" name="Platshållare för sidfot 4"/>
          <p:cNvSpPr>
            <a:spLocks noGrp="1"/>
          </p:cNvSpPr>
          <p:nvPr>
            <p:ph type="ftr" sz="quarter" idx="11"/>
          </p:nvPr>
        </p:nvSpPr>
        <p:spPr>
          <a:xfrm>
            <a:off x="1619250" y="6345300"/>
            <a:ext cx="2895600" cy="365125"/>
          </a:xfrm>
        </p:spPr>
        <p:txBody>
          <a:bodyPr lIns="0" tIns="0" rIns="0" bIns="0" anchor="t"/>
          <a:lstStyle>
            <a:lvl1pPr algn="l">
              <a:lnSpc>
                <a:spcPts val="900"/>
              </a:lnSpc>
              <a:defRPr sz="1100" b="1" cap="all" baseline="0">
                <a:solidFill>
                  <a:schemeClr val="bg1"/>
                </a:solidFill>
              </a:defRPr>
            </a:lvl1pPr>
          </a:lstStyle>
          <a:p>
            <a:endParaRPr lang="sv-SE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2199011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grap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>
          <a:xfrm>
            <a:off x="1619250" y="1582739"/>
            <a:ext cx="3312790" cy="4078286"/>
          </a:xfrm>
        </p:spPr>
        <p:txBody>
          <a:bodyPr/>
          <a:lstStyle/>
          <a:p>
            <a:pPr lvl="0"/>
            <a:r>
              <a:rPr lang="sv-SE" smtClean="0"/>
              <a:t>Klicka här för att ändra format på bakgrundstexten</a:t>
            </a:r>
          </a:p>
          <a:p>
            <a:pPr lvl="1"/>
            <a:r>
              <a:rPr lang="sv-SE" smtClean="0"/>
              <a:t>Nivå två</a:t>
            </a:r>
          </a:p>
          <a:p>
            <a:pPr lvl="2"/>
            <a:r>
              <a:rPr lang="sv-SE" smtClean="0"/>
              <a:t>Nivå tre</a:t>
            </a:r>
          </a:p>
          <a:p>
            <a:pPr lvl="3"/>
            <a:r>
              <a:rPr lang="sv-SE" smtClean="0"/>
              <a:t>Nivå fyra</a:t>
            </a:r>
          </a:p>
          <a:p>
            <a:pPr lvl="4"/>
            <a:r>
              <a:rPr lang="sv-SE" smtClean="0"/>
              <a:t>Nivå fem</a:t>
            </a:r>
            <a:endParaRPr lang="en-GB" dirty="0"/>
          </a:p>
        </p:txBody>
      </p:sp>
      <p:sp>
        <p:nvSpPr>
          <p:cNvPr id="8" name="Platshållare för diagram 7"/>
          <p:cNvSpPr>
            <a:spLocks noGrp="1"/>
          </p:cNvSpPr>
          <p:nvPr>
            <p:ph type="chart" sz="quarter" idx="13"/>
          </p:nvPr>
        </p:nvSpPr>
        <p:spPr>
          <a:xfrm>
            <a:off x="5226050" y="1582740"/>
            <a:ext cx="3328988" cy="4078286"/>
          </a:xfrm>
        </p:spPr>
        <p:txBody>
          <a:bodyPr>
            <a:normAutofit/>
          </a:bodyPr>
          <a:lstStyle>
            <a:lvl1pPr>
              <a:defRPr sz="1400"/>
            </a:lvl1pPr>
          </a:lstStyle>
          <a:p>
            <a:r>
              <a:rPr lang="sv-SE" smtClean="0"/>
              <a:t>Klicka på ikonen för att lägga till ett diagram</a:t>
            </a:r>
            <a:endParaRPr lang="en-GB"/>
          </a:p>
        </p:txBody>
      </p:sp>
      <p:sp>
        <p:nvSpPr>
          <p:cNvPr id="9" name="Rubrik 1"/>
          <p:cNvSpPr>
            <a:spLocks noGrp="1"/>
          </p:cNvSpPr>
          <p:nvPr>
            <p:ph type="title"/>
          </p:nvPr>
        </p:nvSpPr>
        <p:spPr>
          <a:xfrm>
            <a:off x="1619250" y="404870"/>
            <a:ext cx="6935788" cy="668338"/>
          </a:xfrm>
        </p:spPr>
        <p:txBody>
          <a:bodyPr/>
          <a:lstStyle/>
          <a:p>
            <a:r>
              <a:rPr lang="sv-SE" smtClean="0"/>
              <a:t>Klicka här för att ändra format</a:t>
            </a:r>
            <a:endParaRPr lang="en-GB" dirty="0"/>
          </a:p>
        </p:txBody>
      </p:sp>
      <p:sp>
        <p:nvSpPr>
          <p:cNvPr id="10" name="Platshållare för datum 3"/>
          <p:cNvSpPr>
            <a:spLocks noGrp="1"/>
          </p:cNvSpPr>
          <p:nvPr>
            <p:ph type="dt" sz="half" idx="10"/>
          </p:nvPr>
        </p:nvSpPr>
        <p:spPr>
          <a:xfrm>
            <a:off x="5580112" y="6288509"/>
            <a:ext cx="2133600" cy="365125"/>
          </a:xfrm>
        </p:spPr>
        <p:txBody>
          <a:bodyPr/>
          <a:lstStyle>
            <a:lvl1pPr>
              <a:defRPr sz="1100"/>
            </a:lvl1pPr>
          </a:lstStyle>
          <a:p>
            <a:fld id="{3F9CDAE1-EEBC-45B3-9813-72ADFCD97B43}" type="datetime1">
              <a:rPr lang="sv-SE" smtClean="0">
                <a:solidFill>
                  <a:prstClr val="white"/>
                </a:solidFill>
              </a:rPr>
              <a:pPr/>
              <a:t>2019-02-26</a:t>
            </a:fld>
            <a:endParaRPr lang="sv-SE">
              <a:solidFill>
                <a:prstClr val="white"/>
              </a:solidFill>
            </a:endParaRPr>
          </a:p>
        </p:txBody>
      </p:sp>
      <p:sp>
        <p:nvSpPr>
          <p:cNvPr id="11" name="Platshållare för bildnummer 5"/>
          <p:cNvSpPr>
            <a:spLocks noGrp="1"/>
          </p:cNvSpPr>
          <p:nvPr>
            <p:ph type="sldNum" sz="quarter" idx="12"/>
          </p:nvPr>
        </p:nvSpPr>
        <p:spPr>
          <a:xfrm>
            <a:off x="8172399" y="6301410"/>
            <a:ext cx="531863" cy="365125"/>
          </a:xfrm>
        </p:spPr>
        <p:txBody>
          <a:bodyPr/>
          <a:lstStyle>
            <a:lvl1pPr>
              <a:defRPr sz="1100"/>
            </a:lvl1pPr>
          </a:lstStyle>
          <a:p>
            <a:fld id="{680D72F4-1C41-4187-A4BC-492CF086CF40}" type="slidenum">
              <a:rPr lang="sv-SE" smtClean="0">
                <a:solidFill>
                  <a:prstClr val="white"/>
                </a:solidFill>
              </a:rPr>
              <a:pPr/>
              <a:t>‹#›</a:t>
            </a:fld>
            <a:endParaRPr lang="sv-SE">
              <a:solidFill>
                <a:prstClr val="white"/>
              </a:solidFill>
            </a:endParaRPr>
          </a:p>
        </p:txBody>
      </p:sp>
      <p:sp>
        <p:nvSpPr>
          <p:cNvPr id="12" name="Platshållare för sidfot 4"/>
          <p:cNvSpPr>
            <a:spLocks noGrp="1"/>
          </p:cNvSpPr>
          <p:nvPr>
            <p:ph type="ftr" sz="quarter" idx="11"/>
          </p:nvPr>
        </p:nvSpPr>
        <p:spPr>
          <a:xfrm>
            <a:off x="1619250" y="6345300"/>
            <a:ext cx="2895600" cy="365125"/>
          </a:xfrm>
        </p:spPr>
        <p:txBody>
          <a:bodyPr lIns="0" tIns="0" rIns="0" bIns="0" anchor="t"/>
          <a:lstStyle>
            <a:lvl1pPr algn="l">
              <a:lnSpc>
                <a:spcPts val="900"/>
              </a:lnSpc>
              <a:defRPr sz="1100" b="1" cap="all" baseline="0">
                <a:solidFill>
                  <a:schemeClr val="bg1"/>
                </a:solidFill>
              </a:defRPr>
            </a:lvl1pPr>
          </a:lstStyle>
          <a:p>
            <a:endParaRPr lang="sv-SE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1970130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latshållare för bild 8"/>
          <p:cNvSpPr>
            <a:spLocks noGrp="1"/>
          </p:cNvSpPr>
          <p:nvPr>
            <p:ph type="pic" sz="quarter" idx="13"/>
          </p:nvPr>
        </p:nvSpPr>
        <p:spPr>
          <a:xfrm>
            <a:off x="5226050" y="1582739"/>
            <a:ext cx="3328988" cy="4078286"/>
          </a:xfrm>
        </p:spPr>
        <p:txBody>
          <a:bodyPr/>
          <a:lstStyle/>
          <a:p>
            <a:r>
              <a:rPr lang="sv-SE" smtClean="0"/>
              <a:t>Dra bilden till platshållaren eller klicka på ikonen för att lägga till den</a:t>
            </a:r>
            <a:endParaRPr lang="en-GB" dirty="0"/>
          </a:p>
        </p:txBody>
      </p:sp>
      <p:sp>
        <p:nvSpPr>
          <p:cNvPr id="8" name="Platshållare för bild 8"/>
          <p:cNvSpPr>
            <a:spLocks noGrp="1"/>
          </p:cNvSpPr>
          <p:nvPr>
            <p:ph type="pic" sz="quarter" idx="14"/>
          </p:nvPr>
        </p:nvSpPr>
        <p:spPr>
          <a:xfrm>
            <a:off x="1619250" y="1582739"/>
            <a:ext cx="3328988" cy="4078286"/>
          </a:xfrm>
        </p:spPr>
        <p:txBody>
          <a:bodyPr/>
          <a:lstStyle/>
          <a:p>
            <a:r>
              <a:rPr lang="sv-SE" smtClean="0"/>
              <a:t>Dra bilden till platshållaren eller klicka på ikonen för att lägga till den</a:t>
            </a:r>
            <a:endParaRPr lang="en-GB" dirty="0"/>
          </a:p>
        </p:txBody>
      </p:sp>
      <p:sp>
        <p:nvSpPr>
          <p:cNvPr id="10" name="Rubrik 1"/>
          <p:cNvSpPr>
            <a:spLocks noGrp="1"/>
          </p:cNvSpPr>
          <p:nvPr>
            <p:ph type="title"/>
          </p:nvPr>
        </p:nvSpPr>
        <p:spPr>
          <a:xfrm>
            <a:off x="1619250" y="404870"/>
            <a:ext cx="6935788" cy="668338"/>
          </a:xfrm>
        </p:spPr>
        <p:txBody>
          <a:bodyPr/>
          <a:lstStyle/>
          <a:p>
            <a:r>
              <a:rPr lang="sv-SE" smtClean="0"/>
              <a:t>Klicka här för att ändra format</a:t>
            </a:r>
            <a:endParaRPr lang="en-GB" dirty="0"/>
          </a:p>
        </p:txBody>
      </p:sp>
      <p:sp>
        <p:nvSpPr>
          <p:cNvPr id="11" name="Platshållare för datum 3"/>
          <p:cNvSpPr>
            <a:spLocks noGrp="1"/>
          </p:cNvSpPr>
          <p:nvPr>
            <p:ph type="dt" sz="half" idx="10"/>
          </p:nvPr>
        </p:nvSpPr>
        <p:spPr>
          <a:xfrm>
            <a:off x="5580112" y="6288509"/>
            <a:ext cx="2133600" cy="365125"/>
          </a:xfrm>
        </p:spPr>
        <p:txBody>
          <a:bodyPr/>
          <a:lstStyle>
            <a:lvl1pPr>
              <a:defRPr sz="1100"/>
            </a:lvl1pPr>
          </a:lstStyle>
          <a:p>
            <a:fld id="{F82AA233-A04F-40CC-8534-D3C4CD40C283}" type="datetime1">
              <a:rPr lang="sv-SE" smtClean="0">
                <a:solidFill>
                  <a:prstClr val="white"/>
                </a:solidFill>
              </a:rPr>
              <a:pPr/>
              <a:t>2019-02-26</a:t>
            </a:fld>
            <a:endParaRPr lang="sv-SE">
              <a:solidFill>
                <a:prstClr val="white"/>
              </a:solidFill>
            </a:endParaRPr>
          </a:p>
        </p:txBody>
      </p:sp>
      <p:sp>
        <p:nvSpPr>
          <p:cNvPr id="12" name="Platshållare för bildnummer 5"/>
          <p:cNvSpPr>
            <a:spLocks noGrp="1"/>
          </p:cNvSpPr>
          <p:nvPr>
            <p:ph type="sldNum" sz="quarter" idx="12"/>
          </p:nvPr>
        </p:nvSpPr>
        <p:spPr>
          <a:xfrm>
            <a:off x="8172399" y="6301410"/>
            <a:ext cx="531863" cy="365125"/>
          </a:xfrm>
        </p:spPr>
        <p:txBody>
          <a:bodyPr/>
          <a:lstStyle>
            <a:lvl1pPr>
              <a:defRPr sz="1100"/>
            </a:lvl1pPr>
          </a:lstStyle>
          <a:p>
            <a:fld id="{680D72F4-1C41-4187-A4BC-492CF086CF40}" type="slidenum">
              <a:rPr lang="sv-SE" smtClean="0">
                <a:solidFill>
                  <a:prstClr val="white"/>
                </a:solidFill>
              </a:rPr>
              <a:pPr/>
              <a:t>‹#›</a:t>
            </a:fld>
            <a:endParaRPr lang="sv-SE">
              <a:solidFill>
                <a:prstClr val="white"/>
              </a:solidFill>
            </a:endParaRPr>
          </a:p>
        </p:txBody>
      </p:sp>
      <p:sp>
        <p:nvSpPr>
          <p:cNvPr id="13" name="Platshållare för sidfot 4"/>
          <p:cNvSpPr>
            <a:spLocks noGrp="1"/>
          </p:cNvSpPr>
          <p:nvPr>
            <p:ph type="ftr" sz="quarter" idx="11"/>
          </p:nvPr>
        </p:nvSpPr>
        <p:spPr>
          <a:xfrm>
            <a:off x="1619250" y="6345300"/>
            <a:ext cx="2895600" cy="365125"/>
          </a:xfrm>
        </p:spPr>
        <p:txBody>
          <a:bodyPr lIns="0" tIns="0" rIns="0" bIns="0" anchor="t"/>
          <a:lstStyle>
            <a:lvl1pPr algn="l">
              <a:lnSpc>
                <a:spcPts val="900"/>
              </a:lnSpc>
              <a:defRPr sz="1100" b="1" cap="all" baseline="0">
                <a:solidFill>
                  <a:schemeClr val="bg1"/>
                </a:solidFill>
              </a:defRPr>
            </a:lvl1pPr>
          </a:lstStyle>
          <a:p>
            <a:endParaRPr lang="sv-SE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0596328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latshållare för bild 7"/>
          <p:cNvSpPr>
            <a:spLocks noGrp="1"/>
          </p:cNvSpPr>
          <p:nvPr>
            <p:ph type="pic" sz="quarter" idx="13"/>
          </p:nvPr>
        </p:nvSpPr>
        <p:spPr>
          <a:xfrm>
            <a:off x="-10639" y="1582739"/>
            <a:ext cx="9208426" cy="4713858"/>
          </a:xfrm>
          <a:custGeom>
            <a:avLst/>
            <a:gdLst>
              <a:gd name="connsiteX0" fmla="*/ 708568 w 9144000"/>
              <a:gd name="connsiteY0" fmla="*/ 0 h 4251325"/>
              <a:gd name="connsiteX1" fmla="*/ 9144000 w 9144000"/>
              <a:gd name="connsiteY1" fmla="*/ 0 h 4251325"/>
              <a:gd name="connsiteX2" fmla="*/ 9144000 w 9144000"/>
              <a:gd name="connsiteY2" fmla="*/ 0 h 4251325"/>
              <a:gd name="connsiteX3" fmla="*/ 9144000 w 9144000"/>
              <a:gd name="connsiteY3" fmla="*/ 3542757 h 4251325"/>
              <a:gd name="connsiteX4" fmla="*/ 8435432 w 9144000"/>
              <a:gd name="connsiteY4" fmla="*/ 4251325 h 4251325"/>
              <a:gd name="connsiteX5" fmla="*/ 0 w 9144000"/>
              <a:gd name="connsiteY5" fmla="*/ 4251325 h 4251325"/>
              <a:gd name="connsiteX6" fmla="*/ 0 w 9144000"/>
              <a:gd name="connsiteY6" fmla="*/ 4251325 h 4251325"/>
              <a:gd name="connsiteX7" fmla="*/ 0 w 9144000"/>
              <a:gd name="connsiteY7" fmla="*/ 708568 h 4251325"/>
              <a:gd name="connsiteX8" fmla="*/ 708568 w 9144000"/>
              <a:gd name="connsiteY8" fmla="*/ 0 h 4251325"/>
              <a:gd name="connsiteX0" fmla="*/ 180030 w 9301262"/>
              <a:gd name="connsiteY0" fmla="*/ 0 h 4260850"/>
              <a:gd name="connsiteX1" fmla="*/ 9301262 w 9301262"/>
              <a:gd name="connsiteY1" fmla="*/ 9525 h 4260850"/>
              <a:gd name="connsiteX2" fmla="*/ 9301262 w 9301262"/>
              <a:gd name="connsiteY2" fmla="*/ 9525 h 4260850"/>
              <a:gd name="connsiteX3" fmla="*/ 9301262 w 9301262"/>
              <a:gd name="connsiteY3" fmla="*/ 3552282 h 4260850"/>
              <a:gd name="connsiteX4" fmla="*/ 8592694 w 9301262"/>
              <a:gd name="connsiteY4" fmla="*/ 4260850 h 4260850"/>
              <a:gd name="connsiteX5" fmla="*/ 157262 w 9301262"/>
              <a:gd name="connsiteY5" fmla="*/ 4260850 h 4260850"/>
              <a:gd name="connsiteX6" fmla="*/ 157262 w 9301262"/>
              <a:gd name="connsiteY6" fmla="*/ 4260850 h 4260850"/>
              <a:gd name="connsiteX7" fmla="*/ 157262 w 9301262"/>
              <a:gd name="connsiteY7" fmla="*/ 718093 h 4260850"/>
              <a:gd name="connsiteX8" fmla="*/ 180030 w 9301262"/>
              <a:gd name="connsiteY8" fmla="*/ 0 h 4260850"/>
              <a:gd name="connsiteX0" fmla="*/ 23406 w 9144638"/>
              <a:gd name="connsiteY0" fmla="*/ 0 h 4260850"/>
              <a:gd name="connsiteX1" fmla="*/ 9144638 w 9144638"/>
              <a:gd name="connsiteY1" fmla="*/ 9525 h 4260850"/>
              <a:gd name="connsiteX2" fmla="*/ 9144638 w 9144638"/>
              <a:gd name="connsiteY2" fmla="*/ 9525 h 4260850"/>
              <a:gd name="connsiteX3" fmla="*/ 9144638 w 9144638"/>
              <a:gd name="connsiteY3" fmla="*/ 3552282 h 4260850"/>
              <a:gd name="connsiteX4" fmla="*/ 8436070 w 9144638"/>
              <a:gd name="connsiteY4" fmla="*/ 4260850 h 4260850"/>
              <a:gd name="connsiteX5" fmla="*/ 638 w 9144638"/>
              <a:gd name="connsiteY5" fmla="*/ 4260850 h 4260850"/>
              <a:gd name="connsiteX6" fmla="*/ 638 w 9144638"/>
              <a:gd name="connsiteY6" fmla="*/ 4260850 h 4260850"/>
              <a:gd name="connsiteX7" fmla="*/ 638 w 9144638"/>
              <a:gd name="connsiteY7" fmla="*/ 718093 h 4260850"/>
              <a:gd name="connsiteX8" fmla="*/ 23406 w 9144638"/>
              <a:gd name="connsiteY8" fmla="*/ 0 h 4260850"/>
              <a:gd name="connsiteX0" fmla="*/ 11705 w 9161512"/>
              <a:gd name="connsiteY0" fmla="*/ 9525 h 4251325"/>
              <a:gd name="connsiteX1" fmla="*/ 9161512 w 9161512"/>
              <a:gd name="connsiteY1" fmla="*/ 0 h 4251325"/>
              <a:gd name="connsiteX2" fmla="*/ 9161512 w 9161512"/>
              <a:gd name="connsiteY2" fmla="*/ 0 h 4251325"/>
              <a:gd name="connsiteX3" fmla="*/ 9161512 w 9161512"/>
              <a:gd name="connsiteY3" fmla="*/ 3542757 h 4251325"/>
              <a:gd name="connsiteX4" fmla="*/ 8452944 w 9161512"/>
              <a:gd name="connsiteY4" fmla="*/ 4251325 h 4251325"/>
              <a:gd name="connsiteX5" fmla="*/ 17512 w 9161512"/>
              <a:gd name="connsiteY5" fmla="*/ 4251325 h 4251325"/>
              <a:gd name="connsiteX6" fmla="*/ 17512 w 9161512"/>
              <a:gd name="connsiteY6" fmla="*/ 4251325 h 4251325"/>
              <a:gd name="connsiteX7" fmla="*/ 17512 w 9161512"/>
              <a:gd name="connsiteY7" fmla="*/ 708568 h 4251325"/>
              <a:gd name="connsiteX8" fmla="*/ 11705 w 9161512"/>
              <a:gd name="connsiteY8" fmla="*/ 9525 h 4251325"/>
              <a:gd name="connsiteX0" fmla="*/ 69 w 9149876"/>
              <a:gd name="connsiteY0" fmla="*/ 9525 h 4251325"/>
              <a:gd name="connsiteX1" fmla="*/ 9149876 w 9149876"/>
              <a:gd name="connsiteY1" fmla="*/ 0 h 4251325"/>
              <a:gd name="connsiteX2" fmla="*/ 9149876 w 9149876"/>
              <a:gd name="connsiteY2" fmla="*/ 0 h 4251325"/>
              <a:gd name="connsiteX3" fmla="*/ 9149876 w 9149876"/>
              <a:gd name="connsiteY3" fmla="*/ 3542757 h 4251325"/>
              <a:gd name="connsiteX4" fmla="*/ 8441308 w 9149876"/>
              <a:gd name="connsiteY4" fmla="*/ 4251325 h 4251325"/>
              <a:gd name="connsiteX5" fmla="*/ 5876 w 9149876"/>
              <a:gd name="connsiteY5" fmla="*/ 4251325 h 4251325"/>
              <a:gd name="connsiteX6" fmla="*/ 5876 w 9149876"/>
              <a:gd name="connsiteY6" fmla="*/ 4251325 h 4251325"/>
              <a:gd name="connsiteX7" fmla="*/ 5876 w 9149876"/>
              <a:gd name="connsiteY7" fmla="*/ 708568 h 4251325"/>
              <a:gd name="connsiteX8" fmla="*/ 69 w 9149876"/>
              <a:gd name="connsiteY8" fmla="*/ 9525 h 4251325"/>
              <a:gd name="connsiteX0" fmla="*/ 69 w 9149876"/>
              <a:gd name="connsiteY0" fmla="*/ 9525 h 4251325"/>
              <a:gd name="connsiteX1" fmla="*/ 9149876 w 9149876"/>
              <a:gd name="connsiteY1" fmla="*/ 0 h 4251325"/>
              <a:gd name="connsiteX2" fmla="*/ 9149876 w 9149876"/>
              <a:gd name="connsiteY2" fmla="*/ 0 h 4251325"/>
              <a:gd name="connsiteX3" fmla="*/ 9149876 w 9149876"/>
              <a:gd name="connsiteY3" fmla="*/ 3542757 h 4251325"/>
              <a:gd name="connsiteX4" fmla="*/ 1316608 w 9149876"/>
              <a:gd name="connsiteY4" fmla="*/ 3946525 h 4251325"/>
              <a:gd name="connsiteX5" fmla="*/ 5876 w 9149876"/>
              <a:gd name="connsiteY5" fmla="*/ 4251325 h 4251325"/>
              <a:gd name="connsiteX6" fmla="*/ 5876 w 9149876"/>
              <a:gd name="connsiteY6" fmla="*/ 4251325 h 4251325"/>
              <a:gd name="connsiteX7" fmla="*/ 5876 w 9149876"/>
              <a:gd name="connsiteY7" fmla="*/ 708568 h 4251325"/>
              <a:gd name="connsiteX8" fmla="*/ 69 w 9149876"/>
              <a:gd name="connsiteY8" fmla="*/ 9525 h 4251325"/>
              <a:gd name="connsiteX0" fmla="*/ 69 w 9149876"/>
              <a:gd name="connsiteY0" fmla="*/ 9525 h 4257675"/>
              <a:gd name="connsiteX1" fmla="*/ 9149876 w 9149876"/>
              <a:gd name="connsiteY1" fmla="*/ 0 h 4257675"/>
              <a:gd name="connsiteX2" fmla="*/ 9149876 w 9149876"/>
              <a:gd name="connsiteY2" fmla="*/ 0 h 4257675"/>
              <a:gd name="connsiteX3" fmla="*/ 9149876 w 9149876"/>
              <a:gd name="connsiteY3" fmla="*/ 3542757 h 4257675"/>
              <a:gd name="connsiteX4" fmla="*/ 1316608 w 9149876"/>
              <a:gd name="connsiteY4" fmla="*/ 3946525 h 4257675"/>
              <a:gd name="connsiteX5" fmla="*/ 1177451 w 9149876"/>
              <a:gd name="connsiteY5" fmla="*/ 4257675 h 4257675"/>
              <a:gd name="connsiteX6" fmla="*/ 5876 w 9149876"/>
              <a:gd name="connsiteY6" fmla="*/ 4251325 h 4257675"/>
              <a:gd name="connsiteX7" fmla="*/ 5876 w 9149876"/>
              <a:gd name="connsiteY7" fmla="*/ 4251325 h 4257675"/>
              <a:gd name="connsiteX8" fmla="*/ 5876 w 9149876"/>
              <a:gd name="connsiteY8" fmla="*/ 708568 h 4257675"/>
              <a:gd name="connsiteX9" fmla="*/ 69 w 9149876"/>
              <a:gd name="connsiteY9" fmla="*/ 9525 h 4257675"/>
              <a:gd name="connsiteX0" fmla="*/ 69 w 9149876"/>
              <a:gd name="connsiteY0" fmla="*/ 9525 h 4257675"/>
              <a:gd name="connsiteX1" fmla="*/ 9149876 w 9149876"/>
              <a:gd name="connsiteY1" fmla="*/ 0 h 4257675"/>
              <a:gd name="connsiteX2" fmla="*/ 9149876 w 9149876"/>
              <a:gd name="connsiteY2" fmla="*/ 0 h 4257675"/>
              <a:gd name="connsiteX3" fmla="*/ 9149876 w 9149876"/>
              <a:gd name="connsiteY3" fmla="*/ 3895182 h 4257675"/>
              <a:gd name="connsiteX4" fmla="*/ 1316608 w 9149876"/>
              <a:gd name="connsiteY4" fmla="*/ 3946525 h 4257675"/>
              <a:gd name="connsiteX5" fmla="*/ 1177451 w 9149876"/>
              <a:gd name="connsiteY5" fmla="*/ 4257675 h 4257675"/>
              <a:gd name="connsiteX6" fmla="*/ 5876 w 9149876"/>
              <a:gd name="connsiteY6" fmla="*/ 4251325 h 4257675"/>
              <a:gd name="connsiteX7" fmla="*/ 5876 w 9149876"/>
              <a:gd name="connsiteY7" fmla="*/ 4251325 h 4257675"/>
              <a:gd name="connsiteX8" fmla="*/ 5876 w 9149876"/>
              <a:gd name="connsiteY8" fmla="*/ 708568 h 4257675"/>
              <a:gd name="connsiteX9" fmla="*/ 69 w 9149876"/>
              <a:gd name="connsiteY9" fmla="*/ 9525 h 4257675"/>
              <a:gd name="connsiteX0" fmla="*/ 69 w 9149876"/>
              <a:gd name="connsiteY0" fmla="*/ 9525 h 4257675"/>
              <a:gd name="connsiteX1" fmla="*/ 9149876 w 9149876"/>
              <a:gd name="connsiteY1" fmla="*/ 0 h 4257675"/>
              <a:gd name="connsiteX2" fmla="*/ 9149876 w 9149876"/>
              <a:gd name="connsiteY2" fmla="*/ 0 h 4257675"/>
              <a:gd name="connsiteX3" fmla="*/ 9149876 w 9149876"/>
              <a:gd name="connsiteY3" fmla="*/ 3895182 h 4257675"/>
              <a:gd name="connsiteX4" fmla="*/ 1316608 w 9149876"/>
              <a:gd name="connsiteY4" fmla="*/ 3946525 h 4257675"/>
              <a:gd name="connsiteX5" fmla="*/ 1177451 w 9149876"/>
              <a:gd name="connsiteY5" fmla="*/ 4257675 h 4257675"/>
              <a:gd name="connsiteX6" fmla="*/ 5876 w 9149876"/>
              <a:gd name="connsiteY6" fmla="*/ 4251325 h 4257675"/>
              <a:gd name="connsiteX7" fmla="*/ 5876 w 9149876"/>
              <a:gd name="connsiteY7" fmla="*/ 4251325 h 4257675"/>
              <a:gd name="connsiteX8" fmla="*/ 5876 w 9149876"/>
              <a:gd name="connsiteY8" fmla="*/ 708568 h 4257675"/>
              <a:gd name="connsiteX9" fmla="*/ 69 w 9149876"/>
              <a:gd name="connsiteY9" fmla="*/ 9525 h 4257675"/>
              <a:gd name="connsiteX0" fmla="*/ 69 w 9149876"/>
              <a:gd name="connsiteY0" fmla="*/ 9525 h 4257675"/>
              <a:gd name="connsiteX1" fmla="*/ 9149876 w 9149876"/>
              <a:gd name="connsiteY1" fmla="*/ 0 h 4257675"/>
              <a:gd name="connsiteX2" fmla="*/ 9149876 w 9149876"/>
              <a:gd name="connsiteY2" fmla="*/ 0 h 4257675"/>
              <a:gd name="connsiteX3" fmla="*/ 9149876 w 9149876"/>
              <a:gd name="connsiteY3" fmla="*/ 3923757 h 4257675"/>
              <a:gd name="connsiteX4" fmla="*/ 1316608 w 9149876"/>
              <a:gd name="connsiteY4" fmla="*/ 3946525 h 4257675"/>
              <a:gd name="connsiteX5" fmla="*/ 1177451 w 9149876"/>
              <a:gd name="connsiteY5" fmla="*/ 4257675 h 4257675"/>
              <a:gd name="connsiteX6" fmla="*/ 5876 w 9149876"/>
              <a:gd name="connsiteY6" fmla="*/ 4251325 h 4257675"/>
              <a:gd name="connsiteX7" fmla="*/ 5876 w 9149876"/>
              <a:gd name="connsiteY7" fmla="*/ 4251325 h 4257675"/>
              <a:gd name="connsiteX8" fmla="*/ 5876 w 9149876"/>
              <a:gd name="connsiteY8" fmla="*/ 708568 h 4257675"/>
              <a:gd name="connsiteX9" fmla="*/ 69 w 9149876"/>
              <a:gd name="connsiteY9" fmla="*/ 9525 h 4257675"/>
              <a:gd name="connsiteX0" fmla="*/ 69 w 9149876"/>
              <a:gd name="connsiteY0" fmla="*/ 9525 h 4257675"/>
              <a:gd name="connsiteX1" fmla="*/ 9149876 w 9149876"/>
              <a:gd name="connsiteY1" fmla="*/ 0 h 4257675"/>
              <a:gd name="connsiteX2" fmla="*/ 9149876 w 9149876"/>
              <a:gd name="connsiteY2" fmla="*/ 0 h 4257675"/>
              <a:gd name="connsiteX3" fmla="*/ 9149876 w 9149876"/>
              <a:gd name="connsiteY3" fmla="*/ 3923757 h 4257675"/>
              <a:gd name="connsiteX4" fmla="*/ 1316608 w 9149876"/>
              <a:gd name="connsiteY4" fmla="*/ 3946525 h 4257675"/>
              <a:gd name="connsiteX5" fmla="*/ 1177451 w 9149876"/>
              <a:gd name="connsiteY5" fmla="*/ 4257675 h 4257675"/>
              <a:gd name="connsiteX6" fmla="*/ 5876 w 9149876"/>
              <a:gd name="connsiteY6" fmla="*/ 4251325 h 4257675"/>
              <a:gd name="connsiteX7" fmla="*/ 5876 w 9149876"/>
              <a:gd name="connsiteY7" fmla="*/ 4251325 h 4257675"/>
              <a:gd name="connsiteX8" fmla="*/ 5876 w 9149876"/>
              <a:gd name="connsiteY8" fmla="*/ 708568 h 4257675"/>
              <a:gd name="connsiteX9" fmla="*/ 69 w 9149876"/>
              <a:gd name="connsiteY9" fmla="*/ 9525 h 4257675"/>
              <a:gd name="connsiteX0" fmla="*/ 6893 w 9156700"/>
              <a:gd name="connsiteY0" fmla="*/ 9525 h 4270375"/>
              <a:gd name="connsiteX1" fmla="*/ 9156700 w 9156700"/>
              <a:gd name="connsiteY1" fmla="*/ 0 h 4270375"/>
              <a:gd name="connsiteX2" fmla="*/ 9156700 w 9156700"/>
              <a:gd name="connsiteY2" fmla="*/ 0 h 4270375"/>
              <a:gd name="connsiteX3" fmla="*/ 9156700 w 9156700"/>
              <a:gd name="connsiteY3" fmla="*/ 3923757 h 4270375"/>
              <a:gd name="connsiteX4" fmla="*/ 1323432 w 9156700"/>
              <a:gd name="connsiteY4" fmla="*/ 3946525 h 4270375"/>
              <a:gd name="connsiteX5" fmla="*/ 1184275 w 9156700"/>
              <a:gd name="connsiteY5" fmla="*/ 4257675 h 4270375"/>
              <a:gd name="connsiteX6" fmla="*/ 12700 w 9156700"/>
              <a:gd name="connsiteY6" fmla="*/ 4251325 h 4270375"/>
              <a:gd name="connsiteX7" fmla="*/ 0 w 9156700"/>
              <a:gd name="connsiteY7" fmla="*/ 4270375 h 4270375"/>
              <a:gd name="connsiteX8" fmla="*/ 12700 w 9156700"/>
              <a:gd name="connsiteY8" fmla="*/ 708568 h 4270375"/>
              <a:gd name="connsiteX9" fmla="*/ 6893 w 9156700"/>
              <a:gd name="connsiteY9" fmla="*/ 9525 h 4270375"/>
              <a:gd name="connsiteX0" fmla="*/ 6893 w 9156700"/>
              <a:gd name="connsiteY0" fmla="*/ 9525 h 4270375"/>
              <a:gd name="connsiteX1" fmla="*/ 9156700 w 9156700"/>
              <a:gd name="connsiteY1" fmla="*/ 0 h 4270375"/>
              <a:gd name="connsiteX2" fmla="*/ 9156700 w 9156700"/>
              <a:gd name="connsiteY2" fmla="*/ 0 h 4270375"/>
              <a:gd name="connsiteX3" fmla="*/ 9156700 w 9156700"/>
              <a:gd name="connsiteY3" fmla="*/ 3923757 h 4270375"/>
              <a:gd name="connsiteX4" fmla="*/ 1342482 w 9156700"/>
              <a:gd name="connsiteY4" fmla="*/ 3908425 h 4270375"/>
              <a:gd name="connsiteX5" fmla="*/ 1184275 w 9156700"/>
              <a:gd name="connsiteY5" fmla="*/ 4257675 h 4270375"/>
              <a:gd name="connsiteX6" fmla="*/ 12700 w 9156700"/>
              <a:gd name="connsiteY6" fmla="*/ 4251325 h 4270375"/>
              <a:gd name="connsiteX7" fmla="*/ 0 w 9156700"/>
              <a:gd name="connsiteY7" fmla="*/ 4270375 h 4270375"/>
              <a:gd name="connsiteX8" fmla="*/ 12700 w 9156700"/>
              <a:gd name="connsiteY8" fmla="*/ 708568 h 4270375"/>
              <a:gd name="connsiteX9" fmla="*/ 6893 w 9156700"/>
              <a:gd name="connsiteY9" fmla="*/ 9525 h 4270375"/>
              <a:gd name="connsiteX0" fmla="*/ 6893 w 9156700"/>
              <a:gd name="connsiteY0" fmla="*/ 9525 h 4270375"/>
              <a:gd name="connsiteX1" fmla="*/ 9156700 w 9156700"/>
              <a:gd name="connsiteY1" fmla="*/ 0 h 4270375"/>
              <a:gd name="connsiteX2" fmla="*/ 9156700 w 9156700"/>
              <a:gd name="connsiteY2" fmla="*/ 0 h 4270375"/>
              <a:gd name="connsiteX3" fmla="*/ 9156700 w 9156700"/>
              <a:gd name="connsiteY3" fmla="*/ 3923757 h 4270375"/>
              <a:gd name="connsiteX4" fmla="*/ 1342482 w 9156700"/>
              <a:gd name="connsiteY4" fmla="*/ 3908425 h 4270375"/>
              <a:gd name="connsiteX5" fmla="*/ 1190625 w 9156700"/>
              <a:gd name="connsiteY5" fmla="*/ 4264025 h 4270375"/>
              <a:gd name="connsiteX6" fmla="*/ 12700 w 9156700"/>
              <a:gd name="connsiteY6" fmla="*/ 4251325 h 4270375"/>
              <a:gd name="connsiteX7" fmla="*/ 0 w 9156700"/>
              <a:gd name="connsiteY7" fmla="*/ 4270375 h 4270375"/>
              <a:gd name="connsiteX8" fmla="*/ 12700 w 9156700"/>
              <a:gd name="connsiteY8" fmla="*/ 708568 h 4270375"/>
              <a:gd name="connsiteX9" fmla="*/ 6893 w 9156700"/>
              <a:gd name="connsiteY9" fmla="*/ 9525 h 4270375"/>
              <a:gd name="connsiteX0" fmla="*/ 6893 w 9156700"/>
              <a:gd name="connsiteY0" fmla="*/ 9525 h 4270375"/>
              <a:gd name="connsiteX1" fmla="*/ 9156700 w 9156700"/>
              <a:gd name="connsiteY1" fmla="*/ 0 h 4270375"/>
              <a:gd name="connsiteX2" fmla="*/ 9156700 w 9156700"/>
              <a:gd name="connsiteY2" fmla="*/ 0 h 4270375"/>
              <a:gd name="connsiteX3" fmla="*/ 9156700 w 9156700"/>
              <a:gd name="connsiteY3" fmla="*/ 3923757 h 4270375"/>
              <a:gd name="connsiteX4" fmla="*/ 1342482 w 9156700"/>
              <a:gd name="connsiteY4" fmla="*/ 3908425 h 4270375"/>
              <a:gd name="connsiteX5" fmla="*/ 1190625 w 9156700"/>
              <a:gd name="connsiteY5" fmla="*/ 4264025 h 4270375"/>
              <a:gd name="connsiteX6" fmla="*/ 0 w 9156700"/>
              <a:gd name="connsiteY6" fmla="*/ 4270375 h 4270375"/>
              <a:gd name="connsiteX7" fmla="*/ 12700 w 9156700"/>
              <a:gd name="connsiteY7" fmla="*/ 708568 h 4270375"/>
              <a:gd name="connsiteX8" fmla="*/ 6893 w 9156700"/>
              <a:gd name="connsiteY8" fmla="*/ 9525 h 4270375"/>
              <a:gd name="connsiteX0" fmla="*/ 6893 w 9156700"/>
              <a:gd name="connsiteY0" fmla="*/ 9525 h 4264025"/>
              <a:gd name="connsiteX1" fmla="*/ 9156700 w 9156700"/>
              <a:gd name="connsiteY1" fmla="*/ 0 h 4264025"/>
              <a:gd name="connsiteX2" fmla="*/ 9156700 w 9156700"/>
              <a:gd name="connsiteY2" fmla="*/ 0 h 4264025"/>
              <a:gd name="connsiteX3" fmla="*/ 9156700 w 9156700"/>
              <a:gd name="connsiteY3" fmla="*/ 3923757 h 4264025"/>
              <a:gd name="connsiteX4" fmla="*/ 1342482 w 9156700"/>
              <a:gd name="connsiteY4" fmla="*/ 3908425 h 4264025"/>
              <a:gd name="connsiteX5" fmla="*/ 1190625 w 9156700"/>
              <a:gd name="connsiteY5" fmla="*/ 4264025 h 4264025"/>
              <a:gd name="connsiteX6" fmla="*/ 0 w 9156700"/>
              <a:gd name="connsiteY6" fmla="*/ 4257675 h 4264025"/>
              <a:gd name="connsiteX7" fmla="*/ 12700 w 9156700"/>
              <a:gd name="connsiteY7" fmla="*/ 708568 h 4264025"/>
              <a:gd name="connsiteX8" fmla="*/ 6893 w 9156700"/>
              <a:gd name="connsiteY8" fmla="*/ 9525 h 4264025"/>
              <a:gd name="connsiteX0" fmla="*/ 6893 w 9156700"/>
              <a:gd name="connsiteY0" fmla="*/ 9525 h 4264025"/>
              <a:gd name="connsiteX1" fmla="*/ 9156700 w 9156700"/>
              <a:gd name="connsiteY1" fmla="*/ 0 h 4264025"/>
              <a:gd name="connsiteX2" fmla="*/ 9156700 w 9156700"/>
              <a:gd name="connsiteY2" fmla="*/ 0 h 4264025"/>
              <a:gd name="connsiteX3" fmla="*/ 9156700 w 9156700"/>
              <a:gd name="connsiteY3" fmla="*/ 3923757 h 4264025"/>
              <a:gd name="connsiteX4" fmla="*/ 1342482 w 9156700"/>
              <a:gd name="connsiteY4" fmla="*/ 3921125 h 4264025"/>
              <a:gd name="connsiteX5" fmla="*/ 1190625 w 9156700"/>
              <a:gd name="connsiteY5" fmla="*/ 4264025 h 4264025"/>
              <a:gd name="connsiteX6" fmla="*/ 0 w 9156700"/>
              <a:gd name="connsiteY6" fmla="*/ 4257675 h 4264025"/>
              <a:gd name="connsiteX7" fmla="*/ 12700 w 9156700"/>
              <a:gd name="connsiteY7" fmla="*/ 708568 h 4264025"/>
              <a:gd name="connsiteX8" fmla="*/ 6893 w 9156700"/>
              <a:gd name="connsiteY8" fmla="*/ 9525 h 4264025"/>
              <a:gd name="connsiteX0" fmla="*/ 6893 w 9156700"/>
              <a:gd name="connsiteY0" fmla="*/ 9525 h 4283160"/>
              <a:gd name="connsiteX1" fmla="*/ 9156700 w 9156700"/>
              <a:gd name="connsiteY1" fmla="*/ 0 h 4283160"/>
              <a:gd name="connsiteX2" fmla="*/ 9156700 w 9156700"/>
              <a:gd name="connsiteY2" fmla="*/ 0 h 4283160"/>
              <a:gd name="connsiteX3" fmla="*/ 9156700 w 9156700"/>
              <a:gd name="connsiteY3" fmla="*/ 3923757 h 4283160"/>
              <a:gd name="connsiteX4" fmla="*/ 1342482 w 9156700"/>
              <a:gd name="connsiteY4" fmla="*/ 3921125 h 4283160"/>
              <a:gd name="connsiteX5" fmla="*/ 1203325 w 9156700"/>
              <a:gd name="connsiteY5" fmla="*/ 4283160 h 4283160"/>
              <a:gd name="connsiteX6" fmla="*/ 0 w 9156700"/>
              <a:gd name="connsiteY6" fmla="*/ 4257675 h 4283160"/>
              <a:gd name="connsiteX7" fmla="*/ 12700 w 9156700"/>
              <a:gd name="connsiteY7" fmla="*/ 708568 h 4283160"/>
              <a:gd name="connsiteX8" fmla="*/ 6893 w 9156700"/>
              <a:gd name="connsiteY8" fmla="*/ 9525 h 4283160"/>
              <a:gd name="connsiteX0" fmla="*/ 13243 w 9163050"/>
              <a:gd name="connsiteY0" fmla="*/ 9525 h 4295946"/>
              <a:gd name="connsiteX1" fmla="*/ 9163050 w 9163050"/>
              <a:gd name="connsiteY1" fmla="*/ 0 h 4295946"/>
              <a:gd name="connsiteX2" fmla="*/ 9163050 w 9163050"/>
              <a:gd name="connsiteY2" fmla="*/ 0 h 4295946"/>
              <a:gd name="connsiteX3" fmla="*/ 9163050 w 9163050"/>
              <a:gd name="connsiteY3" fmla="*/ 3923757 h 4295946"/>
              <a:gd name="connsiteX4" fmla="*/ 1348832 w 9163050"/>
              <a:gd name="connsiteY4" fmla="*/ 3921125 h 4295946"/>
              <a:gd name="connsiteX5" fmla="*/ 1209675 w 9163050"/>
              <a:gd name="connsiteY5" fmla="*/ 4283160 h 4295946"/>
              <a:gd name="connsiteX6" fmla="*/ 0 w 9163050"/>
              <a:gd name="connsiteY6" fmla="*/ 4295946 h 4295946"/>
              <a:gd name="connsiteX7" fmla="*/ 19050 w 9163050"/>
              <a:gd name="connsiteY7" fmla="*/ 708568 h 4295946"/>
              <a:gd name="connsiteX8" fmla="*/ 13243 w 9163050"/>
              <a:gd name="connsiteY8" fmla="*/ 9525 h 4295946"/>
              <a:gd name="connsiteX0" fmla="*/ 6893 w 9156700"/>
              <a:gd name="connsiteY0" fmla="*/ 9525 h 4283160"/>
              <a:gd name="connsiteX1" fmla="*/ 9156700 w 9156700"/>
              <a:gd name="connsiteY1" fmla="*/ 0 h 4283160"/>
              <a:gd name="connsiteX2" fmla="*/ 9156700 w 9156700"/>
              <a:gd name="connsiteY2" fmla="*/ 0 h 4283160"/>
              <a:gd name="connsiteX3" fmla="*/ 9156700 w 9156700"/>
              <a:gd name="connsiteY3" fmla="*/ 3923757 h 4283160"/>
              <a:gd name="connsiteX4" fmla="*/ 1342482 w 9156700"/>
              <a:gd name="connsiteY4" fmla="*/ 3921125 h 4283160"/>
              <a:gd name="connsiteX5" fmla="*/ 1203325 w 9156700"/>
              <a:gd name="connsiteY5" fmla="*/ 4283160 h 4283160"/>
              <a:gd name="connsiteX6" fmla="*/ 0 w 9156700"/>
              <a:gd name="connsiteY6" fmla="*/ 4276811 h 4283160"/>
              <a:gd name="connsiteX7" fmla="*/ 12700 w 9156700"/>
              <a:gd name="connsiteY7" fmla="*/ 708568 h 4283160"/>
              <a:gd name="connsiteX8" fmla="*/ 6893 w 9156700"/>
              <a:gd name="connsiteY8" fmla="*/ 9525 h 4283160"/>
              <a:gd name="connsiteX0" fmla="*/ 6893 w 9156700"/>
              <a:gd name="connsiteY0" fmla="*/ 9525 h 4283160"/>
              <a:gd name="connsiteX1" fmla="*/ 9156700 w 9156700"/>
              <a:gd name="connsiteY1" fmla="*/ 0 h 4283160"/>
              <a:gd name="connsiteX2" fmla="*/ 9156700 w 9156700"/>
              <a:gd name="connsiteY2" fmla="*/ 0 h 4283160"/>
              <a:gd name="connsiteX3" fmla="*/ 9156700 w 9156700"/>
              <a:gd name="connsiteY3" fmla="*/ 3923757 h 4283160"/>
              <a:gd name="connsiteX4" fmla="*/ 1342482 w 9156700"/>
              <a:gd name="connsiteY4" fmla="*/ 3921125 h 4283160"/>
              <a:gd name="connsiteX5" fmla="*/ 1203325 w 9156700"/>
              <a:gd name="connsiteY5" fmla="*/ 4283160 h 4283160"/>
              <a:gd name="connsiteX6" fmla="*/ 0 w 9156700"/>
              <a:gd name="connsiteY6" fmla="*/ 4276812 h 4283160"/>
              <a:gd name="connsiteX7" fmla="*/ 12700 w 9156700"/>
              <a:gd name="connsiteY7" fmla="*/ 708568 h 4283160"/>
              <a:gd name="connsiteX8" fmla="*/ 6893 w 9156700"/>
              <a:gd name="connsiteY8" fmla="*/ 9525 h 4283160"/>
              <a:gd name="connsiteX0" fmla="*/ 6893 w 9156700"/>
              <a:gd name="connsiteY0" fmla="*/ 9525 h 4279971"/>
              <a:gd name="connsiteX1" fmla="*/ 9156700 w 9156700"/>
              <a:gd name="connsiteY1" fmla="*/ 0 h 4279971"/>
              <a:gd name="connsiteX2" fmla="*/ 9156700 w 9156700"/>
              <a:gd name="connsiteY2" fmla="*/ 0 h 4279971"/>
              <a:gd name="connsiteX3" fmla="*/ 9156700 w 9156700"/>
              <a:gd name="connsiteY3" fmla="*/ 3923757 h 4279971"/>
              <a:gd name="connsiteX4" fmla="*/ 1342482 w 9156700"/>
              <a:gd name="connsiteY4" fmla="*/ 3921125 h 4279971"/>
              <a:gd name="connsiteX5" fmla="*/ 1203325 w 9156700"/>
              <a:gd name="connsiteY5" fmla="*/ 4279971 h 4279971"/>
              <a:gd name="connsiteX6" fmla="*/ 0 w 9156700"/>
              <a:gd name="connsiteY6" fmla="*/ 4276812 h 4279971"/>
              <a:gd name="connsiteX7" fmla="*/ 12700 w 9156700"/>
              <a:gd name="connsiteY7" fmla="*/ 708568 h 4279971"/>
              <a:gd name="connsiteX8" fmla="*/ 6893 w 9156700"/>
              <a:gd name="connsiteY8" fmla="*/ 9525 h 4279971"/>
              <a:gd name="connsiteX0" fmla="*/ 6893 w 9156700"/>
              <a:gd name="connsiteY0" fmla="*/ 9525 h 4279971"/>
              <a:gd name="connsiteX1" fmla="*/ 9156700 w 9156700"/>
              <a:gd name="connsiteY1" fmla="*/ 0 h 4279971"/>
              <a:gd name="connsiteX2" fmla="*/ 9156700 w 9156700"/>
              <a:gd name="connsiteY2" fmla="*/ 0 h 4279971"/>
              <a:gd name="connsiteX3" fmla="*/ 9156700 w 9156700"/>
              <a:gd name="connsiteY3" fmla="*/ 3923757 h 4279971"/>
              <a:gd name="connsiteX4" fmla="*/ 1342482 w 9156700"/>
              <a:gd name="connsiteY4" fmla="*/ 3921125 h 4279971"/>
              <a:gd name="connsiteX5" fmla="*/ 1203325 w 9156700"/>
              <a:gd name="connsiteY5" fmla="*/ 4279971 h 4279971"/>
              <a:gd name="connsiteX6" fmla="*/ 0 w 9156700"/>
              <a:gd name="connsiteY6" fmla="*/ 4276812 h 4279971"/>
              <a:gd name="connsiteX7" fmla="*/ 12700 w 9156700"/>
              <a:gd name="connsiteY7" fmla="*/ 708568 h 4279971"/>
              <a:gd name="connsiteX8" fmla="*/ 6893 w 9156700"/>
              <a:gd name="connsiteY8" fmla="*/ 9525 h 4279971"/>
              <a:gd name="connsiteX0" fmla="*/ 6893 w 9156700"/>
              <a:gd name="connsiteY0" fmla="*/ 9525 h 4279971"/>
              <a:gd name="connsiteX1" fmla="*/ 9156700 w 9156700"/>
              <a:gd name="connsiteY1" fmla="*/ 0 h 4279971"/>
              <a:gd name="connsiteX2" fmla="*/ 9156700 w 9156700"/>
              <a:gd name="connsiteY2" fmla="*/ 0 h 4279971"/>
              <a:gd name="connsiteX3" fmla="*/ 9156700 w 9156700"/>
              <a:gd name="connsiteY3" fmla="*/ 3923757 h 4279971"/>
              <a:gd name="connsiteX4" fmla="*/ 1342482 w 9156700"/>
              <a:gd name="connsiteY4" fmla="*/ 3930693 h 4279971"/>
              <a:gd name="connsiteX5" fmla="*/ 1203325 w 9156700"/>
              <a:gd name="connsiteY5" fmla="*/ 4279971 h 4279971"/>
              <a:gd name="connsiteX6" fmla="*/ 0 w 9156700"/>
              <a:gd name="connsiteY6" fmla="*/ 4276812 h 4279971"/>
              <a:gd name="connsiteX7" fmla="*/ 12700 w 9156700"/>
              <a:gd name="connsiteY7" fmla="*/ 708568 h 4279971"/>
              <a:gd name="connsiteX8" fmla="*/ 6893 w 9156700"/>
              <a:gd name="connsiteY8" fmla="*/ 9525 h 4279971"/>
              <a:gd name="connsiteX0" fmla="*/ 6893 w 9156700"/>
              <a:gd name="connsiteY0" fmla="*/ 9525 h 4279971"/>
              <a:gd name="connsiteX1" fmla="*/ 9156700 w 9156700"/>
              <a:gd name="connsiteY1" fmla="*/ 0 h 4279971"/>
              <a:gd name="connsiteX2" fmla="*/ 9156700 w 9156700"/>
              <a:gd name="connsiteY2" fmla="*/ 0 h 4279971"/>
              <a:gd name="connsiteX3" fmla="*/ 9156700 w 9156700"/>
              <a:gd name="connsiteY3" fmla="*/ 3923757 h 4279971"/>
              <a:gd name="connsiteX4" fmla="*/ 1342482 w 9156700"/>
              <a:gd name="connsiteY4" fmla="*/ 3940261 h 4279971"/>
              <a:gd name="connsiteX5" fmla="*/ 1203325 w 9156700"/>
              <a:gd name="connsiteY5" fmla="*/ 4279971 h 4279971"/>
              <a:gd name="connsiteX6" fmla="*/ 0 w 9156700"/>
              <a:gd name="connsiteY6" fmla="*/ 4276812 h 4279971"/>
              <a:gd name="connsiteX7" fmla="*/ 12700 w 9156700"/>
              <a:gd name="connsiteY7" fmla="*/ 708568 h 4279971"/>
              <a:gd name="connsiteX8" fmla="*/ 6893 w 9156700"/>
              <a:gd name="connsiteY8" fmla="*/ 9525 h 4279971"/>
              <a:gd name="connsiteX0" fmla="*/ 6893 w 9156700"/>
              <a:gd name="connsiteY0" fmla="*/ 9525 h 4279971"/>
              <a:gd name="connsiteX1" fmla="*/ 9156700 w 9156700"/>
              <a:gd name="connsiteY1" fmla="*/ 0 h 4279971"/>
              <a:gd name="connsiteX2" fmla="*/ 9156700 w 9156700"/>
              <a:gd name="connsiteY2" fmla="*/ 0 h 4279971"/>
              <a:gd name="connsiteX3" fmla="*/ 9156700 w 9156700"/>
              <a:gd name="connsiteY3" fmla="*/ 3923757 h 4279971"/>
              <a:gd name="connsiteX4" fmla="*/ 1342482 w 9156700"/>
              <a:gd name="connsiteY4" fmla="*/ 3940261 h 4279971"/>
              <a:gd name="connsiteX5" fmla="*/ 1203325 w 9156700"/>
              <a:gd name="connsiteY5" fmla="*/ 4279971 h 4279971"/>
              <a:gd name="connsiteX6" fmla="*/ 0 w 9156700"/>
              <a:gd name="connsiteY6" fmla="*/ 4276812 h 4279971"/>
              <a:gd name="connsiteX7" fmla="*/ 12700 w 9156700"/>
              <a:gd name="connsiteY7" fmla="*/ 708568 h 4279971"/>
              <a:gd name="connsiteX8" fmla="*/ 6893 w 9156700"/>
              <a:gd name="connsiteY8" fmla="*/ 9525 h 4279971"/>
              <a:gd name="connsiteX0" fmla="*/ 6893 w 9156700"/>
              <a:gd name="connsiteY0" fmla="*/ 9525 h 4279971"/>
              <a:gd name="connsiteX1" fmla="*/ 9156700 w 9156700"/>
              <a:gd name="connsiteY1" fmla="*/ 0 h 4279971"/>
              <a:gd name="connsiteX2" fmla="*/ 9156700 w 9156700"/>
              <a:gd name="connsiteY2" fmla="*/ 0 h 4279971"/>
              <a:gd name="connsiteX3" fmla="*/ 9156700 w 9156700"/>
              <a:gd name="connsiteY3" fmla="*/ 3923757 h 4279971"/>
              <a:gd name="connsiteX4" fmla="*/ 1342482 w 9156700"/>
              <a:gd name="connsiteY4" fmla="*/ 3940261 h 4279971"/>
              <a:gd name="connsiteX5" fmla="*/ 1203325 w 9156700"/>
              <a:gd name="connsiteY5" fmla="*/ 4279971 h 4279971"/>
              <a:gd name="connsiteX6" fmla="*/ 0 w 9156700"/>
              <a:gd name="connsiteY6" fmla="*/ 4276812 h 4279971"/>
              <a:gd name="connsiteX7" fmla="*/ 12700 w 9156700"/>
              <a:gd name="connsiteY7" fmla="*/ 708568 h 4279971"/>
              <a:gd name="connsiteX8" fmla="*/ 6893 w 9156700"/>
              <a:gd name="connsiteY8" fmla="*/ 9525 h 4279971"/>
              <a:gd name="connsiteX0" fmla="*/ 6893 w 9156700"/>
              <a:gd name="connsiteY0" fmla="*/ 9525 h 4279971"/>
              <a:gd name="connsiteX1" fmla="*/ 9156700 w 9156700"/>
              <a:gd name="connsiteY1" fmla="*/ 0 h 4279971"/>
              <a:gd name="connsiteX2" fmla="*/ 9156700 w 9156700"/>
              <a:gd name="connsiteY2" fmla="*/ 0 h 4279971"/>
              <a:gd name="connsiteX3" fmla="*/ 9156700 w 9156700"/>
              <a:gd name="connsiteY3" fmla="*/ 3923757 h 4279971"/>
              <a:gd name="connsiteX4" fmla="*/ 1342482 w 9156700"/>
              <a:gd name="connsiteY4" fmla="*/ 3959604 h 4279971"/>
              <a:gd name="connsiteX5" fmla="*/ 1203325 w 9156700"/>
              <a:gd name="connsiteY5" fmla="*/ 4279971 h 4279971"/>
              <a:gd name="connsiteX6" fmla="*/ 0 w 9156700"/>
              <a:gd name="connsiteY6" fmla="*/ 4276812 h 4279971"/>
              <a:gd name="connsiteX7" fmla="*/ 12700 w 9156700"/>
              <a:gd name="connsiteY7" fmla="*/ 708568 h 4279971"/>
              <a:gd name="connsiteX8" fmla="*/ 6893 w 9156700"/>
              <a:gd name="connsiteY8" fmla="*/ 9525 h 4279971"/>
              <a:gd name="connsiteX0" fmla="*/ 6893 w 9156700"/>
              <a:gd name="connsiteY0" fmla="*/ 9525 h 4276812"/>
              <a:gd name="connsiteX1" fmla="*/ 9156700 w 9156700"/>
              <a:gd name="connsiteY1" fmla="*/ 0 h 4276812"/>
              <a:gd name="connsiteX2" fmla="*/ 9156700 w 9156700"/>
              <a:gd name="connsiteY2" fmla="*/ 0 h 4276812"/>
              <a:gd name="connsiteX3" fmla="*/ 9156700 w 9156700"/>
              <a:gd name="connsiteY3" fmla="*/ 3923757 h 4276812"/>
              <a:gd name="connsiteX4" fmla="*/ 1342482 w 9156700"/>
              <a:gd name="connsiteY4" fmla="*/ 3959604 h 4276812"/>
              <a:gd name="connsiteX5" fmla="*/ 1203325 w 9156700"/>
              <a:gd name="connsiteY5" fmla="*/ 4267882 h 4276812"/>
              <a:gd name="connsiteX6" fmla="*/ 0 w 9156700"/>
              <a:gd name="connsiteY6" fmla="*/ 4276812 h 4276812"/>
              <a:gd name="connsiteX7" fmla="*/ 12700 w 9156700"/>
              <a:gd name="connsiteY7" fmla="*/ 708568 h 4276812"/>
              <a:gd name="connsiteX8" fmla="*/ 6893 w 9156700"/>
              <a:gd name="connsiteY8" fmla="*/ 9525 h 4276812"/>
              <a:gd name="connsiteX0" fmla="*/ 69 w 9149876"/>
              <a:gd name="connsiteY0" fmla="*/ 9525 h 4267882"/>
              <a:gd name="connsiteX1" fmla="*/ 9149876 w 9149876"/>
              <a:gd name="connsiteY1" fmla="*/ 0 h 4267882"/>
              <a:gd name="connsiteX2" fmla="*/ 9149876 w 9149876"/>
              <a:gd name="connsiteY2" fmla="*/ 0 h 4267882"/>
              <a:gd name="connsiteX3" fmla="*/ 9149876 w 9149876"/>
              <a:gd name="connsiteY3" fmla="*/ 3923757 h 4267882"/>
              <a:gd name="connsiteX4" fmla="*/ 1335658 w 9149876"/>
              <a:gd name="connsiteY4" fmla="*/ 3959604 h 4267882"/>
              <a:gd name="connsiteX5" fmla="*/ 1196501 w 9149876"/>
              <a:gd name="connsiteY5" fmla="*/ 4267882 h 4267882"/>
              <a:gd name="connsiteX6" fmla="*/ 2701 w 9149876"/>
              <a:gd name="connsiteY6" fmla="*/ 4264722 h 4267882"/>
              <a:gd name="connsiteX7" fmla="*/ 5876 w 9149876"/>
              <a:gd name="connsiteY7" fmla="*/ 708568 h 4267882"/>
              <a:gd name="connsiteX8" fmla="*/ 69 w 9149876"/>
              <a:gd name="connsiteY8" fmla="*/ 9525 h 4267882"/>
              <a:gd name="connsiteX0" fmla="*/ 69 w 9149876"/>
              <a:gd name="connsiteY0" fmla="*/ 9525 h 4267882"/>
              <a:gd name="connsiteX1" fmla="*/ 9149876 w 9149876"/>
              <a:gd name="connsiteY1" fmla="*/ 0 h 4267882"/>
              <a:gd name="connsiteX2" fmla="*/ 9149876 w 9149876"/>
              <a:gd name="connsiteY2" fmla="*/ 0 h 4267882"/>
              <a:gd name="connsiteX3" fmla="*/ 9149876 w 9149876"/>
              <a:gd name="connsiteY3" fmla="*/ 3923757 h 4267882"/>
              <a:gd name="connsiteX4" fmla="*/ 1335658 w 9149876"/>
              <a:gd name="connsiteY4" fmla="*/ 3959604 h 4267882"/>
              <a:gd name="connsiteX5" fmla="*/ 1196501 w 9149876"/>
              <a:gd name="connsiteY5" fmla="*/ 4267882 h 4267882"/>
              <a:gd name="connsiteX6" fmla="*/ 2701 w 9149876"/>
              <a:gd name="connsiteY6" fmla="*/ 4264722 h 4267882"/>
              <a:gd name="connsiteX7" fmla="*/ 5876 w 9149876"/>
              <a:gd name="connsiteY7" fmla="*/ 708568 h 4267882"/>
              <a:gd name="connsiteX8" fmla="*/ 69 w 9149876"/>
              <a:gd name="connsiteY8" fmla="*/ 9525 h 4267882"/>
              <a:gd name="connsiteX0" fmla="*/ 69 w 9149876"/>
              <a:gd name="connsiteY0" fmla="*/ 9525 h 4267882"/>
              <a:gd name="connsiteX1" fmla="*/ 9149876 w 9149876"/>
              <a:gd name="connsiteY1" fmla="*/ 0 h 4267882"/>
              <a:gd name="connsiteX2" fmla="*/ 9149876 w 9149876"/>
              <a:gd name="connsiteY2" fmla="*/ 0 h 4267882"/>
              <a:gd name="connsiteX3" fmla="*/ 9149876 w 9149876"/>
              <a:gd name="connsiteY3" fmla="*/ 3957608 h 4267882"/>
              <a:gd name="connsiteX4" fmla="*/ 1335658 w 9149876"/>
              <a:gd name="connsiteY4" fmla="*/ 3959604 h 4267882"/>
              <a:gd name="connsiteX5" fmla="*/ 1196501 w 9149876"/>
              <a:gd name="connsiteY5" fmla="*/ 4267882 h 4267882"/>
              <a:gd name="connsiteX6" fmla="*/ 2701 w 9149876"/>
              <a:gd name="connsiteY6" fmla="*/ 4264722 h 4267882"/>
              <a:gd name="connsiteX7" fmla="*/ 5876 w 9149876"/>
              <a:gd name="connsiteY7" fmla="*/ 708568 h 4267882"/>
              <a:gd name="connsiteX8" fmla="*/ 69 w 9149876"/>
              <a:gd name="connsiteY8" fmla="*/ 9525 h 4267882"/>
              <a:gd name="connsiteX0" fmla="*/ 69 w 9149876"/>
              <a:gd name="connsiteY0" fmla="*/ 9525 h 4267882"/>
              <a:gd name="connsiteX1" fmla="*/ 9149876 w 9149876"/>
              <a:gd name="connsiteY1" fmla="*/ 0 h 4267882"/>
              <a:gd name="connsiteX2" fmla="*/ 9149876 w 9149876"/>
              <a:gd name="connsiteY2" fmla="*/ 0 h 4267882"/>
              <a:gd name="connsiteX3" fmla="*/ 9149876 w 9149876"/>
              <a:gd name="connsiteY3" fmla="*/ 3957608 h 4267882"/>
              <a:gd name="connsiteX4" fmla="*/ 1335658 w 9149876"/>
              <a:gd name="connsiteY4" fmla="*/ 3959604 h 4267882"/>
              <a:gd name="connsiteX5" fmla="*/ 1196501 w 9149876"/>
              <a:gd name="connsiteY5" fmla="*/ 4267882 h 4267882"/>
              <a:gd name="connsiteX6" fmla="*/ 2701 w 9149876"/>
              <a:gd name="connsiteY6" fmla="*/ 4264722 h 4267882"/>
              <a:gd name="connsiteX7" fmla="*/ 5876 w 9149876"/>
              <a:gd name="connsiteY7" fmla="*/ 708568 h 4267882"/>
              <a:gd name="connsiteX8" fmla="*/ 69 w 9149876"/>
              <a:gd name="connsiteY8" fmla="*/ 9525 h 4267882"/>
              <a:gd name="connsiteX0" fmla="*/ 69 w 9149876"/>
              <a:gd name="connsiteY0" fmla="*/ 9525 h 4267882"/>
              <a:gd name="connsiteX1" fmla="*/ 9149876 w 9149876"/>
              <a:gd name="connsiteY1" fmla="*/ 0 h 4267882"/>
              <a:gd name="connsiteX2" fmla="*/ 9149876 w 9149876"/>
              <a:gd name="connsiteY2" fmla="*/ 0 h 4267882"/>
              <a:gd name="connsiteX3" fmla="*/ 9149876 w 9149876"/>
              <a:gd name="connsiteY3" fmla="*/ 3957608 h 4267882"/>
              <a:gd name="connsiteX4" fmla="*/ 1338039 w 9149876"/>
              <a:gd name="connsiteY4" fmla="*/ 3969276 h 4267882"/>
              <a:gd name="connsiteX5" fmla="*/ 1196501 w 9149876"/>
              <a:gd name="connsiteY5" fmla="*/ 4267882 h 4267882"/>
              <a:gd name="connsiteX6" fmla="*/ 2701 w 9149876"/>
              <a:gd name="connsiteY6" fmla="*/ 4264722 h 4267882"/>
              <a:gd name="connsiteX7" fmla="*/ 5876 w 9149876"/>
              <a:gd name="connsiteY7" fmla="*/ 708568 h 4267882"/>
              <a:gd name="connsiteX8" fmla="*/ 69 w 9149876"/>
              <a:gd name="connsiteY8" fmla="*/ 9525 h 4267882"/>
              <a:gd name="connsiteX0" fmla="*/ 69 w 9149876"/>
              <a:gd name="connsiteY0" fmla="*/ 9525 h 4267882"/>
              <a:gd name="connsiteX1" fmla="*/ 9149876 w 9149876"/>
              <a:gd name="connsiteY1" fmla="*/ 0 h 4267882"/>
              <a:gd name="connsiteX2" fmla="*/ 9149876 w 9149876"/>
              <a:gd name="connsiteY2" fmla="*/ 0 h 4267882"/>
              <a:gd name="connsiteX3" fmla="*/ 9149876 w 9149876"/>
              <a:gd name="connsiteY3" fmla="*/ 3957608 h 4267882"/>
              <a:gd name="connsiteX4" fmla="*/ 1338039 w 9149876"/>
              <a:gd name="connsiteY4" fmla="*/ 3954857 h 4267882"/>
              <a:gd name="connsiteX5" fmla="*/ 1196501 w 9149876"/>
              <a:gd name="connsiteY5" fmla="*/ 4267882 h 4267882"/>
              <a:gd name="connsiteX6" fmla="*/ 2701 w 9149876"/>
              <a:gd name="connsiteY6" fmla="*/ 4264722 h 4267882"/>
              <a:gd name="connsiteX7" fmla="*/ 5876 w 9149876"/>
              <a:gd name="connsiteY7" fmla="*/ 708568 h 4267882"/>
              <a:gd name="connsiteX8" fmla="*/ 69 w 9149876"/>
              <a:gd name="connsiteY8" fmla="*/ 9525 h 4267882"/>
              <a:gd name="connsiteX0" fmla="*/ 69 w 9149876"/>
              <a:gd name="connsiteY0" fmla="*/ 9525 h 4267882"/>
              <a:gd name="connsiteX1" fmla="*/ 9149876 w 9149876"/>
              <a:gd name="connsiteY1" fmla="*/ 0 h 4267882"/>
              <a:gd name="connsiteX2" fmla="*/ 9149876 w 9149876"/>
              <a:gd name="connsiteY2" fmla="*/ 0 h 4267882"/>
              <a:gd name="connsiteX3" fmla="*/ 9149876 w 9149876"/>
              <a:gd name="connsiteY3" fmla="*/ 3957608 h 4267882"/>
              <a:gd name="connsiteX4" fmla="*/ 1338039 w 9149876"/>
              <a:gd name="connsiteY4" fmla="*/ 3954857 h 4267882"/>
              <a:gd name="connsiteX5" fmla="*/ 1196501 w 9149876"/>
              <a:gd name="connsiteY5" fmla="*/ 4267882 h 4267882"/>
              <a:gd name="connsiteX6" fmla="*/ 2701 w 9149876"/>
              <a:gd name="connsiteY6" fmla="*/ 4264722 h 4267882"/>
              <a:gd name="connsiteX7" fmla="*/ 5876 w 9149876"/>
              <a:gd name="connsiteY7" fmla="*/ 708568 h 4267882"/>
              <a:gd name="connsiteX8" fmla="*/ 69 w 9149876"/>
              <a:gd name="connsiteY8" fmla="*/ 9525 h 4267882"/>
              <a:gd name="connsiteX0" fmla="*/ 69 w 9149876"/>
              <a:gd name="connsiteY0" fmla="*/ 9525 h 4267882"/>
              <a:gd name="connsiteX1" fmla="*/ 9149876 w 9149876"/>
              <a:gd name="connsiteY1" fmla="*/ 0 h 4267882"/>
              <a:gd name="connsiteX2" fmla="*/ 9149876 w 9149876"/>
              <a:gd name="connsiteY2" fmla="*/ 0 h 4267882"/>
              <a:gd name="connsiteX3" fmla="*/ 9149876 w 9149876"/>
              <a:gd name="connsiteY3" fmla="*/ 3957608 h 4267882"/>
              <a:gd name="connsiteX4" fmla="*/ 1338039 w 9149876"/>
              <a:gd name="connsiteY4" fmla="*/ 3954857 h 4267882"/>
              <a:gd name="connsiteX5" fmla="*/ 1196501 w 9149876"/>
              <a:gd name="connsiteY5" fmla="*/ 4267882 h 4267882"/>
              <a:gd name="connsiteX6" fmla="*/ 2701 w 9149876"/>
              <a:gd name="connsiteY6" fmla="*/ 4264722 h 4267882"/>
              <a:gd name="connsiteX7" fmla="*/ 5876 w 9149876"/>
              <a:gd name="connsiteY7" fmla="*/ 708568 h 4267882"/>
              <a:gd name="connsiteX8" fmla="*/ 69 w 9149876"/>
              <a:gd name="connsiteY8" fmla="*/ 9525 h 4267882"/>
              <a:gd name="connsiteX0" fmla="*/ 69 w 9149876"/>
              <a:gd name="connsiteY0" fmla="*/ 9525 h 4267882"/>
              <a:gd name="connsiteX1" fmla="*/ 9149876 w 9149876"/>
              <a:gd name="connsiteY1" fmla="*/ 0 h 4267882"/>
              <a:gd name="connsiteX2" fmla="*/ 9149876 w 9149876"/>
              <a:gd name="connsiteY2" fmla="*/ 0 h 4267882"/>
              <a:gd name="connsiteX3" fmla="*/ 9149876 w 9149876"/>
              <a:gd name="connsiteY3" fmla="*/ 3957608 h 4267882"/>
              <a:gd name="connsiteX4" fmla="*/ 1338039 w 9149876"/>
              <a:gd name="connsiteY4" fmla="*/ 3954857 h 4267882"/>
              <a:gd name="connsiteX5" fmla="*/ 1196501 w 9149876"/>
              <a:gd name="connsiteY5" fmla="*/ 4267882 h 4267882"/>
              <a:gd name="connsiteX6" fmla="*/ 2701 w 9149876"/>
              <a:gd name="connsiteY6" fmla="*/ 4264722 h 4267882"/>
              <a:gd name="connsiteX7" fmla="*/ 5876 w 9149876"/>
              <a:gd name="connsiteY7" fmla="*/ 708568 h 4267882"/>
              <a:gd name="connsiteX8" fmla="*/ 69 w 9149876"/>
              <a:gd name="connsiteY8" fmla="*/ 9525 h 4267882"/>
              <a:gd name="connsiteX0" fmla="*/ 69 w 9154641"/>
              <a:gd name="connsiteY0" fmla="*/ 9525 h 4267882"/>
              <a:gd name="connsiteX1" fmla="*/ 9149876 w 9154641"/>
              <a:gd name="connsiteY1" fmla="*/ 0 h 4267882"/>
              <a:gd name="connsiteX2" fmla="*/ 9149876 w 9154641"/>
              <a:gd name="connsiteY2" fmla="*/ 0 h 4267882"/>
              <a:gd name="connsiteX3" fmla="*/ 9154641 w 9154641"/>
              <a:gd name="connsiteY3" fmla="*/ 3952802 h 4267882"/>
              <a:gd name="connsiteX4" fmla="*/ 1338039 w 9154641"/>
              <a:gd name="connsiteY4" fmla="*/ 3954857 h 4267882"/>
              <a:gd name="connsiteX5" fmla="*/ 1196501 w 9154641"/>
              <a:gd name="connsiteY5" fmla="*/ 4267882 h 4267882"/>
              <a:gd name="connsiteX6" fmla="*/ 2701 w 9154641"/>
              <a:gd name="connsiteY6" fmla="*/ 4264722 h 4267882"/>
              <a:gd name="connsiteX7" fmla="*/ 5876 w 9154641"/>
              <a:gd name="connsiteY7" fmla="*/ 708568 h 4267882"/>
              <a:gd name="connsiteX8" fmla="*/ 69 w 9154641"/>
              <a:gd name="connsiteY8" fmla="*/ 9525 h 4267882"/>
              <a:gd name="connsiteX0" fmla="*/ 69 w 9154641"/>
              <a:gd name="connsiteY0" fmla="*/ 0 h 4277584"/>
              <a:gd name="connsiteX1" fmla="*/ 9149876 w 9154641"/>
              <a:gd name="connsiteY1" fmla="*/ 9702 h 4277584"/>
              <a:gd name="connsiteX2" fmla="*/ 9149876 w 9154641"/>
              <a:gd name="connsiteY2" fmla="*/ 9702 h 4277584"/>
              <a:gd name="connsiteX3" fmla="*/ 9154641 w 9154641"/>
              <a:gd name="connsiteY3" fmla="*/ 3962504 h 4277584"/>
              <a:gd name="connsiteX4" fmla="*/ 1338039 w 9154641"/>
              <a:gd name="connsiteY4" fmla="*/ 3964559 h 4277584"/>
              <a:gd name="connsiteX5" fmla="*/ 1196501 w 9154641"/>
              <a:gd name="connsiteY5" fmla="*/ 4277584 h 4277584"/>
              <a:gd name="connsiteX6" fmla="*/ 2701 w 9154641"/>
              <a:gd name="connsiteY6" fmla="*/ 4274424 h 4277584"/>
              <a:gd name="connsiteX7" fmla="*/ 5876 w 9154641"/>
              <a:gd name="connsiteY7" fmla="*/ 718270 h 4277584"/>
              <a:gd name="connsiteX8" fmla="*/ 69 w 9154641"/>
              <a:gd name="connsiteY8" fmla="*/ 0 h 4277584"/>
              <a:gd name="connsiteX0" fmla="*/ 69 w 9154641"/>
              <a:gd name="connsiteY0" fmla="*/ 0 h 4277584"/>
              <a:gd name="connsiteX1" fmla="*/ 9149876 w 9154641"/>
              <a:gd name="connsiteY1" fmla="*/ 9702 h 4277584"/>
              <a:gd name="connsiteX2" fmla="*/ 9149876 w 9154641"/>
              <a:gd name="connsiteY2" fmla="*/ 89 h 4277584"/>
              <a:gd name="connsiteX3" fmla="*/ 9154641 w 9154641"/>
              <a:gd name="connsiteY3" fmla="*/ 3962504 h 4277584"/>
              <a:gd name="connsiteX4" fmla="*/ 1338039 w 9154641"/>
              <a:gd name="connsiteY4" fmla="*/ 3964559 h 4277584"/>
              <a:gd name="connsiteX5" fmla="*/ 1196501 w 9154641"/>
              <a:gd name="connsiteY5" fmla="*/ 4277584 h 4277584"/>
              <a:gd name="connsiteX6" fmla="*/ 2701 w 9154641"/>
              <a:gd name="connsiteY6" fmla="*/ 4274424 h 4277584"/>
              <a:gd name="connsiteX7" fmla="*/ 5876 w 9154641"/>
              <a:gd name="connsiteY7" fmla="*/ 718270 h 4277584"/>
              <a:gd name="connsiteX8" fmla="*/ 69 w 9154641"/>
              <a:gd name="connsiteY8" fmla="*/ 0 h 4277584"/>
              <a:gd name="connsiteX0" fmla="*/ 69 w 9154641"/>
              <a:gd name="connsiteY0" fmla="*/ 0 h 4277584"/>
              <a:gd name="connsiteX1" fmla="*/ 9149876 w 9154641"/>
              <a:gd name="connsiteY1" fmla="*/ 9702 h 4277584"/>
              <a:gd name="connsiteX2" fmla="*/ 9149876 w 9154641"/>
              <a:gd name="connsiteY2" fmla="*/ 89 h 4277584"/>
              <a:gd name="connsiteX3" fmla="*/ 9154641 w 9154641"/>
              <a:gd name="connsiteY3" fmla="*/ 3962504 h 4277584"/>
              <a:gd name="connsiteX4" fmla="*/ 1338039 w 9154641"/>
              <a:gd name="connsiteY4" fmla="*/ 3964559 h 4277584"/>
              <a:gd name="connsiteX5" fmla="*/ 1196501 w 9154641"/>
              <a:gd name="connsiteY5" fmla="*/ 4277584 h 4277584"/>
              <a:gd name="connsiteX6" fmla="*/ 2701 w 9154641"/>
              <a:gd name="connsiteY6" fmla="*/ 4274424 h 4277584"/>
              <a:gd name="connsiteX7" fmla="*/ 5876 w 9154641"/>
              <a:gd name="connsiteY7" fmla="*/ 718270 h 4277584"/>
              <a:gd name="connsiteX8" fmla="*/ 69 w 9154641"/>
              <a:gd name="connsiteY8" fmla="*/ 0 h 4277584"/>
              <a:gd name="connsiteX0" fmla="*/ 69 w 9154641"/>
              <a:gd name="connsiteY0" fmla="*/ 0 h 4277584"/>
              <a:gd name="connsiteX1" fmla="*/ 9149876 w 9154641"/>
              <a:gd name="connsiteY1" fmla="*/ 9702 h 4277584"/>
              <a:gd name="connsiteX2" fmla="*/ 9149876 w 9154641"/>
              <a:gd name="connsiteY2" fmla="*/ 89 h 4277584"/>
              <a:gd name="connsiteX3" fmla="*/ 9154641 w 9154641"/>
              <a:gd name="connsiteY3" fmla="*/ 3962504 h 4277584"/>
              <a:gd name="connsiteX4" fmla="*/ 1350697 w 9154641"/>
              <a:gd name="connsiteY4" fmla="*/ 3951741 h 4277584"/>
              <a:gd name="connsiteX5" fmla="*/ 1196501 w 9154641"/>
              <a:gd name="connsiteY5" fmla="*/ 4277584 h 4277584"/>
              <a:gd name="connsiteX6" fmla="*/ 2701 w 9154641"/>
              <a:gd name="connsiteY6" fmla="*/ 4274424 h 4277584"/>
              <a:gd name="connsiteX7" fmla="*/ 5876 w 9154641"/>
              <a:gd name="connsiteY7" fmla="*/ 718270 h 4277584"/>
              <a:gd name="connsiteX8" fmla="*/ 69 w 9154641"/>
              <a:gd name="connsiteY8" fmla="*/ 0 h 4277584"/>
              <a:gd name="connsiteX0" fmla="*/ 69 w 9154641"/>
              <a:gd name="connsiteY0" fmla="*/ 0 h 4277584"/>
              <a:gd name="connsiteX1" fmla="*/ 9149876 w 9154641"/>
              <a:gd name="connsiteY1" fmla="*/ 9702 h 4277584"/>
              <a:gd name="connsiteX2" fmla="*/ 9149876 w 9154641"/>
              <a:gd name="connsiteY2" fmla="*/ 89 h 4277584"/>
              <a:gd name="connsiteX3" fmla="*/ 9154641 w 9154641"/>
              <a:gd name="connsiteY3" fmla="*/ 3962504 h 4277584"/>
              <a:gd name="connsiteX4" fmla="*/ 1350697 w 9154641"/>
              <a:gd name="connsiteY4" fmla="*/ 3951741 h 4277584"/>
              <a:gd name="connsiteX5" fmla="*/ 1196501 w 9154641"/>
              <a:gd name="connsiteY5" fmla="*/ 4277584 h 4277584"/>
              <a:gd name="connsiteX6" fmla="*/ 2701 w 9154641"/>
              <a:gd name="connsiteY6" fmla="*/ 4274424 h 4277584"/>
              <a:gd name="connsiteX7" fmla="*/ 5876 w 9154641"/>
              <a:gd name="connsiteY7" fmla="*/ 718270 h 4277584"/>
              <a:gd name="connsiteX8" fmla="*/ 69 w 9154641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52890 h 4277584"/>
              <a:gd name="connsiteX4" fmla="*/ 1350697 w 9150032"/>
              <a:gd name="connsiteY4" fmla="*/ 3951741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52890 h 4277584"/>
              <a:gd name="connsiteX4" fmla="*/ 1350697 w 9150032"/>
              <a:gd name="connsiteY4" fmla="*/ 3958184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52890 h 4277584"/>
              <a:gd name="connsiteX4" fmla="*/ 1350697 w 9150032"/>
              <a:gd name="connsiteY4" fmla="*/ 3958184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58184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58184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58184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58184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58184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58184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58184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60600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41204 w 9150032"/>
              <a:gd name="connsiteY4" fmla="*/ 3965431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41204 w 9150032"/>
              <a:gd name="connsiteY4" fmla="*/ 3967847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63015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65431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63015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63015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63015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63015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5069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5069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5069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5069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5069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5069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4357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4357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4357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4357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4357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4357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3645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3645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3645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3645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3645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26964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26964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26964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19844 w 9150032"/>
              <a:gd name="connsiteY4" fmla="*/ 3967847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26965 w 9150032"/>
              <a:gd name="connsiteY4" fmla="*/ 3960599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5168"/>
              <a:gd name="connsiteX1" fmla="*/ 9149876 w 9150032"/>
              <a:gd name="connsiteY1" fmla="*/ 9702 h 4275168"/>
              <a:gd name="connsiteX2" fmla="*/ 9149876 w 9150032"/>
              <a:gd name="connsiteY2" fmla="*/ 89 h 4275168"/>
              <a:gd name="connsiteX3" fmla="*/ 9141983 w 9150032"/>
              <a:gd name="connsiteY3" fmla="*/ 3960138 h 4275168"/>
              <a:gd name="connsiteX4" fmla="*/ 1326965 w 9150032"/>
              <a:gd name="connsiteY4" fmla="*/ 3960599 h 4275168"/>
              <a:gd name="connsiteX5" fmla="*/ 1210741 w 9150032"/>
              <a:gd name="connsiteY5" fmla="*/ 4275168 h 4275168"/>
              <a:gd name="connsiteX6" fmla="*/ 2701 w 9150032"/>
              <a:gd name="connsiteY6" fmla="*/ 4274424 h 4275168"/>
              <a:gd name="connsiteX7" fmla="*/ 5876 w 9150032"/>
              <a:gd name="connsiteY7" fmla="*/ 718270 h 4275168"/>
              <a:gd name="connsiteX8" fmla="*/ 69 w 9150032"/>
              <a:gd name="connsiteY8" fmla="*/ 0 h 4275168"/>
              <a:gd name="connsiteX0" fmla="*/ 69 w 9150032"/>
              <a:gd name="connsiteY0" fmla="*/ 0 h 4275168"/>
              <a:gd name="connsiteX1" fmla="*/ 9149876 w 9150032"/>
              <a:gd name="connsiteY1" fmla="*/ 9702 h 4275168"/>
              <a:gd name="connsiteX2" fmla="*/ 9149876 w 9150032"/>
              <a:gd name="connsiteY2" fmla="*/ 89 h 4275168"/>
              <a:gd name="connsiteX3" fmla="*/ 9141983 w 9150032"/>
              <a:gd name="connsiteY3" fmla="*/ 3960138 h 4275168"/>
              <a:gd name="connsiteX4" fmla="*/ 1326965 w 9150032"/>
              <a:gd name="connsiteY4" fmla="*/ 3960599 h 4275168"/>
              <a:gd name="connsiteX5" fmla="*/ 1210741 w 9150032"/>
              <a:gd name="connsiteY5" fmla="*/ 4275168 h 4275168"/>
              <a:gd name="connsiteX6" fmla="*/ 2701 w 9150032"/>
              <a:gd name="connsiteY6" fmla="*/ 4274424 h 4275168"/>
              <a:gd name="connsiteX7" fmla="*/ 5876 w 9150032"/>
              <a:gd name="connsiteY7" fmla="*/ 718270 h 4275168"/>
              <a:gd name="connsiteX8" fmla="*/ 69 w 9150032"/>
              <a:gd name="connsiteY8" fmla="*/ 0 h 4275168"/>
              <a:gd name="connsiteX0" fmla="*/ 69 w 9150032"/>
              <a:gd name="connsiteY0" fmla="*/ 0 h 4275168"/>
              <a:gd name="connsiteX1" fmla="*/ 9149876 w 9150032"/>
              <a:gd name="connsiteY1" fmla="*/ 9702 h 4275168"/>
              <a:gd name="connsiteX2" fmla="*/ 9149876 w 9150032"/>
              <a:gd name="connsiteY2" fmla="*/ 89 h 4275168"/>
              <a:gd name="connsiteX3" fmla="*/ 9141983 w 9150032"/>
              <a:gd name="connsiteY3" fmla="*/ 3960138 h 4275168"/>
              <a:gd name="connsiteX4" fmla="*/ 1326965 w 9150032"/>
              <a:gd name="connsiteY4" fmla="*/ 3960599 h 4275168"/>
              <a:gd name="connsiteX5" fmla="*/ 1210741 w 9150032"/>
              <a:gd name="connsiteY5" fmla="*/ 4275168 h 4275168"/>
              <a:gd name="connsiteX6" fmla="*/ 2701 w 9150032"/>
              <a:gd name="connsiteY6" fmla="*/ 4274424 h 4275168"/>
              <a:gd name="connsiteX7" fmla="*/ 5876 w 9150032"/>
              <a:gd name="connsiteY7" fmla="*/ 718270 h 4275168"/>
              <a:gd name="connsiteX8" fmla="*/ 69 w 9150032"/>
              <a:gd name="connsiteY8" fmla="*/ 0 h 4275168"/>
              <a:gd name="connsiteX0" fmla="*/ 69 w 9150032"/>
              <a:gd name="connsiteY0" fmla="*/ 0 h 4275168"/>
              <a:gd name="connsiteX1" fmla="*/ 9149876 w 9150032"/>
              <a:gd name="connsiteY1" fmla="*/ 9702 h 4275168"/>
              <a:gd name="connsiteX2" fmla="*/ 9149876 w 9150032"/>
              <a:gd name="connsiteY2" fmla="*/ 89 h 4275168"/>
              <a:gd name="connsiteX3" fmla="*/ 9141983 w 9150032"/>
              <a:gd name="connsiteY3" fmla="*/ 3960138 h 4275168"/>
              <a:gd name="connsiteX4" fmla="*/ 1326965 w 9150032"/>
              <a:gd name="connsiteY4" fmla="*/ 3960599 h 4275168"/>
              <a:gd name="connsiteX5" fmla="*/ 1210741 w 9150032"/>
              <a:gd name="connsiteY5" fmla="*/ 4275168 h 4275168"/>
              <a:gd name="connsiteX6" fmla="*/ 2701 w 9150032"/>
              <a:gd name="connsiteY6" fmla="*/ 4274424 h 4275168"/>
              <a:gd name="connsiteX7" fmla="*/ 5876 w 9150032"/>
              <a:gd name="connsiteY7" fmla="*/ 718270 h 4275168"/>
              <a:gd name="connsiteX8" fmla="*/ 69 w 9150032"/>
              <a:gd name="connsiteY8" fmla="*/ 0 h 4275168"/>
              <a:gd name="connsiteX0" fmla="*/ 69 w 9150032"/>
              <a:gd name="connsiteY0" fmla="*/ 0 h 4275168"/>
              <a:gd name="connsiteX1" fmla="*/ 9149876 w 9150032"/>
              <a:gd name="connsiteY1" fmla="*/ 9702 h 4275168"/>
              <a:gd name="connsiteX2" fmla="*/ 9149876 w 9150032"/>
              <a:gd name="connsiteY2" fmla="*/ 89 h 4275168"/>
              <a:gd name="connsiteX3" fmla="*/ 9141983 w 9150032"/>
              <a:gd name="connsiteY3" fmla="*/ 3960138 h 4275168"/>
              <a:gd name="connsiteX4" fmla="*/ 1326965 w 9150032"/>
              <a:gd name="connsiteY4" fmla="*/ 3960599 h 4275168"/>
              <a:gd name="connsiteX5" fmla="*/ 1210741 w 9150032"/>
              <a:gd name="connsiteY5" fmla="*/ 4275168 h 4275168"/>
              <a:gd name="connsiteX6" fmla="*/ 2701 w 9150032"/>
              <a:gd name="connsiteY6" fmla="*/ 4274424 h 4275168"/>
              <a:gd name="connsiteX7" fmla="*/ 5876 w 9150032"/>
              <a:gd name="connsiteY7" fmla="*/ 718270 h 4275168"/>
              <a:gd name="connsiteX8" fmla="*/ 69 w 9150032"/>
              <a:gd name="connsiteY8" fmla="*/ 0 h 4275168"/>
              <a:gd name="connsiteX0" fmla="*/ 69 w 9150032"/>
              <a:gd name="connsiteY0" fmla="*/ 0 h 4275168"/>
              <a:gd name="connsiteX1" fmla="*/ 9149876 w 9150032"/>
              <a:gd name="connsiteY1" fmla="*/ 9702 h 4275168"/>
              <a:gd name="connsiteX2" fmla="*/ 9149876 w 9150032"/>
              <a:gd name="connsiteY2" fmla="*/ 89 h 4275168"/>
              <a:gd name="connsiteX3" fmla="*/ 9141983 w 9150032"/>
              <a:gd name="connsiteY3" fmla="*/ 3960138 h 4275168"/>
              <a:gd name="connsiteX4" fmla="*/ 1326965 w 9150032"/>
              <a:gd name="connsiteY4" fmla="*/ 3960599 h 4275168"/>
              <a:gd name="connsiteX5" fmla="*/ 1210741 w 9150032"/>
              <a:gd name="connsiteY5" fmla="*/ 4275168 h 4275168"/>
              <a:gd name="connsiteX6" fmla="*/ 2701 w 9150032"/>
              <a:gd name="connsiteY6" fmla="*/ 4274424 h 4275168"/>
              <a:gd name="connsiteX7" fmla="*/ 5876 w 9150032"/>
              <a:gd name="connsiteY7" fmla="*/ 718270 h 4275168"/>
              <a:gd name="connsiteX8" fmla="*/ 69 w 9150032"/>
              <a:gd name="connsiteY8" fmla="*/ 0 h 4275168"/>
              <a:gd name="connsiteX0" fmla="*/ 69 w 9150032"/>
              <a:gd name="connsiteY0" fmla="*/ 0 h 4275168"/>
              <a:gd name="connsiteX1" fmla="*/ 9149876 w 9150032"/>
              <a:gd name="connsiteY1" fmla="*/ 9702 h 4275168"/>
              <a:gd name="connsiteX2" fmla="*/ 9149876 w 9150032"/>
              <a:gd name="connsiteY2" fmla="*/ 89 h 4275168"/>
              <a:gd name="connsiteX3" fmla="*/ 9141983 w 9150032"/>
              <a:gd name="connsiteY3" fmla="*/ 3960138 h 4275168"/>
              <a:gd name="connsiteX4" fmla="*/ 1326965 w 9150032"/>
              <a:gd name="connsiteY4" fmla="*/ 3960599 h 4275168"/>
              <a:gd name="connsiteX5" fmla="*/ 1210741 w 9150032"/>
              <a:gd name="connsiteY5" fmla="*/ 4275168 h 4275168"/>
              <a:gd name="connsiteX6" fmla="*/ 2701 w 9150032"/>
              <a:gd name="connsiteY6" fmla="*/ 4274424 h 4275168"/>
              <a:gd name="connsiteX7" fmla="*/ 5876 w 9150032"/>
              <a:gd name="connsiteY7" fmla="*/ 718270 h 4275168"/>
              <a:gd name="connsiteX8" fmla="*/ 69 w 9150032"/>
              <a:gd name="connsiteY8" fmla="*/ 0 h 4275168"/>
              <a:gd name="connsiteX0" fmla="*/ 69 w 9150032"/>
              <a:gd name="connsiteY0" fmla="*/ 0 h 4275168"/>
              <a:gd name="connsiteX1" fmla="*/ 9149876 w 9150032"/>
              <a:gd name="connsiteY1" fmla="*/ 9702 h 4275168"/>
              <a:gd name="connsiteX2" fmla="*/ 9149876 w 9150032"/>
              <a:gd name="connsiteY2" fmla="*/ 89 h 4275168"/>
              <a:gd name="connsiteX3" fmla="*/ 9141983 w 9150032"/>
              <a:gd name="connsiteY3" fmla="*/ 3960138 h 4275168"/>
              <a:gd name="connsiteX4" fmla="*/ 1326965 w 9150032"/>
              <a:gd name="connsiteY4" fmla="*/ 3960599 h 4275168"/>
              <a:gd name="connsiteX5" fmla="*/ 1213115 w 9150032"/>
              <a:gd name="connsiteY5" fmla="*/ 4275168 h 4275168"/>
              <a:gd name="connsiteX6" fmla="*/ 2701 w 9150032"/>
              <a:gd name="connsiteY6" fmla="*/ 4274424 h 4275168"/>
              <a:gd name="connsiteX7" fmla="*/ 5876 w 9150032"/>
              <a:gd name="connsiteY7" fmla="*/ 718270 h 4275168"/>
              <a:gd name="connsiteX8" fmla="*/ 69 w 9150032"/>
              <a:gd name="connsiteY8" fmla="*/ 0 h 4275168"/>
              <a:gd name="connsiteX0" fmla="*/ 69 w 9150032"/>
              <a:gd name="connsiteY0" fmla="*/ 0 h 4279257"/>
              <a:gd name="connsiteX1" fmla="*/ 9149876 w 9150032"/>
              <a:gd name="connsiteY1" fmla="*/ 9702 h 4279257"/>
              <a:gd name="connsiteX2" fmla="*/ 9149876 w 9150032"/>
              <a:gd name="connsiteY2" fmla="*/ 89 h 4279257"/>
              <a:gd name="connsiteX3" fmla="*/ 9141983 w 9150032"/>
              <a:gd name="connsiteY3" fmla="*/ 3960138 h 4279257"/>
              <a:gd name="connsiteX4" fmla="*/ 1326965 w 9150032"/>
              <a:gd name="connsiteY4" fmla="*/ 3960599 h 4279257"/>
              <a:gd name="connsiteX5" fmla="*/ 1213115 w 9150032"/>
              <a:gd name="connsiteY5" fmla="*/ 4275168 h 4279257"/>
              <a:gd name="connsiteX6" fmla="*/ 2701 w 9150032"/>
              <a:gd name="connsiteY6" fmla="*/ 4279257 h 4279257"/>
              <a:gd name="connsiteX7" fmla="*/ 5876 w 9150032"/>
              <a:gd name="connsiteY7" fmla="*/ 718270 h 4279257"/>
              <a:gd name="connsiteX8" fmla="*/ 69 w 9150032"/>
              <a:gd name="connsiteY8" fmla="*/ 0 h 4279257"/>
              <a:gd name="connsiteX0" fmla="*/ 69 w 9150032"/>
              <a:gd name="connsiteY0" fmla="*/ 0 h 4282416"/>
              <a:gd name="connsiteX1" fmla="*/ 9149876 w 9150032"/>
              <a:gd name="connsiteY1" fmla="*/ 9702 h 4282416"/>
              <a:gd name="connsiteX2" fmla="*/ 9149876 w 9150032"/>
              <a:gd name="connsiteY2" fmla="*/ 89 h 4282416"/>
              <a:gd name="connsiteX3" fmla="*/ 9141983 w 9150032"/>
              <a:gd name="connsiteY3" fmla="*/ 3960138 h 4282416"/>
              <a:gd name="connsiteX4" fmla="*/ 1326965 w 9150032"/>
              <a:gd name="connsiteY4" fmla="*/ 3960599 h 4282416"/>
              <a:gd name="connsiteX5" fmla="*/ 1210742 w 9150032"/>
              <a:gd name="connsiteY5" fmla="*/ 4282416 h 4282416"/>
              <a:gd name="connsiteX6" fmla="*/ 2701 w 9150032"/>
              <a:gd name="connsiteY6" fmla="*/ 4279257 h 4282416"/>
              <a:gd name="connsiteX7" fmla="*/ 5876 w 9150032"/>
              <a:gd name="connsiteY7" fmla="*/ 718270 h 4282416"/>
              <a:gd name="connsiteX8" fmla="*/ 69 w 9150032"/>
              <a:gd name="connsiteY8" fmla="*/ 0 h 4282416"/>
              <a:gd name="connsiteX0" fmla="*/ 69 w 9150032"/>
              <a:gd name="connsiteY0" fmla="*/ 0 h 4282416"/>
              <a:gd name="connsiteX1" fmla="*/ 9149876 w 9150032"/>
              <a:gd name="connsiteY1" fmla="*/ 9702 h 4282416"/>
              <a:gd name="connsiteX2" fmla="*/ 9149876 w 9150032"/>
              <a:gd name="connsiteY2" fmla="*/ 89 h 4282416"/>
              <a:gd name="connsiteX3" fmla="*/ 9141983 w 9150032"/>
              <a:gd name="connsiteY3" fmla="*/ 3960138 h 4282416"/>
              <a:gd name="connsiteX4" fmla="*/ 1326965 w 9150032"/>
              <a:gd name="connsiteY4" fmla="*/ 3960599 h 4282416"/>
              <a:gd name="connsiteX5" fmla="*/ 1210742 w 9150032"/>
              <a:gd name="connsiteY5" fmla="*/ 4282416 h 4282416"/>
              <a:gd name="connsiteX6" fmla="*/ 2701 w 9150032"/>
              <a:gd name="connsiteY6" fmla="*/ 4279257 h 4282416"/>
              <a:gd name="connsiteX7" fmla="*/ 5876 w 9150032"/>
              <a:gd name="connsiteY7" fmla="*/ 718270 h 4282416"/>
              <a:gd name="connsiteX8" fmla="*/ 69 w 9150032"/>
              <a:gd name="connsiteY8" fmla="*/ 0 h 4282416"/>
              <a:gd name="connsiteX0" fmla="*/ 69 w 9150032"/>
              <a:gd name="connsiteY0" fmla="*/ 0 h 4279257"/>
              <a:gd name="connsiteX1" fmla="*/ 9149876 w 9150032"/>
              <a:gd name="connsiteY1" fmla="*/ 9702 h 4279257"/>
              <a:gd name="connsiteX2" fmla="*/ 9149876 w 9150032"/>
              <a:gd name="connsiteY2" fmla="*/ 89 h 4279257"/>
              <a:gd name="connsiteX3" fmla="*/ 9141983 w 9150032"/>
              <a:gd name="connsiteY3" fmla="*/ 3960138 h 4279257"/>
              <a:gd name="connsiteX4" fmla="*/ 1326965 w 9150032"/>
              <a:gd name="connsiteY4" fmla="*/ 3960599 h 4279257"/>
              <a:gd name="connsiteX5" fmla="*/ 1210742 w 9150032"/>
              <a:gd name="connsiteY5" fmla="*/ 4277583 h 4279257"/>
              <a:gd name="connsiteX6" fmla="*/ 2701 w 9150032"/>
              <a:gd name="connsiteY6" fmla="*/ 4279257 h 4279257"/>
              <a:gd name="connsiteX7" fmla="*/ 5876 w 9150032"/>
              <a:gd name="connsiteY7" fmla="*/ 718270 h 4279257"/>
              <a:gd name="connsiteX8" fmla="*/ 69 w 9150032"/>
              <a:gd name="connsiteY8" fmla="*/ 0 h 4279257"/>
              <a:gd name="connsiteX0" fmla="*/ 69 w 9150032"/>
              <a:gd name="connsiteY0" fmla="*/ 0 h 4284831"/>
              <a:gd name="connsiteX1" fmla="*/ 9149876 w 9150032"/>
              <a:gd name="connsiteY1" fmla="*/ 9702 h 4284831"/>
              <a:gd name="connsiteX2" fmla="*/ 9149876 w 9150032"/>
              <a:gd name="connsiteY2" fmla="*/ 89 h 4284831"/>
              <a:gd name="connsiteX3" fmla="*/ 9141983 w 9150032"/>
              <a:gd name="connsiteY3" fmla="*/ 3960138 h 4284831"/>
              <a:gd name="connsiteX4" fmla="*/ 1326965 w 9150032"/>
              <a:gd name="connsiteY4" fmla="*/ 3960599 h 4284831"/>
              <a:gd name="connsiteX5" fmla="*/ 1210742 w 9150032"/>
              <a:gd name="connsiteY5" fmla="*/ 4284831 h 4284831"/>
              <a:gd name="connsiteX6" fmla="*/ 2701 w 9150032"/>
              <a:gd name="connsiteY6" fmla="*/ 4279257 h 4284831"/>
              <a:gd name="connsiteX7" fmla="*/ 5876 w 9150032"/>
              <a:gd name="connsiteY7" fmla="*/ 718270 h 4284831"/>
              <a:gd name="connsiteX8" fmla="*/ 69 w 9150032"/>
              <a:gd name="connsiteY8" fmla="*/ 0 h 4284831"/>
              <a:gd name="connsiteX0" fmla="*/ 69 w 9150032"/>
              <a:gd name="connsiteY0" fmla="*/ 0 h 4279257"/>
              <a:gd name="connsiteX1" fmla="*/ 9149876 w 9150032"/>
              <a:gd name="connsiteY1" fmla="*/ 9702 h 4279257"/>
              <a:gd name="connsiteX2" fmla="*/ 9149876 w 9150032"/>
              <a:gd name="connsiteY2" fmla="*/ 89 h 4279257"/>
              <a:gd name="connsiteX3" fmla="*/ 9141983 w 9150032"/>
              <a:gd name="connsiteY3" fmla="*/ 3960138 h 4279257"/>
              <a:gd name="connsiteX4" fmla="*/ 1326965 w 9150032"/>
              <a:gd name="connsiteY4" fmla="*/ 3960599 h 4279257"/>
              <a:gd name="connsiteX5" fmla="*/ 1210742 w 9150032"/>
              <a:gd name="connsiteY5" fmla="*/ 4277583 h 4279257"/>
              <a:gd name="connsiteX6" fmla="*/ 2701 w 9150032"/>
              <a:gd name="connsiteY6" fmla="*/ 4279257 h 4279257"/>
              <a:gd name="connsiteX7" fmla="*/ 5876 w 9150032"/>
              <a:gd name="connsiteY7" fmla="*/ 718270 h 4279257"/>
              <a:gd name="connsiteX8" fmla="*/ 69 w 9150032"/>
              <a:gd name="connsiteY8" fmla="*/ 0 h 4279257"/>
              <a:gd name="connsiteX0" fmla="*/ 69 w 9150032"/>
              <a:gd name="connsiteY0" fmla="*/ 0 h 4282416"/>
              <a:gd name="connsiteX1" fmla="*/ 9149876 w 9150032"/>
              <a:gd name="connsiteY1" fmla="*/ 9702 h 4282416"/>
              <a:gd name="connsiteX2" fmla="*/ 9149876 w 9150032"/>
              <a:gd name="connsiteY2" fmla="*/ 89 h 4282416"/>
              <a:gd name="connsiteX3" fmla="*/ 9141983 w 9150032"/>
              <a:gd name="connsiteY3" fmla="*/ 3960138 h 4282416"/>
              <a:gd name="connsiteX4" fmla="*/ 1326965 w 9150032"/>
              <a:gd name="connsiteY4" fmla="*/ 3960599 h 4282416"/>
              <a:gd name="connsiteX5" fmla="*/ 1213116 w 9150032"/>
              <a:gd name="connsiteY5" fmla="*/ 4282416 h 4282416"/>
              <a:gd name="connsiteX6" fmla="*/ 2701 w 9150032"/>
              <a:gd name="connsiteY6" fmla="*/ 4279257 h 4282416"/>
              <a:gd name="connsiteX7" fmla="*/ 5876 w 9150032"/>
              <a:gd name="connsiteY7" fmla="*/ 718270 h 4282416"/>
              <a:gd name="connsiteX8" fmla="*/ 69 w 9150032"/>
              <a:gd name="connsiteY8" fmla="*/ 0 h 4282416"/>
              <a:gd name="connsiteX0" fmla="*/ 69 w 9150032"/>
              <a:gd name="connsiteY0" fmla="*/ 0 h 4284089"/>
              <a:gd name="connsiteX1" fmla="*/ 9149876 w 9150032"/>
              <a:gd name="connsiteY1" fmla="*/ 9702 h 4284089"/>
              <a:gd name="connsiteX2" fmla="*/ 9149876 w 9150032"/>
              <a:gd name="connsiteY2" fmla="*/ 89 h 4284089"/>
              <a:gd name="connsiteX3" fmla="*/ 9141983 w 9150032"/>
              <a:gd name="connsiteY3" fmla="*/ 3960138 h 4284089"/>
              <a:gd name="connsiteX4" fmla="*/ 1326965 w 9150032"/>
              <a:gd name="connsiteY4" fmla="*/ 3960599 h 4284089"/>
              <a:gd name="connsiteX5" fmla="*/ 1213116 w 9150032"/>
              <a:gd name="connsiteY5" fmla="*/ 4282416 h 4284089"/>
              <a:gd name="connsiteX6" fmla="*/ 2701 w 9150032"/>
              <a:gd name="connsiteY6" fmla="*/ 4284089 h 4284089"/>
              <a:gd name="connsiteX7" fmla="*/ 5876 w 9150032"/>
              <a:gd name="connsiteY7" fmla="*/ 718270 h 4284089"/>
              <a:gd name="connsiteX8" fmla="*/ 69 w 9150032"/>
              <a:gd name="connsiteY8" fmla="*/ 0 h 4284089"/>
              <a:gd name="connsiteX0" fmla="*/ 69 w 9150032"/>
              <a:gd name="connsiteY0" fmla="*/ 0 h 4282416"/>
              <a:gd name="connsiteX1" fmla="*/ 9149876 w 9150032"/>
              <a:gd name="connsiteY1" fmla="*/ 9702 h 4282416"/>
              <a:gd name="connsiteX2" fmla="*/ 9149876 w 9150032"/>
              <a:gd name="connsiteY2" fmla="*/ 89 h 4282416"/>
              <a:gd name="connsiteX3" fmla="*/ 9141983 w 9150032"/>
              <a:gd name="connsiteY3" fmla="*/ 3960138 h 4282416"/>
              <a:gd name="connsiteX4" fmla="*/ 1326965 w 9150032"/>
              <a:gd name="connsiteY4" fmla="*/ 3960599 h 4282416"/>
              <a:gd name="connsiteX5" fmla="*/ 1213116 w 9150032"/>
              <a:gd name="connsiteY5" fmla="*/ 4282416 h 4282416"/>
              <a:gd name="connsiteX6" fmla="*/ 5075 w 9150032"/>
              <a:gd name="connsiteY6" fmla="*/ 4281672 h 4282416"/>
              <a:gd name="connsiteX7" fmla="*/ 5876 w 9150032"/>
              <a:gd name="connsiteY7" fmla="*/ 718270 h 4282416"/>
              <a:gd name="connsiteX8" fmla="*/ 69 w 9150032"/>
              <a:gd name="connsiteY8" fmla="*/ 0 h 4282416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26965 w 9150032"/>
              <a:gd name="connsiteY4" fmla="*/ 3960599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31713 w 9150032"/>
              <a:gd name="connsiteY4" fmla="*/ 3960599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31713 w 9150032"/>
              <a:gd name="connsiteY4" fmla="*/ 3960599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22219 w 9150032"/>
              <a:gd name="connsiteY4" fmla="*/ 3970263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29340 w 9150032"/>
              <a:gd name="connsiteY4" fmla="*/ 3965430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29340 w 9150032"/>
              <a:gd name="connsiteY4" fmla="*/ 3965430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29340 w 9150032"/>
              <a:gd name="connsiteY4" fmla="*/ 3965430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29340 w 9150032"/>
              <a:gd name="connsiteY4" fmla="*/ 3965430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29340 w 9150032"/>
              <a:gd name="connsiteY4" fmla="*/ 3965430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29340 w 9150032"/>
              <a:gd name="connsiteY4" fmla="*/ 3965430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26967 w 9150032"/>
              <a:gd name="connsiteY4" fmla="*/ 3965430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26967 w 9150006"/>
              <a:gd name="connsiteY4" fmla="*/ 3965430 h 4281672"/>
              <a:gd name="connsiteX5" fmla="*/ 1213117 w 9150006"/>
              <a:gd name="connsiteY5" fmla="*/ 4280000 h 4281672"/>
              <a:gd name="connsiteX6" fmla="*/ 5075 w 9150006"/>
              <a:gd name="connsiteY6" fmla="*/ 4281672 h 4281672"/>
              <a:gd name="connsiteX7" fmla="*/ 5876 w 9150006"/>
              <a:gd name="connsiteY7" fmla="*/ 718270 h 4281672"/>
              <a:gd name="connsiteX8" fmla="*/ 69 w 9150006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26967 w 9150006"/>
              <a:gd name="connsiteY4" fmla="*/ 3965430 h 4281672"/>
              <a:gd name="connsiteX5" fmla="*/ 1213117 w 9150006"/>
              <a:gd name="connsiteY5" fmla="*/ 4280000 h 4281672"/>
              <a:gd name="connsiteX6" fmla="*/ 5075 w 9150006"/>
              <a:gd name="connsiteY6" fmla="*/ 4281672 h 4281672"/>
              <a:gd name="connsiteX7" fmla="*/ 5876 w 9150006"/>
              <a:gd name="connsiteY7" fmla="*/ 718270 h 4281672"/>
              <a:gd name="connsiteX8" fmla="*/ 69 w 9150006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26967 w 9150006"/>
              <a:gd name="connsiteY4" fmla="*/ 3965430 h 4281672"/>
              <a:gd name="connsiteX5" fmla="*/ 1213117 w 9150006"/>
              <a:gd name="connsiteY5" fmla="*/ 4280000 h 4281672"/>
              <a:gd name="connsiteX6" fmla="*/ 5075 w 9150006"/>
              <a:gd name="connsiteY6" fmla="*/ 4281672 h 4281672"/>
              <a:gd name="connsiteX7" fmla="*/ 5876 w 9150006"/>
              <a:gd name="connsiteY7" fmla="*/ 718270 h 4281672"/>
              <a:gd name="connsiteX8" fmla="*/ 69 w 9150006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26967 w 9150006"/>
              <a:gd name="connsiteY4" fmla="*/ 3965430 h 4281672"/>
              <a:gd name="connsiteX5" fmla="*/ 1213117 w 9150006"/>
              <a:gd name="connsiteY5" fmla="*/ 4280000 h 4281672"/>
              <a:gd name="connsiteX6" fmla="*/ 5075 w 9150006"/>
              <a:gd name="connsiteY6" fmla="*/ 4281672 h 4281672"/>
              <a:gd name="connsiteX7" fmla="*/ 5876 w 9150006"/>
              <a:gd name="connsiteY7" fmla="*/ 718270 h 4281672"/>
              <a:gd name="connsiteX8" fmla="*/ 69 w 9150006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31714 w 9150006"/>
              <a:gd name="connsiteY4" fmla="*/ 3963015 h 4281672"/>
              <a:gd name="connsiteX5" fmla="*/ 1213117 w 9150006"/>
              <a:gd name="connsiteY5" fmla="*/ 4280000 h 4281672"/>
              <a:gd name="connsiteX6" fmla="*/ 5075 w 9150006"/>
              <a:gd name="connsiteY6" fmla="*/ 4281672 h 4281672"/>
              <a:gd name="connsiteX7" fmla="*/ 5876 w 9150006"/>
              <a:gd name="connsiteY7" fmla="*/ 718270 h 4281672"/>
              <a:gd name="connsiteX8" fmla="*/ 69 w 9150006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13117 w 9150006"/>
              <a:gd name="connsiteY5" fmla="*/ 4280000 h 4281672"/>
              <a:gd name="connsiteX6" fmla="*/ 5075 w 9150006"/>
              <a:gd name="connsiteY6" fmla="*/ 4281672 h 4281672"/>
              <a:gd name="connsiteX7" fmla="*/ 5876 w 9150006"/>
              <a:gd name="connsiteY7" fmla="*/ 718270 h 4281672"/>
              <a:gd name="connsiteX8" fmla="*/ 69 w 9150006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13117 w 9150006"/>
              <a:gd name="connsiteY5" fmla="*/ 4280000 h 4281672"/>
              <a:gd name="connsiteX6" fmla="*/ 5075 w 9150006"/>
              <a:gd name="connsiteY6" fmla="*/ 4281672 h 4281672"/>
              <a:gd name="connsiteX7" fmla="*/ 5876 w 9150006"/>
              <a:gd name="connsiteY7" fmla="*/ 718270 h 4281672"/>
              <a:gd name="connsiteX8" fmla="*/ 69 w 9150006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13117 w 9150006"/>
              <a:gd name="connsiteY5" fmla="*/ 4280000 h 4281672"/>
              <a:gd name="connsiteX6" fmla="*/ 5075 w 9150006"/>
              <a:gd name="connsiteY6" fmla="*/ 4281672 h 4281672"/>
              <a:gd name="connsiteX7" fmla="*/ 5876 w 9150006"/>
              <a:gd name="connsiteY7" fmla="*/ 718270 h 4281672"/>
              <a:gd name="connsiteX8" fmla="*/ 69 w 9150006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13117 w 9150006"/>
              <a:gd name="connsiteY5" fmla="*/ 4280000 h 4281672"/>
              <a:gd name="connsiteX6" fmla="*/ 5075 w 9150006"/>
              <a:gd name="connsiteY6" fmla="*/ 4281672 h 4281672"/>
              <a:gd name="connsiteX7" fmla="*/ 5876 w 9150006"/>
              <a:gd name="connsiteY7" fmla="*/ 718270 h 4281672"/>
              <a:gd name="connsiteX8" fmla="*/ 69 w 9150006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13117 w 9150006"/>
              <a:gd name="connsiteY5" fmla="*/ 4280000 h 4281672"/>
              <a:gd name="connsiteX6" fmla="*/ 5075 w 9150006"/>
              <a:gd name="connsiteY6" fmla="*/ 4281672 h 4281672"/>
              <a:gd name="connsiteX7" fmla="*/ 5876 w 9150006"/>
              <a:gd name="connsiteY7" fmla="*/ 718270 h 4281672"/>
              <a:gd name="connsiteX8" fmla="*/ 69 w 9150006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05053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05053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05053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05053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14718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14718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14718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14718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14718 h 4281672"/>
              <a:gd name="connsiteX6" fmla="*/ 1261493 w 9150006"/>
              <a:gd name="connsiteY6" fmla="*/ 4210420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14718 h 4281672"/>
              <a:gd name="connsiteX6" fmla="*/ 1261493 w 9150006"/>
              <a:gd name="connsiteY6" fmla="*/ 4210420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14718 h 4281672"/>
              <a:gd name="connsiteX6" fmla="*/ 1261493 w 9150006"/>
              <a:gd name="connsiteY6" fmla="*/ 4210420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14718 h 4281672"/>
              <a:gd name="connsiteX6" fmla="*/ 1261493 w 9150006"/>
              <a:gd name="connsiteY6" fmla="*/ 4210420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14718 h 4281672"/>
              <a:gd name="connsiteX6" fmla="*/ 1261493 w 9150006"/>
              <a:gd name="connsiteY6" fmla="*/ 4210420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70986 w 9150006"/>
              <a:gd name="connsiteY5" fmla="*/ 4017134 h 4281672"/>
              <a:gd name="connsiteX6" fmla="*/ 1261493 w 9150006"/>
              <a:gd name="connsiteY6" fmla="*/ 4210420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70986 w 9150006"/>
              <a:gd name="connsiteY5" fmla="*/ 4007470 h 4281672"/>
              <a:gd name="connsiteX6" fmla="*/ 1261493 w 9150006"/>
              <a:gd name="connsiteY6" fmla="*/ 4210420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8613 w 9150006"/>
              <a:gd name="connsiteY5" fmla="*/ 4009886 h 4281672"/>
              <a:gd name="connsiteX6" fmla="*/ 1261493 w 9150006"/>
              <a:gd name="connsiteY6" fmla="*/ 4210420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8613 w 9150006"/>
              <a:gd name="connsiteY5" fmla="*/ 4009886 h 4281672"/>
              <a:gd name="connsiteX6" fmla="*/ 1261493 w 9150006"/>
              <a:gd name="connsiteY6" fmla="*/ 4210420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8613 w 9150006"/>
              <a:gd name="connsiteY5" fmla="*/ 4009886 h 4281672"/>
              <a:gd name="connsiteX6" fmla="*/ 1261493 w 9150006"/>
              <a:gd name="connsiteY6" fmla="*/ 4220084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8613 w 9150006"/>
              <a:gd name="connsiteY5" fmla="*/ 4009886 h 4281672"/>
              <a:gd name="connsiteX6" fmla="*/ 1261493 w 9150006"/>
              <a:gd name="connsiteY6" fmla="*/ 4220084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75733 w 9150006"/>
              <a:gd name="connsiteY5" fmla="*/ 4005054 h 4281672"/>
              <a:gd name="connsiteX6" fmla="*/ 1261493 w 9150006"/>
              <a:gd name="connsiteY6" fmla="*/ 4220084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73360 w 9150006"/>
              <a:gd name="connsiteY5" fmla="*/ 4002638 h 4281672"/>
              <a:gd name="connsiteX6" fmla="*/ 1261493 w 9150006"/>
              <a:gd name="connsiteY6" fmla="*/ 4220084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70987 w 9150006"/>
              <a:gd name="connsiteY5" fmla="*/ 4009885 h 4281672"/>
              <a:gd name="connsiteX6" fmla="*/ 1261493 w 9150006"/>
              <a:gd name="connsiteY6" fmla="*/ 4220084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70987 w 9150006"/>
              <a:gd name="connsiteY5" fmla="*/ 4009885 h 4281672"/>
              <a:gd name="connsiteX6" fmla="*/ 1261493 w 9150006"/>
              <a:gd name="connsiteY6" fmla="*/ 4220084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8613 w 9150006"/>
              <a:gd name="connsiteY5" fmla="*/ 4009885 h 4281672"/>
              <a:gd name="connsiteX6" fmla="*/ 1261493 w 9150006"/>
              <a:gd name="connsiteY6" fmla="*/ 4220084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8613 w 9150006"/>
              <a:gd name="connsiteY5" fmla="*/ 4009885 h 4281672"/>
              <a:gd name="connsiteX6" fmla="*/ 1261493 w 9150006"/>
              <a:gd name="connsiteY6" fmla="*/ 4220084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8613 w 9150006"/>
              <a:gd name="connsiteY5" fmla="*/ 4009885 h 4281672"/>
              <a:gd name="connsiteX6" fmla="*/ 1261493 w 9150006"/>
              <a:gd name="connsiteY6" fmla="*/ 4220084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806 w 9152201"/>
              <a:gd name="connsiteY0" fmla="*/ 0 h 4280000"/>
              <a:gd name="connsiteX1" fmla="*/ 9150613 w 9152201"/>
              <a:gd name="connsiteY1" fmla="*/ 9702 h 4280000"/>
              <a:gd name="connsiteX2" fmla="*/ 9150613 w 9152201"/>
              <a:gd name="connsiteY2" fmla="*/ 89 h 4280000"/>
              <a:gd name="connsiteX3" fmla="*/ 9140347 w 9152201"/>
              <a:gd name="connsiteY3" fmla="*/ 3967387 h 4280000"/>
              <a:gd name="connsiteX4" fmla="*/ 1344317 w 9152201"/>
              <a:gd name="connsiteY4" fmla="*/ 3963016 h 4280000"/>
              <a:gd name="connsiteX5" fmla="*/ 1269350 w 9152201"/>
              <a:gd name="connsiteY5" fmla="*/ 4009885 h 4280000"/>
              <a:gd name="connsiteX6" fmla="*/ 1262230 w 9152201"/>
              <a:gd name="connsiteY6" fmla="*/ 4220084 h 4280000"/>
              <a:gd name="connsiteX7" fmla="*/ 1213854 w 9152201"/>
              <a:gd name="connsiteY7" fmla="*/ 4280000 h 4280000"/>
              <a:gd name="connsiteX8" fmla="*/ 4376 w 9152201"/>
              <a:gd name="connsiteY8" fmla="*/ 4265541 h 4280000"/>
              <a:gd name="connsiteX9" fmla="*/ 6613 w 9152201"/>
              <a:gd name="connsiteY9" fmla="*/ 718270 h 4280000"/>
              <a:gd name="connsiteX10" fmla="*/ 806 w 9152201"/>
              <a:gd name="connsiteY10" fmla="*/ 0 h 4280000"/>
              <a:gd name="connsiteX0" fmla="*/ 806 w 9152201"/>
              <a:gd name="connsiteY0" fmla="*/ 0 h 4280000"/>
              <a:gd name="connsiteX1" fmla="*/ 9150613 w 9152201"/>
              <a:gd name="connsiteY1" fmla="*/ 9702 h 4280000"/>
              <a:gd name="connsiteX2" fmla="*/ 9150613 w 9152201"/>
              <a:gd name="connsiteY2" fmla="*/ 89 h 4280000"/>
              <a:gd name="connsiteX3" fmla="*/ 9140347 w 9152201"/>
              <a:gd name="connsiteY3" fmla="*/ 3967387 h 4280000"/>
              <a:gd name="connsiteX4" fmla="*/ 1344317 w 9152201"/>
              <a:gd name="connsiteY4" fmla="*/ 3963016 h 4280000"/>
              <a:gd name="connsiteX5" fmla="*/ 1269350 w 9152201"/>
              <a:gd name="connsiteY5" fmla="*/ 4009885 h 4280000"/>
              <a:gd name="connsiteX6" fmla="*/ 1262230 w 9152201"/>
              <a:gd name="connsiteY6" fmla="*/ 4220084 h 4280000"/>
              <a:gd name="connsiteX7" fmla="*/ 1196100 w 9152201"/>
              <a:gd name="connsiteY7" fmla="*/ 4280000 h 4280000"/>
              <a:gd name="connsiteX8" fmla="*/ 4376 w 9152201"/>
              <a:gd name="connsiteY8" fmla="*/ 4265541 h 4280000"/>
              <a:gd name="connsiteX9" fmla="*/ 6613 w 9152201"/>
              <a:gd name="connsiteY9" fmla="*/ 718270 h 4280000"/>
              <a:gd name="connsiteX10" fmla="*/ 806 w 9152201"/>
              <a:gd name="connsiteY10" fmla="*/ 0 h 4280000"/>
              <a:gd name="connsiteX0" fmla="*/ 806 w 9152201"/>
              <a:gd name="connsiteY0" fmla="*/ 0 h 4265541"/>
              <a:gd name="connsiteX1" fmla="*/ 9150613 w 9152201"/>
              <a:gd name="connsiteY1" fmla="*/ 9702 h 4265541"/>
              <a:gd name="connsiteX2" fmla="*/ 9150613 w 9152201"/>
              <a:gd name="connsiteY2" fmla="*/ 89 h 4265541"/>
              <a:gd name="connsiteX3" fmla="*/ 9140347 w 9152201"/>
              <a:gd name="connsiteY3" fmla="*/ 3967387 h 4265541"/>
              <a:gd name="connsiteX4" fmla="*/ 1344317 w 9152201"/>
              <a:gd name="connsiteY4" fmla="*/ 3963016 h 4265541"/>
              <a:gd name="connsiteX5" fmla="*/ 1269350 w 9152201"/>
              <a:gd name="connsiteY5" fmla="*/ 4009885 h 4265541"/>
              <a:gd name="connsiteX6" fmla="*/ 1262230 w 9152201"/>
              <a:gd name="connsiteY6" fmla="*/ 4220084 h 4265541"/>
              <a:gd name="connsiteX7" fmla="*/ 1196100 w 9152201"/>
              <a:gd name="connsiteY7" fmla="*/ 4258492 h 4265541"/>
              <a:gd name="connsiteX8" fmla="*/ 4376 w 9152201"/>
              <a:gd name="connsiteY8" fmla="*/ 4265541 h 4265541"/>
              <a:gd name="connsiteX9" fmla="*/ 6613 w 9152201"/>
              <a:gd name="connsiteY9" fmla="*/ 718270 h 4265541"/>
              <a:gd name="connsiteX10" fmla="*/ 806 w 9152201"/>
              <a:gd name="connsiteY10" fmla="*/ 0 h 4265541"/>
              <a:gd name="connsiteX0" fmla="*/ 806 w 9152201"/>
              <a:gd name="connsiteY0" fmla="*/ 0 h 4268653"/>
              <a:gd name="connsiteX1" fmla="*/ 9150613 w 9152201"/>
              <a:gd name="connsiteY1" fmla="*/ 9702 h 4268653"/>
              <a:gd name="connsiteX2" fmla="*/ 9150613 w 9152201"/>
              <a:gd name="connsiteY2" fmla="*/ 89 h 4268653"/>
              <a:gd name="connsiteX3" fmla="*/ 9140347 w 9152201"/>
              <a:gd name="connsiteY3" fmla="*/ 3967387 h 4268653"/>
              <a:gd name="connsiteX4" fmla="*/ 1344317 w 9152201"/>
              <a:gd name="connsiteY4" fmla="*/ 3963016 h 4268653"/>
              <a:gd name="connsiteX5" fmla="*/ 1269350 w 9152201"/>
              <a:gd name="connsiteY5" fmla="*/ 4009885 h 4268653"/>
              <a:gd name="connsiteX6" fmla="*/ 1262230 w 9152201"/>
              <a:gd name="connsiteY6" fmla="*/ 4220084 h 4268653"/>
              <a:gd name="connsiteX7" fmla="*/ 1173736 w 9152201"/>
              <a:gd name="connsiteY7" fmla="*/ 4268653 h 4268653"/>
              <a:gd name="connsiteX8" fmla="*/ 4376 w 9152201"/>
              <a:gd name="connsiteY8" fmla="*/ 4265541 h 4268653"/>
              <a:gd name="connsiteX9" fmla="*/ 6613 w 9152201"/>
              <a:gd name="connsiteY9" fmla="*/ 718270 h 4268653"/>
              <a:gd name="connsiteX10" fmla="*/ 806 w 9152201"/>
              <a:gd name="connsiteY10" fmla="*/ 0 h 4268653"/>
              <a:gd name="connsiteX0" fmla="*/ 806 w 9152201"/>
              <a:gd name="connsiteY0" fmla="*/ 0 h 4275580"/>
              <a:gd name="connsiteX1" fmla="*/ 9150613 w 9152201"/>
              <a:gd name="connsiteY1" fmla="*/ 9702 h 4275580"/>
              <a:gd name="connsiteX2" fmla="*/ 9150613 w 9152201"/>
              <a:gd name="connsiteY2" fmla="*/ 89 h 4275580"/>
              <a:gd name="connsiteX3" fmla="*/ 9140347 w 9152201"/>
              <a:gd name="connsiteY3" fmla="*/ 3967387 h 4275580"/>
              <a:gd name="connsiteX4" fmla="*/ 1344317 w 9152201"/>
              <a:gd name="connsiteY4" fmla="*/ 3963016 h 4275580"/>
              <a:gd name="connsiteX5" fmla="*/ 1269350 w 9152201"/>
              <a:gd name="connsiteY5" fmla="*/ 4009885 h 4275580"/>
              <a:gd name="connsiteX6" fmla="*/ 1262230 w 9152201"/>
              <a:gd name="connsiteY6" fmla="*/ 4220084 h 4275580"/>
              <a:gd name="connsiteX7" fmla="*/ 1173736 w 9152201"/>
              <a:gd name="connsiteY7" fmla="*/ 4268653 h 4275580"/>
              <a:gd name="connsiteX8" fmla="*/ 4376 w 9152201"/>
              <a:gd name="connsiteY8" fmla="*/ 4265541 h 4275580"/>
              <a:gd name="connsiteX9" fmla="*/ 6613 w 9152201"/>
              <a:gd name="connsiteY9" fmla="*/ 718270 h 4275580"/>
              <a:gd name="connsiteX10" fmla="*/ 806 w 9152201"/>
              <a:gd name="connsiteY10" fmla="*/ 0 h 4275580"/>
              <a:gd name="connsiteX0" fmla="*/ 806 w 9152201"/>
              <a:gd name="connsiteY0" fmla="*/ 0 h 4268653"/>
              <a:gd name="connsiteX1" fmla="*/ 9150613 w 9152201"/>
              <a:gd name="connsiteY1" fmla="*/ 9702 h 4268653"/>
              <a:gd name="connsiteX2" fmla="*/ 9150613 w 9152201"/>
              <a:gd name="connsiteY2" fmla="*/ 89 h 4268653"/>
              <a:gd name="connsiteX3" fmla="*/ 9140347 w 9152201"/>
              <a:gd name="connsiteY3" fmla="*/ 3967387 h 4268653"/>
              <a:gd name="connsiteX4" fmla="*/ 1344317 w 9152201"/>
              <a:gd name="connsiteY4" fmla="*/ 3963016 h 4268653"/>
              <a:gd name="connsiteX5" fmla="*/ 1269350 w 9152201"/>
              <a:gd name="connsiteY5" fmla="*/ 4009885 h 4268653"/>
              <a:gd name="connsiteX6" fmla="*/ 1262230 w 9152201"/>
              <a:gd name="connsiteY6" fmla="*/ 4220084 h 4268653"/>
              <a:gd name="connsiteX7" fmla="*/ 1173736 w 9152201"/>
              <a:gd name="connsiteY7" fmla="*/ 4268653 h 4268653"/>
              <a:gd name="connsiteX8" fmla="*/ 4376 w 9152201"/>
              <a:gd name="connsiteY8" fmla="*/ 4265541 h 4268653"/>
              <a:gd name="connsiteX9" fmla="*/ 6613 w 9152201"/>
              <a:gd name="connsiteY9" fmla="*/ 718270 h 4268653"/>
              <a:gd name="connsiteX10" fmla="*/ 806 w 9152201"/>
              <a:gd name="connsiteY10" fmla="*/ 0 h 4268653"/>
              <a:gd name="connsiteX0" fmla="*/ 806 w 9152201"/>
              <a:gd name="connsiteY0" fmla="*/ 0 h 4290821"/>
              <a:gd name="connsiteX1" fmla="*/ 9150613 w 9152201"/>
              <a:gd name="connsiteY1" fmla="*/ 9702 h 4290821"/>
              <a:gd name="connsiteX2" fmla="*/ 9150613 w 9152201"/>
              <a:gd name="connsiteY2" fmla="*/ 89 h 4290821"/>
              <a:gd name="connsiteX3" fmla="*/ 9140347 w 9152201"/>
              <a:gd name="connsiteY3" fmla="*/ 3967387 h 4290821"/>
              <a:gd name="connsiteX4" fmla="*/ 1344317 w 9152201"/>
              <a:gd name="connsiteY4" fmla="*/ 3963016 h 4290821"/>
              <a:gd name="connsiteX5" fmla="*/ 1269350 w 9152201"/>
              <a:gd name="connsiteY5" fmla="*/ 4009885 h 4290821"/>
              <a:gd name="connsiteX6" fmla="*/ 1262230 w 9152201"/>
              <a:gd name="connsiteY6" fmla="*/ 4220084 h 4290821"/>
              <a:gd name="connsiteX7" fmla="*/ 1173736 w 9152201"/>
              <a:gd name="connsiteY7" fmla="*/ 4268653 h 4290821"/>
              <a:gd name="connsiteX8" fmla="*/ 4376 w 9152201"/>
              <a:gd name="connsiteY8" fmla="*/ 4265541 h 4290821"/>
              <a:gd name="connsiteX9" fmla="*/ 6613 w 9152201"/>
              <a:gd name="connsiteY9" fmla="*/ 718270 h 4290821"/>
              <a:gd name="connsiteX10" fmla="*/ 806 w 9152201"/>
              <a:gd name="connsiteY10" fmla="*/ 0 h 4290821"/>
              <a:gd name="connsiteX0" fmla="*/ 806 w 9152201"/>
              <a:gd name="connsiteY0" fmla="*/ 0 h 4270324"/>
              <a:gd name="connsiteX1" fmla="*/ 9150613 w 9152201"/>
              <a:gd name="connsiteY1" fmla="*/ 9702 h 4270324"/>
              <a:gd name="connsiteX2" fmla="*/ 9150613 w 9152201"/>
              <a:gd name="connsiteY2" fmla="*/ 89 h 4270324"/>
              <a:gd name="connsiteX3" fmla="*/ 9140347 w 9152201"/>
              <a:gd name="connsiteY3" fmla="*/ 3967387 h 4270324"/>
              <a:gd name="connsiteX4" fmla="*/ 1344317 w 9152201"/>
              <a:gd name="connsiteY4" fmla="*/ 3963016 h 4270324"/>
              <a:gd name="connsiteX5" fmla="*/ 1269350 w 9152201"/>
              <a:gd name="connsiteY5" fmla="*/ 4009885 h 4270324"/>
              <a:gd name="connsiteX6" fmla="*/ 1262230 w 9152201"/>
              <a:gd name="connsiteY6" fmla="*/ 4220084 h 4270324"/>
              <a:gd name="connsiteX7" fmla="*/ 1173736 w 9152201"/>
              <a:gd name="connsiteY7" fmla="*/ 4268653 h 4270324"/>
              <a:gd name="connsiteX8" fmla="*/ 4376 w 9152201"/>
              <a:gd name="connsiteY8" fmla="*/ 4265541 h 4270324"/>
              <a:gd name="connsiteX9" fmla="*/ 6613 w 9152201"/>
              <a:gd name="connsiteY9" fmla="*/ 718270 h 4270324"/>
              <a:gd name="connsiteX10" fmla="*/ 806 w 9152201"/>
              <a:gd name="connsiteY10" fmla="*/ 0 h 4270324"/>
              <a:gd name="connsiteX0" fmla="*/ 806 w 9152201"/>
              <a:gd name="connsiteY0" fmla="*/ 0 h 4275702"/>
              <a:gd name="connsiteX1" fmla="*/ 9150613 w 9152201"/>
              <a:gd name="connsiteY1" fmla="*/ 9702 h 4275702"/>
              <a:gd name="connsiteX2" fmla="*/ 9150613 w 9152201"/>
              <a:gd name="connsiteY2" fmla="*/ 89 h 4275702"/>
              <a:gd name="connsiteX3" fmla="*/ 9140347 w 9152201"/>
              <a:gd name="connsiteY3" fmla="*/ 3967387 h 4275702"/>
              <a:gd name="connsiteX4" fmla="*/ 1344317 w 9152201"/>
              <a:gd name="connsiteY4" fmla="*/ 3963016 h 4275702"/>
              <a:gd name="connsiteX5" fmla="*/ 1269350 w 9152201"/>
              <a:gd name="connsiteY5" fmla="*/ 4009885 h 4275702"/>
              <a:gd name="connsiteX6" fmla="*/ 1262230 w 9152201"/>
              <a:gd name="connsiteY6" fmla="*/ 4220084 h 4275702"/>
              <a:gd name="connsiteX7" fmla="*/ 1173736 w 9152201"/>
              <a:gd name="connsiteY7" fmla="*/ 4268653 h 4275702"/>
              <a:gd name="connsiteX8" fmla="*/ 0 w 9152201"/>
              <a:gd name="connsiteY8" fmla="*/ 4275702 h 4275702"/>
              <a:gd name="connsiteX9" fmla="*/ 6613 w 9152201"/>
              <a:gd name="connsiteY9" fmla="*/ 718270 h 4275702"/>
              <a:gd name="connsiteX10" fmla="*/ 806 w 9152201"/>
              <a:gd name="connsiteY10" fmla="*/ 0 h 4275702"/>
              <a:gd name="connsiteX0" fmla="*/ 806 w 9152201"/>
              <a:gd name="connsiteY0" fmla="*/ 0 h 4270324"/>
              <a:gd name="connsiteX1" fmla="*/ 9150613 w 9152201"/>
              <a:gd name="connsiteY1" fmla="*/ 9702 h 4270324"/>
              <a:gd name="connsiteX2" fmla="*/ 9150613 w 9152201"/>
              <a:gd name="connsiteY2" fmla="*/ 89 h 4270324"/>
              <a:gd name="connsiteX3" fmla="*/ 9140347 w 9152201"/>
              <a:gd name="connsiteY3" fmla="*/ 3967387 h 4270324"/>
              <a:gd name="connsiteX4" fmla="*/ 1344317 w 9152201"/>
              <a:gd name="connsiteY4" fmla="*/ 3963016 h 4270324"/>
              <a:gd name="connsiteX5" fmla="*/ 1269350 w 9152201"/>
              <a:gd name="connsiteY5" fmla="*/ 4009885 h 4270324"/>
              <a:gd name="connsiteX6" fmla="*/ 1262230 w 9152201"/>
              <a:gd name="connsiteY6" fmla="*/ 4220084 h 4270324"/>
              <a:gd name="connsiteX7" fmla="*/ 1173736 w 9152201"/>
              <a:gd name="connsiteY7" fmla="*/ 4268653 h 4270324"/>
              <a:gd name="connsiteX8" fmla="*/ 0 w 9152201"/>
              <a:gd name="connsiteY8" fmla="*/ 4265542 h 4270324"/>
              <a:gd name="connsiteX9" fmla="*/ 6613 w 9152201"/>
              <a:gd name="connsiteY9" fmla="*/ 718270 h 4270324"/>
              <a:gd name="connsiteX10" fmla="*/ 806 w 9152201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41153 w 9153007"/>
              <a:gd name="connsiteY3" fmla="*/ 3967387 h 4270324"/>
              <a:gd name="connsiteX4" fmla="*/ 1345123 w 9153007"/>
              <a:gd name="connsiteY4" fmla="*/ 396301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41153 w 9153007"/>
              <a:gd name="connsiteY3" fmla="*/ 3967387 h 4270324"/>
              <a:gd name="connsiteX4" fmla="*/ 1339531 w 9153007"/>
              <a:gd name="connsiteY4" fmla="*/ 3968097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41153 w 9153007"/>
              <a:gd name="connsiteY3" fmla="*/ 3967387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41153 w 9153007"/>
              <a:gd name="connsiteY3" fmla="*/ 3967387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41153 w 9153007"/>
              <a:gd name="connsiteY3" fmla="*/ 3967387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14309 w 9153007"/>
              <a:gd name="connsiteY3" fmla="*/ 3974881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14309 w 9153007"/>
              <a:gd name="connsiteY3" fmla="*/ 3974881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14309 w 9153007"/>
              <a:gd name="connsiteY3" fmla="*/ 3974881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14309 w 9153007"/>
              <a:gd name="connsiteY3" fmla="*/ 3974881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14309 w 9153007"/>
              <a:gd name="connsiteY3" fmla="*/ 3974881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14309 w 9153007"/>
              <a:gd name="connsiteY3" fmla="*/ 3974881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14309 w 9153007"/>
              <a:gd name="connsiteY3" fmla="*/ 3974881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14309 w 9153007"/>
              <a:gd name="connsiteY3" fmla="*/ 3974881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14309 w 9153007"/>
              <a:gd name="connsiteY3" fmla="*/ 3974881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67917"/>
              <a:gd name="connsiteY0" fmla="*/ 0 h 4270324"/>
              <a:gd name="connsiteX1" fmla="*/ 9151419 w 9167917"/>
              <a:gd name="connsiteY1" fmla="*/ 9702 h 4270324"/>
              <a:gd name="connsiteX2" fmla="*/ 9151419 w 9167917"/>
              <a:gd name="connsiteY2" fmla="*/ 89 h 4270324"/>
              <a:gd name="connsiteX3" fmla="*/ 9167917 w 9167917"/>
              <a:gd name="connsiteY3" fmla="*/ 3971134 h 4270324"/>
              <a:gd name="connsiteX4" fmla="*/ 1352489 w 9167917"/>
              <a:gd name="connsiteY4" fmla="*/ 3975946 h 4270324"/>
              <a:gd name="connsiteX5" fmla="*/ 1270156 w 9167917"/>
              <a:gd name="connsiteY5" fmla="*/ 4009885 h 4270324"/>
              <a:gd name="connsiteX6" fmla="*/ 1263036 w 9167917"/>
              <a:gd name="connsiteY6" fmla="*/ 4220084 h 4270324"/>
              <a:gd name="connsiteX7" fmla="*/ 1174542 w 9167917"/>
              <a:gd name="connsiteY7" fmla="*/ 4268653 h 4270324"/>
              <a:gd name="connsiteX8" fmla="*/ 806 w 9167917"/>
              <a:gd name="connsiteY8" fmla="*/ 4265542 h 4270324"/>
              <a:gd name="connsiteX9" fmla="*/ 7419 w 9167917"/>
              <a:gd name="connsiteY9" fmla="*/ 718270 h 4270324"/>
              <a:gd name="connsiteX10" fmla="*/ 806 w 916791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14309 w 9153007"/>
              <a:gd name="connsiteY3" fmla="*/ 3967387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67917"/>
              <a:gd name="connsiteY0" fmla="*/ 0 h 4270324"/>
              <a:gd name="connsiteX1" fmla="*/ 9151419 w 9167917"/>
              <a:gd name="connsiteY1" fmla="*/ 9702 h 4270324"/>
              <a:gd name="connsiteX2" fmla="*/ 9151419 w 9167917"/>
              <a:gd name="connsiteY2" fmla="*/ 89 h 4270324"/>
              <a:gd name="connsiteX3" fmla="*/ 9167917 w 9167917"/>
              <a:gd name="connsiteY3" fmla="*/ 3974881 h 4270324"/>
              <a:gd name="connsiteX4" fmla="*/ 1352489 w 9167917"/>
              <a:gd name="connsiteY4" fmla="*/ 3975946 h 4270324"/>
              <a:gd name="connsiteX5" fmla="*/ 1270156 w 9167917"/>
              <a:gd name="connsiteY5" fmla="*/ 4009885 h 4270324"/>
              <a:gd name="connsiteX6" fmla="*/ 1263036 w 9167917"/>
              <a:gd name="connsiteY6" fmla="*/ 4220084 h 4270324"/>
              <a:gd name="connsiteX7" fmla="*/ 1174542 w 9167917"/>
              <a:gd name="connsiteY7" fmla="*/ 4268653 h 4270324"/>
              <a:gd name="connsiteX8" fmla="*/ 806 w 9167917"/>
              <a:gd name="connsiteY8" fmla="*/ 4265542 h 4270324"/>
              <a:gd name="connsiteX9" fmla="*/ 7419 w 9167917"/>
              <a:gd name="connsiteY9" fmla="*/ 718270 h 4270324"/>
              <a:gd name="connsiteX10" fmla="*/ 806 w 9167917"/>
              <a:gd name="connsiteY10" fmla="*/ 0 h 4270324"/>
              <a:gd name="connsiteX0" fmla="*/ 806 w 9167917"/>
              <a:gd name="connsiteY0" fmla="*/ 0 h 4276230"/>
              <a:gd name="connsiteX1" fmla="*/ 9151419 w 9167917"/>
              <a:gd name="connsiteY1" fmla="*/ 9702 h 4276230"/>
              <a:gd name="connsiteX2" fmla="*/ 9151419 w 9167917"/>
              <a:gd name="connsiteY2" fmla="*/ 89 h 4276230"/>
              <a:gd name="connsiteX3" fmla="*/ 9167917 w 9167917"/>
              <a:gd name="connsiteY3" fmla="*/ 3974881 h 4276230"/>
              <a:gd name="connsiteX4" fmla="*/ 1352489 w 9167917"/>
              <a:gd name="connsiteY4" fmla="*/ 3975946 h 4276230"/>
              <a:gd name="connsiteX5" fmla="*/ 1270156 w 9167917"/>
              <a:gd name="connsiteY5" fmla="*/ 4009885 h 4276230"/>
              <a:gd name="connsiteX6" fmla="*/ 1263036 w 9167917"/>
              <a:gd name="connsiteY6" fmla="*/ 4220084 h 4276230"/>
              <a:gd name="connsiteX7" fmla="*/ 1174542 w 9167917"/>
              <a:gd name="connsiteY7" fmla="*/ 4268653 h 4276230"/>
              <a:gd name="connsiteX8" fmla="*/ 806 w 9167917"/>
              <a:gd name="connsiteY8" fmla="*/ 4265543 h 4276230"/>
              <a:gd name="connsiteX9" fmla="*/ 7419 w 9167917"/>
              <a:gd name="connsiteY9" fmla="*/ 718270 h 4276230"/>
              <a:gd name="connsiteX10" fmla="*/ 806 w 9167917"/>
              <a:gd name="connsiteY10" fmla="*/ 0 h 4276230"/>
              <a:gd name="connsiteX0" fmla="*/ 806 w 9167917"/>
              <a:gd name="connsiteY0" fmla="*/ 0 h 4268653"/>
              <a:gd name="connsiteX1" fmla="*/ 9151419 w 9167917"/>
              <a:gd name="connsiteY1" fmla="*/ 9702 h 4268653"/>
              <a:gd name="connsiteX2" fmla="*/ 9151419 w 9167917"/>
              <a:gd name="connsiteY2" fmla="*/ 89 h 4268653"/>
              <a:gd name="connsiteX3" fmla="*/ 9167917 w 9167917"/>
              <a:gd name="connsiteY3" fmla="*/ 3974881 h 4268653"/>
              <a:gd name="connsiteX4" fmla="*/ 1352489 w 9167917"/>
              <a:gd name="connsiteY4" fmla="*/ 3975946 h 4268653"/>
              <a:gd name="connsiteX5" fmla="*/ 1270156 w 9167917"/>
              <a:gd name="connsiteY5" fmla="*/ 4009885 h 4268653"/>
              <a:gd name="connsiteX6" fmla="*/ 1263036 w 9167917"/>
              <a:gd name="connsiteY6" fmla="*/ 4220084 h 4268653"/>
              <a:gd name="connsiteX7" fmla="*/ 1174542 w 9167917"/>
              <a:gd name="connsiteY7" fmla="*/ 4268653 h 4268653"/>
              <a:gd name="connsiteX8" fmla="*/ 806 w 9167917"/>
              <a:gd name="connsiteY8" fmla="*/ 4250555 h 4268653"/>
              <a:gd name="connsiteX9" fmla="*/ 7419 w 9167917"/>
              <a:gd name="connsiteY9" fmla="*/ 718270 h 4268653"/>
              <a:gd name="connsiteX10" fmla="*/ 806 w 9167917"/>
              <a:gd name="connsiteY10" fmla="*/ 0 h 4268653"/>
              <a:gd name="connsiteX0" fmla="*/ 90722 w 9257833"/>
              <a:gd name="connsiteY0" fmla="*/ 0 h 4268653"/>
              <a:gd name="connsiteX1" fmla="*/ 9241335 w 9257833"/>
              <a:gd name="connsiteY1" fmla="*/ 9702 h 4268653"/>
              <a:gd name="connsiteX2" fmla="*/ 9241335 w 9257833"/>
              <a:gd name="connsiteY2" fmla="*/ 89 h 4268653"/>
              <a:gd name="connsiteX3" fmla="*/ 9257833 w 9257833"/>
              <a:gd name="connsiteY3" fmla="*/ 3974881 h 4268653"/>
              <a:gd name="connsiteX4" fmla="*/ 1442405 w 9257833"/>
              <a:gd name="connsiteY4" fmla="*/ 3975946 h 4268653"/>
              <a:gd name="connsiteX5" fmla="*/ 1360072 w 9257833"/>
              <a:gd name="connsiteY5" fmla="*/ 4009885 h 4268653"/>
              <a:gd name="connsiteX6" fmla="*/ 1352952 w 9257833"/>
              <a:gd name="connsiteY6" fmla="*/ 4220084 h 4268653"/>
              <a:gd name="connsiteX7" fmla="*/ 1264458 w 9257833"/>
              <a:gd name="connsiteY7" fmla="*/ 4268653 h 4268653"/>
              <a:gd name="connsiteX8" fmla="*/ 0 w 9257833"/>
              <a:gd name="connsiteY8" fmla="*/ 4246809 h 4268653"/>
              <a:gd name="connsiteX9" fmla="*/ 97335 w 9257833"/>
              <a:gd name="connsiteY9" fmla="*/ 718270 h 4268653"/>
              <a:gd name="connsiteX10" fmla="*/ 90722 w 9257833"/>
              <a:gd name="connsiteY10" fmla="*/ 0 h 4268653"/>
              <a:gd name="connsiteX0" fmla="*/ 806 w 9167917"/>
              <a:gd name="connsiteY0" fmla="*/ 0 h 4268653"/>
              <a:gd name="connsiteX1" fmla="*/ 9151419 w 9167917"/>
              <a:gd name="connsiteY1" fmla="*/ 9702 h 4268653"/>
              <a:gd name="connsiteX2" fmla="*/ 9151419 w 9167917"/>
              <a:gd name="connsiteY2" fmla="*/ 89 h 4268653"/>
              <a:gd name="connsiteX3" fmla="*/ 9167917 w 9167917"/>
              <a:gd name="connsiteY3" fmla="*/ 3974881 h 4268653"/>
              <a:gd name="connsiteX4" fmla="*/ 1352489 w 9167917"/>
              <a:gd name="connsiteY4" fmla="*/ 3975946 h 4268653"/>
              <a:gd name="connsiteX5" fmla="*/ 1270156 w 9167917"/>
              <a:gd name="connsiteY5" fmla="*/ 4009885 h 4268653"/>
              <a:gd name="connsiteX6" fmla="*/ 1263036 w 9167917"/>
              <a:gd name="connsiteY6" fmla="*/ 4220084 h 4268653"/>
              <a:gd name="connsiteX7" fmla="*/ 1174542 w 9167917"/>
              <a:gd name="connsiteY7" fmla="*/ 4268653 h 4268653"/>
              <a:gd name="connsiteX8" fmla="*/ 807 w 9167917"/>
              <a:gd name="connsiteY8" fmla="*/ 4261796 h 4268653"/>
              <a:gd name="connsiteX9" fmla="*/ 7419 w 9167917"/>
              <a:gd name="connsiteY9" fmla="*/ 718270 h 4268653"/>
              <a:gd name="connsiteX10" fmla="*/ 806 w 9167917"/>
              <a:gd name="connsiteY10" fmla="*/ 0 h 4268653"/>
              <a:gd name="connsiteX0" fmla="*/ 70102 w 9237213"/>
              <a:gd name="connsiteY0" fmla="*/ 0 h 4273036"/>
              <a:gd name="connsiteX1" fmla="*/ 9220715 w 9237213"/>
              <a:gd name="connsiteY1" fmla="*/ 9702 h 4273036"/>
              <a:gd name="connsiteX2" fmla="*/ 9220715 w 9237213"/>
              <a:gd name="connsiteY2" fmla="*/ 89 h 4273036"/>
              <a:gd name="connsiteX3" fmla="*/ 9237213 w 9237213"/>
              <a:gd name="connsiteY3" fmla="*/ 3974881 h 4273036"/>
              <a:gd name="connsiteX4" fmla="*/ 1421785 w 9237213"/>
              <a:gd name="connsiteY4" fmla="*/ 3975946 h 4273036"/>
              <a:gd name="connsiteX5" fmla="*/ 1339452 w 9237213"/>
              <a:gd name="connsiteY5" fmla="*/ 4009885 h 4273036"/>
              <a:gd name="connsiteX6" fmla="*/ 1332332 w 9237213"/>
              <a:gd name="connsiteY6" fmla="*/ 4220084 h 4273036"/>
              <a:gd name="connsiteX7" fmla="*/ 1243838 w 9237213"/>
              <a:gd name="connsiteY7" fmla="*/ 4268653 h 4273036"/>
              <a:gd name="connsiteX8" fmla="*/ 0 w 9237213"/>
              <a:gd name="connsiteY8" fmla="*/ 4273036 h 4273036"/>
              <a:gd name="connsiteX9" fmla="*/ 76715 w 9237213"/>
              <a:gd name="connsiteY9" fmla="*/ 718270 h 4273036"/>
              <a:gd name="connsiteX10" fmla="*/ 70102 w 9237213"/>
              <a:gd name="connsiteY10" fmla="*/ 0 h 4273036"/>
              <a:gd name="connsiteX0" fmla="*/ 53607 w 9220718"/>
              <a:gd name="connsiteY0" fmla="*/ 0 h 4268653"/>
              <a:gd name="connsiteX1" fmla="*/ 9204220 w 9220718"/>
              <a:gd name="connsiteY1" fmla="*/ 9702 h 4268653"/>
              <a:gd name="connsiteX2" fmla="*/ 9204220 w 9220718"/>
              <a:gd name="connsiteY2" fmla="*/ 89 h 4268653"/>
              <a:gd name="connsiteX3" fmla="*/ 9220718 w 9220718"/>
              <a:gd name="connsiteY3" fmla="*/ 3974881 h 4268653"/>
              <a:gd name="connsiteX4" fmla="*/ 1405290 w 9220718"/>
              <a:gd name="connsiteY4" fmla="*/ 3975946 h 4268653"/>
              <a:gd name="connsiteX5" fmla="*/ 1322957 w 9220718"/>
              <a:gd name="connsiteY5" fmla="*/ 4009885 h 4268653"/>
              <a:gd name="connsiteX6" fmla="*/ 1315837 w 9220718"/>
              <a:gd name="connsiteY6" fmla="*/ 4220084 h 4268653"/>
              <a:gd name="connsiteX7" fmla="*/ 1227343 w 9220718"/>
              <a:gd name="connsiteY7" fmla="*/ 4268653 h 4268653"/>
              <a:gd name="connsiteX8" fmla="*/ 0 w 9220718"/>
              <a:gd name="connsiteY8" fmla="*/ 4265542 h 4268653"/>
              <a:gd name="connsiteX9" fmla="*/ 60220 w 9220718"/>
              <a:gd name="connsiteY9" fmla="*/ 718270 h 4268653"/>
              <a:gd name="connsiteX10" fmla="*/ 53607 w 9220718"/>
              <a:gd name="connsiteY10" fmla="*/ 0 h 4268653"/>
              <a:gd name="connsiteX0" fmla="*/ 53607 w 9220718"/>
              <a:gd name="connsiteY0" fmla="*/ 0 h 4271069"/>
              <a:gd name="connsiteX1" fmla="*/ 9204220 w 9220718"/>
              <a:gd name="connsiteY1" fmla="*/ 9702 h 4271069"/>
              <a:gd name="connsiteX2" fmla="*/ 9204220 w 9220718"/>
              <a:gd name="connsiteY2" fmla="*/ 89 h 4271069"/>
              <a:gd name="connsiteX3" fmla="*/ 9220718 w 9220718"/>
              <a:gd name="connsiteY3" fmla="*/ 3974881 h 4271069"/>
              <a:gd name="connsiteX4" fmla="*/ 1405290 w 9220718"/>
              <a:gd name="connsiteY4" fmla="*/ 3975946 h 4271069"/>
              <a:gd name="connsiteX5" fmla="*/ 1322957 w 9220718"/>
              <a:gd name="connsiteY5" fmla="*/ 4009885 h 4271069"/>
              <a:gd name="connsiteX6" fmla="*/ 1315837 w 9220718"/>
              <a:gd name="connsiteY6" fmla="*/ 4220084 h 4271069"/>
              <a:gd name="connsiteX7" fmla="*/ 1227343 w 9220718"/>
              <a:gd name="connsiteY7" fmla="*/ 4268653 h 4271069"/>
              <a:gd name="connsiteX8" fmla="*/ 0 w 9220718"/>
              <a:gd name="connsiteY8" fmla="*/ 4265542 h 4271069"/>
              <a:gd name="connsiteX9" fmla="*/ 60220 w 9220718"/>
              <a:gd name="connsiteY9" fmla="*/ 718270 h 4271069"/>
              <a:gd name="connsiteX10" fmla="*/ 53607 w 9220718"/>
              <a:gd name="connsiteY10" fmla="*/ 0 h 4271069"/>
              <a:gd name="connsiteX0" fmla="*/ 53607 w 9220718"/>
              <a:gd name="connsiteY0" fmla="*/ 0 h 4271069"/>
              <a:gd name="connsiteX1" fmla="*/ 9204220 w 9220718"/>
              <a:gd name="connsiteY1" fmla="*/ 9702 h 4271069"/>
              <a:gd name="connsiteX2" fmla="*/ 9204220 w 9220718"/>
              <a:gd name="connsiteY2" fmla="*/ 89 h 4271069"/>
              <a:gd name="connsiteX3" fmla="*/ 9220718 w 9220718"/>
              <a:gd name="connsiteY3" fmla="*/ 3974881 h 4271069"/>
              <a:gd name="connsiteX4" fmla="*/ 1405290 w 9220718"/>
              <a:gd name="connsiteY4" fmla="*/ 3975946 h 4271069"/>
              <a:gd name="connsiteX5" fmla="*/ 1322957 w 9220718"/>
              <a:gd name="connsiteY5" fmla="*/ 4009885 h 4271069"/>
              <a:gd name="connsiteX6" fmla="*/ 1315837 w 9220718"/>
              <a:gd name="connsiteY6" fmla="*/ 4220084 h 4271069"/>
              <a:gd name="connsiteX7" fmla="*/ 1206724 w 9220718"/>
              <a:gd name="connsiteY7" fmla="*/ 4268653 h 4271069"/>
              <a:gd name="connsiteX8" fmla="*/ 0 w 9220718"/>
              <a:gd name="connsiteY8" fmla="*/ 4265542 h 4271069"/>
              <a:gd name="connsiteX9" fmla="*/ 60220 w 9220718"/>
              <a:gd name="connsiteY9" fmla="*/ 718270 h 4271069"/>
              <a:gd name="connsiteX10" fmla="*/ 53607 w 9220718"/>
              <a:gd name="connsiteY10" fmla="*/ 0 h 4271069"/>
              <a:gd name="connsiteX0" fmla="*/ 53607 w 9220718"/>
              <a:gd name="connsiteY0" fmla="*/ 0 h 4271069"/>
              <a:gd name="connsiteX1" fmla="*/ 9204220 w 9220718"/>
              <a:gd name="connsiteY1" fmla="*/ 9702 h 4271069"/>
              <a:gd name="connsiteX2" fmla="*/ 9204220 w 9220718"/>
              <a:gd name="connsiteY2" fmla="*/ 89 h 4271069"/>
              <a:gd name="connsiteX3" fmla="*/ 9220718 w 9220718"/>
              <a:gd name="connsiteY3" fmla="*/ 3974881 h 4271069"/>
              <a:gd name="connsiteX4" fmla="*/ 1405290 w 9220718"/>
              <a:gd name="connsiteY4" fmla="*/ 3975946 h 4271069"/>
              <a:gd name="connsiteX5" fmla="*/ 1322957 w 9220718"/>
              <a:gd name="connsiteY5" fmla="*/ 4009885 h 4271069"/>
              <a:gd name="connsiteX6" fmla="*/ 1315837 w 9220718"/>
              <a:gd name="connsiteY6" fmla="*/ 4220084 h 4271069"/>
              <a:gd name="connsiteX7" fmla="*/ 1177857 w 9220718"/>
              <a:gd name="connsiteY7" fmla="*/ 4268653 h 4271069"/>
              <a:gd name="connsiteX8" fmla="*/ 0 w 9220718"/>
              <a:gd name="connsiteY8" fmla="*/ 4265542 h 4271069"/>
              <a:gd name="connsiteX9" fmla="*/ 60220 w 9220718"/>
              <a:gd name="connsiteY9" fmla="*/ 718270 h 4271069"/>
              <a:gd name="connsiteX10" fmla="*/ 53607 w 9220718"/>
              <a:gd name="connsiteY10" fmla="*/ 0 h 4271069"/>
              <a:gd name="connsiteX0" fmla="*/ 53607 w 9220718"/>
              <a:gd name="connsiteY0" fmla="*/ 0 h 4271069"/>
              <a:gd name="connsiteX1" fmla="*/ 9204220 w 9220718"/>
              <a:gd name="connsiteY1" fmla="*/ 9702 h 4271069"/>
              <a:gd name="connsiteX2" fmla="*/ 9204220 w 9220718"/>
              <a:gd name="connsiteY2" fmla="*/ 89 h 4271069"/>
              <a:gd name="connsiteX3" fmla="*/ 9220718 w 9220718"/>
              <a:gd name="connsiteY3" fmla="*/ 3974881 h 4271069"/>
              <a:gd name="connsiteX4" fmla="*/ 1405290 w 9220718"/>
              <a:gd name="connsiteY4" fmla="*/ 3975946 h 4271069"/>
              <a:gd name="connsiteX5" fmla="*/ 1322957 w 9220718"/>
              <a:gd name="connsiteY5" fmla="*/ 4009885 h 4271069"/>
              <a:gd name="connsiteX6" fmla="*/ 1315837 w 9220718"/>
              <a:gd name="connsiteY6" fmla="*/ 4220084 h 4271069"/>
              <a:gd name="connsiteX7" fmla="*/ 1210847 w 9220718"/>
              <a:gd name="connsiteY7" fmla="*/ 4268653 h 4271069"/>
              <a:gd name="connsiteX8" fmla="*/ 0 w 9220718"/>
              <a:gd name="connsiteY8" fmla="*/ 4265542 h 4271069"/>
              <a:gd name="connsiteX9" fmla="*/ 60220 w 9220718"/>
              <a:gd name="connsiteY9" fmla="*/ 718270 h 4271069"/>
              <a:gd name="connsiteX10" fmla="*/ 53607 w 9220718"/>
              <a:gd name="connsiteY10" fmla="*/ 0 h 4271069"/>
              <a:gd name="connsiteX0" fmla="*/ 53608 w 9220718"/>
              <a:gd name="connsiteY0" fmla="*/ 0 h 4271068"/>
              <a:gd name="connsiteX1" fmla="*/ 9204220 w 9220718"/>
              <a:gd name="connsiteY1" fmla="*/ 9701 h 4271068"/>
              <a:gd name="connsiteX2" fmla="*/ 9204220 w 9220718"/>
              <a:gd name="connsiteY2" fmla="*/ 88 h 4271068"/>
              <a:gd name="connsiteX3" fmla="*/ 9220718 w 9220718"/>
              <a:gd name="connsiteY3" fmla="*/ 3974880 h 4271068"/>
              <a:gd name="connsiteX4" fmla="*/ 1405290 w 9220718"/>
              <a:gd name="connsiteY4" fmla="*/ 3975945 h 4271068"/>
              <a:gd name="connsiteX5" fmla="*/ 1322957 w 9220718"/>
              <a:gd name="connsiteY5" fmla="*/ 4009884 h 4271068"/>
              <a:gd name="connsiteX6" fmla="*/ 1315837 w 9220718"/>
              <a:gd name="connsiteY6" fmla="*/ 4220083 h 4271068"/>
              <a:gd name="connsiteX7" fmla="*/ 1210847 w 9220718"/>
              <a:gd name="connsiteY7" fmla="*/ 4268652 h 4271068"/>
              <a:gd name="connsiteX8" fmla="*/ 0 w 9220718"/>
              <a:gd name="connsiteY8" fmla="*/ 4265541 h 4271068"/>
              <a:gd name="connsiteX9" fmla="*/ 60220 w 9220718"/>
              <a:gd name="connsiteY9" fmla="*/ 718269 h 4271068"/>
              <a:gd name="connsiteX10" fmla="*/ 53608 w 9220718"/>
              <a:gd name="connsiteY10" fmla="*/ 0 h 4271068"/>
              <a:gd name="connsiteX0" fmla="*/ 92467 w 9259577"/>
              <a:gd name="connsiteY0" fmla="*/ 0 h 4271068"/>
              <a:gd name="connsiteX1" fmla="*/ 9243079 w 9259577"/>
              <a:gd name="connsiteY1" fmla="*/ 9701 h 4271068"/>
              <a:gd name="connsiteX2" fmla="*/ 9243079 w 9259577"/>
              <a:gd name="connsiteY2" fmla="*/ 88 h 4271068"/>
              <a:gd name="connsiteX3" fmla="*/ 9259577 w 9259577"/>
              <a:gd name="connsiteY3" fmla="*/ 3974880 h 4271068"/>
              <a:gd name="connsiteX4" fmla="*/ 1444149 w 9259577"/>
              <a:gd name="connsiteY4" fmla="*/ 3975945 h 4271068"/>
              <a:gd name="connsiteX5" fmla="*/ 1361816 w 9259577"/>
              <a:gd name="connsiteY5" fmla="*/ 4009884 h 4271068"/>
              <a:gd name="connsiteX6" fmla="*/ 1354696 w 9259577"/>
              <a:gd name="connsiteY6" fmla="*/ 4220083 h 4271068"/>
              <a:gd name="connsiteX7" fmla="*/ 1249706 w 9259577"/>
              <a:gd name="connsiteY7" fmla="*/ 4268652 h 4271068"/>
              <a:gd name="connsiteX8" fmla="*/ 38859 w 9259577"/>
              <a:gd name="connsiteY8" fmla="*/ 4265541 h 4271068"/>
              <a:gd name="connsiteX9" fmla="*/ 4233 w 9259577"/>
              <a:gd name="connsiteY9" fmla="*/ 718269 h 4271068"/>
              <a:gd name="connsiteX10" fmla="*/ 92467 w 9259577"/>
              <a:gd name="connsiteY10" fmla="*/ 0 h 4271068"/>
              <a:gd name="connsiteX0" fmla="*/ 1534037 w 10701147"/>
              <a:gd name="connsiteY0" fmla="*/ 0 h 4271068"/>
              <a:gd name="connsiteX1" fmla="*/ 10684649 w 10701147"/>
              <a:gd name="connsiteY1" fmla="*/ 9701 h 4271068"/>
              <a:gd name="connsiteX2" fmla="*/ 10684649 w 10701147"/>
              <a:gd name="connsiteY2" fmla="*/ 88 h 4271068"/>
              <a:gd name="connsiteX3" fmla="*/ 10701147 w 10701147"/>
              <a:gd name="connsiteY3" fmla="*/ 3974880 h 4271068"/>
              <a:gd name="connsiteX4" fmla="*/ 2885719 w 10701147"/>
              <a:gd name="connsiteY4" fmla="*/ 3975945 h 4271068"/>
              <a:gd name="connsiteX5" fmla="*/ 2803386 w 10701147"/>
              <a:gd name="connsiteY5" fmla="*/ 4009884 h 4271068"/>
              <a:gd name="connsiteX6" fmla="*/ 2796266 w 10701147"/>
              <a:gd name="connsiteY6" fmla="*/ 4220083 h 4271068"/>
              <a:gd name="connsiteX7" fmla="*/ 2691276 w 10701147"/>
              <a:gd name="connsiteY7" fmla="*/ 4268652 h 4271068"/>
              <a:gd name="connsiteX8" fmla="*/ 1480429 w 10701147"/>
              <a:gd name="connsiteY8" fmla="*/ 4265541 h 4271068"/>
              <a:gd name="connsiteX9" fmla="*/ 1534037 w 10701147"/>
              <a:gd name="connsiteY9" fmla="*/ 0 h 4271068"/>
              <a:gd name="connsiteX0" fmla="*/ 1534037 w 10701147"/>
              <a:gd name="connsiteY0" fmla="*/ 0 h 4271068"/>
              <a:gd name="connsiteX1" fmla="*/ 10684649 w 10701147"/>
              <a:gd name="connsiteY1" fmla="*/ 9701 h 4271068"/>
              <a:gd name="connsiteX2" fmla="*/ 10684649 w 10701147"/>
              <a:gd name="connsiteY2" fmla="*/ 88 h 4271068"/>
              <a:gd name="connsiteX3" fmla="*/ 10701147 w 10701147"/>
              <a:gd name="connsiteY3" fmla="*/ 3974880 h 4271068"/>
              <a:gd name="connsiteX4" fmla="*/ 2885719 w 10701147"/>
              <a:gd name="connsiteY4" fmla="*/ 3975945 h 4271068"/>
              <a:gd name="connsiteX5" fmla="*/ 2803386 w 10701147"/>
              <a:gd name="connsiteY5" fmla="*/ 4009884 h 4271068"/>
              <a:gd name="connsiteX6" fmla="*/ 2796266 w 10701147"/>
              <a:gd name="connsiteY6" fmla="*/ 4220083 h 4271068"/>
              <a:gd name="connsiteX7" fmla="*/ 2691276 w 10701147"/>
              <a:gd name="connsiteY7" fmla="*/ 4268652 h 4271068"/>
              <a:gd name="connsiteX8" fmla="*/ 1480429 w 10701147"/>
              <a:gd name="connsiteY8" fmla="*/ 4265541 h 4271068"/>
              <a:gd name="connsiteX9" fmla="*/ 1534037 w 10701147"/>
              <a:gd name="connsiteY9" fmla="*/ 0 h 4271068"/>
              <a:gd name="connsiteX0" fmla="*/ 246481 w 9413591"/>
              <a:gd name="connsiteY0" fmla="*/ 0 h 4271068"/>
              <a:gd name="connsiteX1" fmla="*/ 9397093 w 9413591"/>
              <a:gd name="connsiteY1" fmla="*/ 9701 h 4271068"/>
              <a:gd name="connsiteX2" fmla="*/ 9397093 w 9413591"/>
              <a:gd name="connsiteY2" fmla="*/ 88 h 4271068"/>
              <a:gd name="connsiteX3" fmla="*/ 9413591 w 9413591"/>
              <a:gd name="connsiteY3" fmla="*/ 3974880 h 4271068"/>
              <a:gd name="connsiteX4" fmla="*/ 1598163 w 9413591"/>
              <a:gd name="connsiteY4" fmla="*/ 3975945 h 4271068"/>
              <a:gd name="connsiteX5" fmla="*/ 1515830 w 9413591"/>
              <a:gd name="connsiteY5" fmla="*/ 4009884 h 4271068"/>
              <a:gd name="connsiteX6" fmla="*/ 1508710 w 9413591"/>
              <a:gd name="connsiteY6" fmla="*/ 4220083 h 4271068"/>
              <a:gd name="connsiteX7" fmla="*/ 1403720 w 9413591"/>
              <a:gd name="connsiteY7" fmla="*/ 4268652 h 4271068"/>
              <a:gd name="connsiteX8" fmla="*/ 192873 w 9413591"/>
              <a:gd name="connsiteY8" fmla="*/ 4265541 h 4271068"/>
              <a:gd name="connsiteX9" fmla="*/ 246481 w 9413591"/>
              <a:gd name="connsiteY9" fmla="*/ 0 h 4271068"/>
              <a:gd name="connsiteX0" fmla="*/ 64211 w 9231321"/>
              <a:gd name="connsiteY0" fmla="*/ 0 h 4271068"/>
              <a:gd name="connsiteX1" fmla="*/ 9214823 w 9231321"/>
              <a:gd name="connsiteY1" fmla="*/ 9701 h 4271068"/>
              <a:gd name="connsiteX2" fmla="*/ 9214823 w 9231321"/>
              <a:gd name="connsiteY2" fmla="*/ 88 h 4271068"/>
              <a:gd name="connsiteX3" fmla="*/ 9231321 w 9231321"/>
              <a:gd name="connsiteY3" fmla="*/ 3974880 h 4271068"/>
              <a:gd name="connsiteX4" fmla="*/ 1415893 w 9231321"/>
              <a:gd name="connsiteY4" fmla="*/ 3975945 h 4271068"/>
              <a:gd name="connsiteX5" fmla="*/ 1333560 w 9231321"/>
              <a:gd name="connsiteY5" fmla="*/ 4009884 h 4271068"/>
              <a:gd name="connsiteX6" fmla="*/ 1326440 w 9231321"/>
              <a:gd name="connsiteY6" fmla="*/ 4220083 h 4271068"/>
              <a:gd name="connsiteX7" fmla="*/ 1221450 w 9231321"/>
              <a:gd name="connsiteY7" fmla="*/ 4268652 h 4271068"/>
              <a:gd name="connsiteX8" fmla="*/ 10603 w 9231321"/>
              <a:gd name="connsiteY8" fmla="*/ 4265541 h 4271068"/>
              <a:gd name="connsiteX9" fmla="*/ 64211 w 9231321"/>
              <a:gd name="connsiteY9" fmla="*/ 0 h 4271068"/>
              <a:gd name="connsiteX0" fmla="*/ 10604 w 9177714"/>
              <a:gd name="connsiteY0" fmla="*/ 0 h 4276228"/>
              <a:gd name="connsiteX1" fmla="*/ 9161216 w 9177714"/>
              <a:gd name="connsiteY1" fmla="*/ 9701 h 4276228"/>
              <a:gd name="connsiteX2" fmla="*/ 9161216 w 9177714"/>
              <a:gd name="connsiteY2" fmla="*/ 88 h 4276228"/>
              <a:gd name="connsiteX3" fmla="*/ 9177714 w 9177714"/>
              <a:gd name="connsiteY3" fmla="*/ 3974880 h 4276228"/>
              <a:gd name="connsiteX4" fmla="*/ 1362286 w 9177714"/>
              <a:gd name="connsiteY4" fmla="*/ 3975945 h 4276228"/>
              <a:gd name="connsiteX5" fmla="*/ 1279953 w 9177714"/>
              <a:gd name="connsiteY5" fmla="*/ 4009884 h 4276228"/>
              <a:gd name="connsiteX6" fmla="*/ 1272833 w 9177714"/>
              <a:gd name="connsiteY6" fmla="*/ 4220083 h 4276228"/>
              <a:gd name="connsiteX7" fmla="*/ 1167843 w 9177714"/>
              <a:gd name="connsiteY7" fmla="*/ 4268652 h 4276228"/>
              <a:gd name="connsiteX8" fmla="*/ 10603 w 9177714"/>
              <a:gd name="connsiteY8" fmla="*/ 4265541 h 4276228"/>
              <a:gd name="connsiteX9" fmla="*/ 10604 w 9177714"/>
              <a:gd name="connsiteY9" fmla="*/ 0 h 4276228"/>
              <a:gd name="connsiteX0" fmla="*/ 10604 w 9177714"/>
              <a:gd name="connsiteY0" fmla="*/ 0 h 4268609"/>
              <a:gd name="connsiteX1" fmla="*/ 9161216 w 9177714"/>
              <a:gd name="connsiteY1" fmla="*/ 9701 h 4268609"/>
              <a:gd name="connsiteX2" fmla="*/ 9161216 w 9177714"/>
              <a:gd name="connsiteY2" fmla="*/ 88 h 4268609"/>
              <a:gd name="connsiteX3" fmla="*/ 9177714 w 9177714"/>
              <a:gd name="connsiteY3" fmla="*/ 3974880 h 4268609"/>
              <a:gd name="connsiteX4" fmla="*/ 1362286 w 9177714"/>
              <a:gd name="connsiteY4" fmla="*/ 3975945 h 4268609"/>
              <a:gd name="connsiteX5" fmla="*/ 1279953 w 9177714"/>
              <a:gd name="connsiteY5" fmla="*/ 4009884 h 4268609"/>
              <a:gd name="connsiteX6" fmla="*/ 1272833 w 9177714"/>
              <a:gd name="connsiteY6" fmla="*/ 4220083 h 4268609"/>
              <a:gd name="connsiteX7" fmla="*/ 1206981 w 9177714"/>
              <a:gd name="connsiteY7" fmla="*/ 4261033 h 4268609"/>
              <a:gd name="connsiteX8" fmla="*/ 10603 w 9177714"/>
              <a:gd name="connsiteY8" fmla="*/ 4265541 h 4268609"/>
              <a:gd name="connsiteX9" fmla="*/ 10604 w 9177714"/>
              <a:gd name="connsiteY9" fmla="*/ 0 h 4268609"/>
              <a:gd name="connsiteX0" fmla="*/ 10604 w 9177714"/>
              <a:gd name="connsiteY0" fmla="*/ 0 h 4265541"/>
              <a:gd name="connsiteX1" fmla="*/ 9161216 w 9177714"/>
              <a:gd name="connsiteY1" fmla="*/ 9701 h 4265541"/>
              <a:gd name="connsiteX2" fmla="*/ 9161216 w 9177714"/>
              <a:gd name="connsiteY2" fmla="*/ 88 h 4265541"/>
              <a:gd name="connsiteX3" fmla="*/ 9177714 w 9177714"/>
              <a:gd name="connsiteY3" fmla="*/ 3974880 h 4265541"/>
              <a:gd name="connsiteX4" fmla="*/ 1362286 w 9177714"/>
              <a:gd name="connsiteY4" fmla="*/ 3975945 h 4265541"/>
              <a:gd name="connsiteX5" fmla="*/ 1279953 w 9177714"/>
              <a:gd name="connsiteY5" fmla="*/ 4009884 h 4265541"/>
              <a:gd name="connsiteX6" fmla="*/ 1272833 w 9177714"/>
              <a:gd name="connsiteY6" fmla="*/ 4220083 h 4265541"/>
              <a:gd name="connsiteX7" fmla="*/ 1206981 w 9177714"/>
              <a:gd name="connsiteY7" fmla="*/ 4261033 h 4265541"/>
              <a:gd name="connsiteX8" fmla="*/ 10603 w 9177714"/>
              <a:gd name="connsiteY8" fmla="*/ 4265541 h 4265541"/>
              <a:gd name="connsiteX9" fmla="*/ 10604 w 9177714"/>
              <a:gd name="connsiteY9" fmla="*/ 0 h 4265541"/>
              <a:gd name="connsiteX0" fmla="*/ 10604 w 9177714"/>
              <a:gd name="connsiteY0" fmla="*/ 0 h 4265541"/>
              <a:gd name="connsiteX1" fmla="*/ 9161216 w 9177714"/>
              <a:gd name="connsiteY1" fmla="*/ 9701 h 4265541"/>
              <a:gd name="connsiteX2" fmla="*/ 9161216 w 9177714"/>
              <a:gd name="connsiteY2" fmla="*/ 88 h 4265541"/>
              <a:gd name="connsiteX3" fmla="*/ 9177714 w 9177714"/>
              <a:gd name="connsiteY3" fmla="*/ 3974880 h 4265541"/>
              <a:gd name="connsiteX4" fmla="*/ 1362286 w 9177714"/>
              <a:gd name="connsiteY4" fmla="*/ 3975945 h 4265541"/>
              <a:gd name="connsiteX5" fmla="*/ 1279953 w 9177714"/>
              <a:gd name="connsiteY5" fmla="*/ 4009884 h 4265541"/>
              <a:gd name="connsiteX6" fmla="*/ 1272833 w 9177714"/>
              <a:gd name="connsiteY6" fmla="*/ 4220083 h 4265541"/>
              <a:gd name="connsiteX7" fmla="*/ 1206981 w 9177714"/>
              <a:gd name="connsiteY7" fmla="*/ 4261033 h 4265541"/>
              <a:gd name="connsiteX8" fmla="*/ 10603 w 9177714"/>
              <a:gd name="connsiteY8" fmla="*/ 4265541 h 4265541"/>
              <a:gd name="connsiteX9" fmla="*/ 10604 w 9177714"/>
              <a:gd name="connsiteY9" fmla="*/ 0 h 4265541"/>
              <a:gd name="connsiteX0" fmla="*/ 10604 w 9177714"/>
              <a:gd name="connsiteY0" fmla="*/ 0 h 4265541"/>
              <a:gd name="connsiteX1" fmla="*/ 9161216 w 9177714"/>
              <a:gd name="connsiteY1" fmla="*/ 9701 h 4265541"/>
              <a:gd name="connsiteX2" fmla="*/ 9161216 w 9177714"/>
              <a:gd name="connsiteY2" fmla="*/ 88 h 4265541"/>
              <a:gd name="connsiteX3" fmla="*/ 9177714 w 9177714"/>
              <a:gd name="connsiteY3" fmla="*/ 3974880 h 4265541"/>
              <a:gd name="connsiteX4" fmla="*/ 1362286 w 9177714"/>
              <a:gd name="connsiteY4" fmla="*/ 3975945 h 4265541"/>
              <a:gd name="connsiteX5" fmla="*/ 1279953 w 9177714"/>
              <a:gd name="connsiteY5" fmla="*/ 4009884 h 4265541"/>
              <a:gd name="connsiteX6" fmla="*/ 1272833 w 9177714"/>
              <a:gd name="connsiteY6" fmla="*/ 4197223 h 4265541"/>
              <a:gd name="connsiteX7" fmla="*/ 1206981 w 9177714"/>
              <a:gd name="connsiteY7" fmla="*/ 4261033 h 4265541"/>
              <a:gd name="connsiteX8" fmla="*/ 10603 w 9177714"/>
              <a:gd name="connsiteY8" fmla="*/ 4265541 h 4265541"/>
              <a:gd name="connsiteX9" fmla="*/ 10604 w 9177714"/>
              <a:gd name="connsiteY9" fmla="*/ 0 h 4265541"/>
              <a:gd name="connsiteX0" fmla="*/ 10604 w 9177714"/>
              <a:gd name="connsiteY0" fmla="*/ 0 h 4265541"/>
              <a:gd name="connsiteX1" fmla="*/ 9161216 w 9177714"/>
              <a:gd name="connsiteY1" fmla="*/ 9701 h 4265541"/>
              <a:gd name="connsiteX2" fmla="*/ 9161216 w 9177714"/>
              <a:gd name="connsiteY2" fmla="*/ 88 h 4265541"/>
              <a:gd name="connsiteX3" fmla="*/ 9177714 w 9177714"/>
              <a:gd name="connsiteY3" fmla="*/ 3974880 h 4265541"/>
              <a:gd name="connsiteX4" fmla="*/ 1362286 w 9177714"/>
              <a:gd name="connsiteY4" fmla="*/ 3975945 h 4265541"/>
              <a:gd name="connsiteX5" fmla="*/ 1279953 w 9177714"/>
              <a:gd name="connsiteY5" fmla="*/ 4009884 h 4265541"/>
              <a:gd name="connsiteX6" fmla="*/ 1272833 w 9177714"/>
              <a:gd name="connsiteY6" fmla="*/ 4197223 h 4265541"/>
              <a:gd name="connsiteX7" fmla="*/ 1206981 w 9177714"/>
              <a:gd name="connsiteY7" fmla="*/ 4261033 h 4265541"/>
              <a:gd name="connsiteX8" fmla="*/ 10603 w 9177714"/>
              <a:gd name="connsiteY8" fmla="*/ 4265541 h 4265541"/>
              <a:gd name="connsiteX9" fmla="*/ 10604 w 9177714"/>
              <a:gd name="connsiteY9" fmla="*/ 0 h 4265541"/>
              <a:gd name="connsiteX0" fmla="*/ 10604 w 9177714"/>
              <a:gd name="connsiteY0" fmla="*/ 0 h 4265541"/>
              <a:gd name="connsiteX1" fmla="*/ 9161216 w 9177714"/>
              <a:gd name="connsiteY1" fmla="*/ 9701 h 4265541"/>
              <a:gd name="connsiteX2" fmla="*/ 9161216 w 9177714"/>
              <a:gd name="connsiteY2" fmla="*/ 88 h 4265541"/>
              <a:gd name="connsiteX3" fmla="*/ 9177714 w 9177714"/>
              <a:gd name="connsiteY3" fmla="*/ 3974880 h 4265541"/>
              <a:gd name="connsiteX4" fmla="*/ 1362286 w 9177714"/>
              <a:gd name="connsiteY4" fmla="*/ 3975945 h 4265541"/>
              <a:gd name="connsiteX5" fmla="*/ 1279953 w 9177714"/>
              <a:gd name="connsiteY5" fmla="*/ 4009884 h 4265541"/>
              <a:gd name="connsiteX6" fmla="*/ 1272833 w 9177714"/>
              <a:gd name="connsiteY6" fmla="*/ 4197223 h 4265541"/>
              <a:gd name="connsiteX7" fmla="*/ 1184616 w 9177714"/>
              <a:gd name="connsiteY7" fmla="*/ 4261033 h 4265541"/>
              <a:gd name="connsiteX8" fmla="*/ 10603 w 9177714"/>
              <a:gd name="connsiteY8" fmla="*/ 4265541 h 4265541"/>
              <a:gd name="connsiteX9" fmla="*/ 10604 w 9177714"/>
              <a:gd name="connsiteY9" fmla="*/ 0 h 4265541"/>
              <a:gd name="connsiteX0" fmla="*/ 10604 w 9177714"/>
              <a:gd name="connsiteY0" fmla="*/ 0 h 4268698"/>
              <a:gd name="connsiteX1" fmla="*/ 9161216 w 9177714"/>
              <a:gd name="connsiteY1" fmla="*/ 9701 h 4268698"/>
              <a:gd name="connsiteX2" fmla="*/ 9161216 w 9177714"/>
              <a:gd name="connsiteY2" fmla="*/ 88 h 4268698"/>
              <a:gd name="connsiteX3" fmla="*/ 9177714 w 9177714"/>
              <a:gd name="connsiteY3" fmla="*/ 3974880 h 4268698"/>
              <a:gd name="connsiteX4" fmla="*/ 1362286 w 9177714"/>
              <a:gd name="connsiteY4" fmla="*/ 3975945 h 4268698"/>
              <a:gd name="connsiteX5" fmla="*/ 1279953 w 9177714"/>
              <a:gd name="connsiteY5" fmla="*/ 4009884 h 4268698"/>
              <a:gd name="connsiteX6" fmla="*/ 1272833 w 9177714"/>
              <a:gd name="connsiteY6" fmla="*/ 4197223 h 4268698"/>
              <a:gd name="connsiteX7" fmla="*/ 1173434 w 9177714"/>
              <a:gd name="connsiteY7" fmla="*/ 4266113 h 4268698"/>
              <a:gd name="connsiteX8" fmla="*/ 10603 w 9177714"/>
              <a:gd name="connsiteY8" fmla="*/ 4265541 h 4268698"/>
              <a:gd name="connsiteX9" fmla="*/ 10604 w 9177714"/>
              <a:gd name="connsiteY9" fmla="*/ 0 h 42686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9177714" h="4268698">
                <a:moveTo>
                  <a:pt x="10604" y="0"/>
                </a:moveTo>
                <a:lnTo>
                  <a:pt x="9161216" y="9701"/>
                </a:lnTo>
                <a:lnTo>
                  <a:pt x="9161216" y="88"/>
                </a:lnTo>
                <a:cubicBezTo>
                  <a:pt x="9162804" y="1317689"/>
                  <a:pt x="9176126" y="2657279"/>
                  <a:pt x="9177714" y="3974880"/>
                </a:cubicBezTo>
                <a:lnTo>
                  <a:pt x="1362286" y="3975945"/>
                </a:lnTo>
                <a:cubicBezTo>
                  <a:pt x="1324129" y="3980616"/>
                  <a:pt x="1294862" y="3973004"/>
                  <a:pt x="1279953" y="4009884"/>
                </a:cubicBezTo>
                <a:cubicBezTo>
                  <a:pt x="1265044" y="4046764"/>
                  <a:pt x="1276941" y="4145761"/>
                  <a:pt x="1272833" y="4197223"/>
                </a:cubicBezTo>
                <a:cubicBezTo>
                  <a:pt x="1272365" y="4244226"/>
                  <a:pt x="1221664" y="4268698"/>
                  <a:pt x="1173434" y="4266113"/>
                </a:cubicBezTo>
                <a:lnTo>
                  <a:pt x="10603" y="4265541"/>
                </a:lnTo>
                <a:cubicBezTo>
                  <a:pt x="0" y="3520977"/>
                  <a:pt x="7635" y="788799"/>
                  <a:pt x="10604" y="0"/>
                </a:cubicBezTo>
                <a:close/>
              </a:path>
            </a:pathLst>
          </a:custGeom>
        </p:spPr>
        <p:txBody>
          <a:bodyPr/>
          <a:lstStyle/>
          <a:p>
            <a:r>
              <a:rPr lang="sv-SE" smtClean="0"/>
              <a:t>Dra bilden till platshållaren eller klicka på ikonen för att lägga till den</a:t>
            </a:r>
            <a:endParaRPr lang="en-GB" dirty="0"/>
          </a:p>
        </p:txBody>
      </p:sp>
      <p:sp>
        <p:nvSpPr>
          <p:cNvPr id="7" name="Rubrik 1"/>
          <p:cNvSpPr>
            <a:spLocks noGrp="1"/>
          </p:cNvSpPr>
          <p:nvPr>
            <p:ph type="title" hasCustomPrompt="1"/>
          </p:nvPr>
        </p:nvSpPr>
        <p:spPr>
          <a:xfrm>
            <a:off x="1619250" y="404870"/>
            <a:ext cx="6935788" cy="668338"/>
          </a:xfrm>
        </p:spPr>
        <p:txBody>
          <a:bodyPr/>
          <a:lstStyle>
            <a:lvl1pPr>
              <a:defRPr/>
            </a:lvl1pPr>
          </a:lstStyle>
          <a:p>
            <a:r>
              <a:rPr lang="sv-SE" dirty="0" err="1" smtClean="0"/>
              <a:t>Chapter</a:t>
            </a:r>
            <a:r>
              <a:rPr lang="sv-SE" dirty="0" smtClean="0"/>
              <a:t> </a:t>
            </a:r>
            <a:r>
              <a:rPr lang="sv-SE" dirty="0" err="1" smtClean="0"/>
              <a:t>heading</a:t>
            </a:r>
            <a:endParaRPr lang="en-GB" dirty="0"/>
          </a:p>
        </p:txBody>
      </p:sp>
      <p:sp>
        <p:nvSpPr>
          <p:cNvPr id="9" name="Platshållare för datum 3"/>
          <p:cNvSpPr>
            <a:spLocks noGrp="1"/>
          </p:cNvSpPr>
          <p:nvPr>
            <p:ph type="dt" sz="half" idx="10"/>
          </p:nvPr>
        </p:nvSpPr>
        <p:spPr>
          <a:xfrm>
            <a:off x="5580112" y="6288509"/>
            <a:ext cx="2133600" cy="365125"/>
          </a:xfrm>
        </p:spPr>
        <p:txBody>
          <a:bodyPr/>
          <a:lstStyle>
            <a:lvl1pPr>
              <a:defRPr sz="1100"/>
            </a:lvl1pPr>
          </a:lstStyle>
          <a:p>
            <a:fld id="{4B074F7A-C3C8-4317-8FD5-FB5D02F8AF29}" type="datetime1">
              <a:rPr lang="sv-SE" smtClean="0">
                <a:solidFill>
                  <a:prstClr val="white"/>
                </a:solidFill>
              </a:rPr>
              <a:pPr/>
              <a:t>2019-02-26</a:t>
            </a:fld>
            <a:endParaRPr lang="sv-SE">
              <a:solidFill>
                <a:prstClr val="white"/>
              </a:solidFill>
            </a:endParaRPr>
          </a:p>
        </p:txBody>
      </p:sp>
      <p:sp>
        <p:nvSpPr>
          <p:cNvPr id="10" name="Platshållare för bildnummer 5"/>
          <p:cNvSpPr>
            <a:spLocks noGrp="1"/>
          </p:cNvSpPr>
          <p:nvPr>
            <p:ph type="sldNum" sz="quarter" idx="12"/>
          </p:nvPr>
        </p:nvSpPr>
        <p:spPr>
          <a:xfrm>
            <a:off x="8172399" y="6301410"/>
            <a:ext cx="531863" cy="365125"/>
          </a:xfrm>
        </p:spPr>
        <p:txBody>
          <a:bodyPr/>
          <a:lstStyle>
            <a:lvl1pPr>
              <a:defRPr sz="1100"/>
            </a:lvl1pPr>
          </a:lstStyle>
          <a:p>
            <a:fld id="{680D72F4-1C41-4187-A4BC-492CF086CF40}" type="slidenum">
              <a:rPr lang="sv-SE" smtClean="0">
                <a:solidFill>
                  <a:prstClr val="white"/>
                </a:solidFill>
              </a:rPr>
              <a:pPr/>
              <a:t>‹#›</a:t>
            </a:fld>
            <a:endParaRPr lang="sv-SE">
              <a:solidFill>
                <a:prstClr val="white"/>
              </a:solidFill>
            </a:endParaRPr>
          </a:p>
        </p:txBody>
      </p:sp>
      <p:sp>
        <p:nvSpPr>
          <p:cNvPr id="11" name="Platshållare för sidfot 4"/>
          <p:cNvSpPr>
            <a:spLocks noGrp="1"/>
          </p:cNvSpPr>
          <p:nvPr>
            <p:ph type="ftr" sz="quarter" idx="11"/>
          </p:nvPr>
        </p:nvSpPr>
        <p:spPr>
          <a:xfrm>
            <a:off x="1619250" y="6345300"/>
            <a:ext cx="2895600" cy="365125"/>
          </a:xfrm>
        </p:spPr>
        <p:txBody>
          <a:bodyPr lIns="0" tIns="0" rIns="0" bIns="0" anchor="t"/>
          <a:lstStyle>
            <a:lvl1pPr algn="l">
              <a:lnSpc>
                <a:spcPts val="900"/>
              </a:lnSpc>
              <a:defRPr sz="1100" b="1" cap="all" baseline="0">
                <a:solidFill>
                  <a:schemeClr val="bg1"/>
                </a:solidFill>
              </a:defRPr>
            </a:lvl1pPr>
          </a:lstStyle>
          <a:p>
            <a:endParaRPr lang="sv-SE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5285078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latshållare för bild 7"/>
          <p:cNvSpPr>
            <a:spLocks noGrp="1"/>
          </p:cNvSpPr>
          <p:nvPr>
            <p:ph type="pic" sz="quarter" idx="13"/>
          </p:nvPr>
        </p:nvSpPr>
        <p:spPr>
          <a:xfrm>
            <a:off x="1619250" y="1582738"/>
            <a:ext cx="6935788" cy="4078287"/>
          </a:xfrm>
        </p:spPr>
        <p:txBody>
          <a:bodyPr/>
          <a:lstStyle/>
          <a:p>
            <a:r>
              <a:rPr lang="sv-SE" smtClean="0"/>
              <a:t>Dra bilden till platshållaren eller klicka på ikonen för att lägga till den</a:t>
            </a:r>
            <a:endParaRPr lang="en-GB" dirty="0"/>
          </a:p>
        </p:txBody>
      </p:sp>
      <p:sp>
        <p:nvSpPr>
          <p:cNvPr id="7" name="Rubrik 1"/>
          <p:cNvSpPr>
            <a:spLocks noGrp="1"/>
          </p:cNvSpPr>
          <p:nvPr>
            <p:ph type="title"/>
          </p:nvPr>
        </p:nvSpPr>
        <p:spPr>
          <a:xfrm>
            <a:off x="1619250" y="404870"/>
            <a:ext cx="6935788" cy="668338"/>
          </a:xfrm>
        </p:spPr>
        <p:txBody>
          <a:bodyPr/>
          <a:lstStyle/>
          <a:p>
            <a:r>
              <a:rPr lang="sv-SE" smtClean="0"/>
              <a:t>Klicka här för att ändra format</a:t>
            </a:r>
            <a:endParaRPr lang="en-GB" dirty="0"/>
          </a:p>
        </p:txBody>
      </p:sp>
      <p:sp>
        <p:nvSpPr>
          <p:cNvPr id="9" name="Platshållare för datum 3"/>
          <p:cNvSpPr>
            <a:spLocks noGrp="1"/>
          </p:cNvSpPr>
          <p:nvPr>
            <p:ph type="dt" sz="half" idx="10"/>
          </p:nvPr>
        </p:nvSpPr>
        <p:spPr>
          <a:xfrm>
            <a:off x="5580112" y="6288509"/>
            <a:ext cx="2133600" cy="365125"/>
          </a:xfrm>
        </p:spPr>
        <p:txBody>
          <a:bodyPr/>
          <a:lstStyle>
            <a:lvl1pPr>
              <a:defRPr sz="1100"/>
            </a:lvl1pPr>
          </a:lstStyle>
          <a:p>
            <a:fld id="{B0DA65E2-4D6B-403B-9D86-2BDACFF2FF42}" type="datetime1">
              <a:rPr lang="sv-SE" smtClean="0">
                <a:solidFill>
                  <a:prstClr val="white"/>
                </a:solidFill>
              </a:rPr>
              <a:pPr/>
              <a:t>2019-02-26</a:t>
            </a:fld>
            <a:endParaRPr lang="sv-SE">
              <a:solidFill>
                <a:prstClr val="white"/>
              </a:solidFill>
            </a:endParaRPr>
          </a:p>
        </p:txBody>
      </p:sp>
      <p:sp>
        <p:nvSpPr>
          <p:cNvPr id="10" name="Platshållare för bildnummer 5"/>
          <p:cNvSpPr>
            <a:spLocks noGrp="1"/>
          </p:cNvSpPr>
          <p:nvPr>
            <p:ph type="sldNum" sz="quarter" idx="12"/>
          </p:nvPr>
        </p:nvSpPr>
        <p:spPr>
          <a:xfrm>
            <a:off x="8172399" y="6301410"/>
            <a:ext cx="531863" cy="365125"/>
          </a:xfrm>
        </p:spPr>
        <p:txBody>
          <a:bodyPr/>
          <a:lstStyle>
            <a:lvl1pPr>
              <a:defRPr sz="1100"/>
            </a:lvl1pPr>
          </a:lstStyle>
          <a:p>
            <a:fld id="{680D72F4-1C41-4187-A4BC-492CF086CF40}" type="slidenum">
              <a:rPr lang="sv-SE" smtClean="0">
                <a:solidFill>
                  <a:prstClr val="white"/>
                </a:solidFill>
              </a:rPr>
              <a:pPr/>
              <a:t>‹#›</a:t>
            </a:fld>
            <a:endParaRPr lang="sv-SE">
              <a:solidFill>
                <a:prstClr val="white"/>
              </a:solidFill>
            </a:endParaRPr>
          </a:p>
        </p:txBody>
      </p:sp>
      <p:sp>
        <p:nvSpPr>
          <p:cNvPr id="11" name="Platshållare för sidfot 4"/>
          <p:cNvSpPr>
            <a:spLocks noGrp="1"/>
          </p:cNvSpPr>
          <p:nvPr>
            <p:ph type="ftr" sz="quarter" idx="11"/>
          </p:nvPr>
        </p:nvSpPr>
        <p:spPr>
          <a:xfrm>
            <a:off x="1619250" y="6345300"/>
            <a:ext cx="2895600" cy="365125"/>
          </a:xfrm>
        </p:spPr>
        <p:txBody>
          <a:bodyPr lIns="0" tIns="0" rIns="0" bIns="0" anchor="t"/>
          <a:lstStyle>
            <a:lvl1pPr algn="l">
              <a:lnSpc>
                <a:spcPts val="900"/>
              </a:lnSpc>
              <a:defRPr sz="1100" b="1" cap="all" baseline="0">
                <a:solidFill>
                  <a:schemeClr val="bg1"/>
                </a:solidFill>
              </a:defRPr>
            </a:lvl1pPr>
          </a:lstStyle>
          <a:p>
            <a:endParaRPr lang="sv-SE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7498119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pt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tshållare för datum 3"/>
          <p:cNvSpPr>
            <a:spLocks noGrp="1"/>
          </p:cNvSpPr>
          <p:nvPr>
            <p:ph type="dt" sz="half" idx="10"/>
          </p:nvPr>
        </p:nvSpPr>
        <p:spPr>
          <a:xfrm>
            <a:off x="5580112" y="6288509"/>
            <a:ext cx="2133600" cy="365125"/>
          </a:xfrm>
        </p:spPr>
        <p:txBody>
          <a:bodyPr/>
          <a:lstStyle>
            <a:lvl1pPr>
              <a:defRPr sz="1100"/>
            </a:lvl1pPr>
          </a:lstStyle>
          <a:p>
            <a:fld id="{8C174E1E-803C-4016-9EF0-C820ADAA805F}" type="datetime1">
              <a:rPr lang="sv-SE" smtClean="0">
                <a:solidFill>
                  <a:prstClr val="white"/>
                </a:solidFill>
              </a:rPr>
              <a:pPr/>
              <a:t>2019-02-26</a:t>
            </a:fld>
            <a:endParaRPr lang="sv-SE">
              <a:solidFill>
                <a:prstClr val="white"/>
              </a:solidFill>
            </a:endParaRPr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>
          <a:xfrm>
            <a:off x="8172399" y="6301410"/>
            <a:ext cx="531863" cy="365125"/>
          </a:xfrm>
        </p:spPr>
        <p:txBody>
          <a:bodyPr/>
          <a:lstStyle>
            <a:lvl1pPr>
              <a:defRPr sz="1100"/>
            </a:lvl1pPr>
          </a:lstStyle>
          <a:p>
            <a:fld id="{680D72F4-1C41-4187-A4BC-492CF086CF40}" type="slidenum">
              <a:rPr lang="sv-SE" smtClean="0">
                <a:solidFill>
                  <a:prstClr val="white"/>
                </a:solidFill>
              </a:rPr>
              <a:pPr/>
              <a:t>‹#›</a:t>
            </a:fld>
            <a:endParaRPr lang="sv-SE">
              <a:solidFill>
                <a:prstClr val="white"/>
              </a:solidFill>
            </a:endParaRPr>
          </a:p>
        </p:txBody>
      </p:sp>
      <p:sp>
        <p:nvSpPr>
          <p:cNvPr id="7" name="Platshållare för sidfot 4"/>
          <p:cNvSpPr>
            <a:spLocks noGrp="1"/>
          </p:cNvSpPr>
          <p:nvPr>
            <p:ph type="ftr" sz="quarter" idx="11"/>
          </p:nvPr>
        </p:nvSpPr>
        <p:spPr>
          <a:xfrm>
            <a:off x="1619250" y="6345300"/>
            <a:ext cx="2895600" cy="365125"/>
          </a:xfrm>
        </p:spPr>
        <p:txBody>
          <a:bodyPr lIns="0" tIns="0" rIns="0" bIns="0" anchor="t"/>
          <a:lstStyle>
            <a:lvl1pPr algn="l">
              <a:lnSpc>
                <a:spcPts val="900"/>
              </a:lnSpc>
              <a:defRPr sz="1100" b="1" cap="all" baseline="0">
                <a:solidFill>
                  <a:schemeClr val="bg1"/>
                </a:solidFill>
              </a:defRPr>
            </a:lvl1pPr>
          </a:lstStyle>
          <a:p>
            <a:endParaRPr lang="sv-SE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0367359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8964" y="344488"/>
            <a:ext cx="662749" cy="66274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0" name="Platshållare för innehåll 2"/>
          <p:cNvSpPr>
            <a:spLocks noGrp="1"/>
          </p:cNvSpPr>
          <p:nvPr>
            <p:ph idx="1"/>
          </p:nvPr>
        </p:nvSpPr>
        <p:spPr>
          <a:xfrm>
            <a:off x="1619250" y="1582739"/>
            <a:ext cx="6935788" cy="4078286"/>
          </a:xfrm>
        </p:spPr>
        <p:txBody>
          <a:bodyPr/>
          <a:lstStyle/>
          <a:p>
            <a:pPr lvl="0"/>
            <a:r>
              <a:rPr lang="sv-SE" smtClean="0"/>
              <a:t>Klicka här för att ändra format på bakgrundstexten</a:t>
            </a:r>
          </a:p>
          <a:p>
            <a:pPr lvl="1"/>
            <a:r>
              <a:rPr lang="sv-SE" smtClean="0"/>
              <a:t>Nivå två</a:t>
            </a:r>
          </a:p>
          <a:p>
            <a:pPr lvl="2"/>
            <a:r>
              <a:rPr lang="sv-SE" smtClean="0"/>
              <a:t>Nivå tre</a:t>
            </a:r>
          </a:p>
          <a:p>
            <a:pPr lvl="3"/>
            <a:r>
              <a:rPr lang="sv-SE" smtClean="0"/>
              <a:t>Nivå fyra</a:t>
            </a:r>
          </a:p>
          <a:p>
            <a:pPr lvl="4"/>
            <a:r>
              <a:rPr lang="sv-SE" smtClean="0"/>
              <a:t>Nivå fem</a:t>
            </a:r>
            <a:endParaRPr lang="en-GB" dirty="0"/>
          </a:p>
        </p:txBody>
      </p:sp>
      <p:sp>
        <p:nvSpPr>
          <p:cNvPr id="8" name="Rubrik 1"/>
          <p:cNvSpPr>
            <a:spLocks noGrp="1"/>
          </p:cNvSpPr>
          <p:nvPr>
            <p:ph type="title"/>
          </p:nvPr>
        </p:nvSpPr>
        <p:spPr>
          <a:xfrm>
            <a:off x="1619250" y="404870"/>
            <a:ext cx="6935788" cy="668338"/>
          </a:xfrm>
        </p:spPr>
        <p:txBody>
          <a:bodyPr/>
          <a:lstStyle/>
          <a:p>
            <a:r>
              <a:rPr lang="sv-SE" smtClean="0"/>
              <a:t>Klicka här för att ändra format</a:t>
            </a:r>
            <a:endParaRPr lang="en-GB" dirty="0"/>
          </a:p>
        </p:txBody>
      </p:sp>
      <p:sp>
        <p:nvSpPr>
          <p:cNvPr id="9" name="Platshållare för datum 3"/>
          <p:cNvSpPr>
            <a:spLocks noGrp="1"/>
          </p:cNvSpPr>
          <p:nvPr>
            <p:ph type="dt" sz="half" idx="10"/>
          </p:nvPr>
        </p:nvSpPr>
        <p:spPr>
          <a:xfrm>
            <a:off x="5580112" y="6288509"/>
            <a:ext cx="2133600" cy="365125"/>
          </a:xfrm>
        </p:spPr>
        <p:txBody>
          <a:bodyPr/>
          <a:lstStyle>
            <a:lvl1pPr>
              <a:defRPr sz="1100">
                <a:solidFill>
                  <a:schemeClr val="tx1"/>
                </a:solidFill>
              </a:defRPr>
            </a:lvl1pPr>
          </a:lstStyle>
          <a:p>
            <a:fld id="{062D09EF-CAB1-419E-AA51-4B2D38FD1193}" type="datetime1">
              <a:rPr lang="sv-SE" smtClean="0">
                <a:solidFill>
                  <a:prstClr val="black"/>
                </a:solidFill>
              </a:rPr>
              <a:pPr/>
              <a:t>2019-02-26</a:t>
            </a:fld>
            <a:endParaRPr lang="sv-SE">
              <a:solidFill>
                <a:prstClr val="black"/>
              </a:solidFill>
            </a:endParaRPr>
          </a:p>
        </p:txBody>
      </p:sp>
      <p:sp>
        <p:nvSpPr>
          <p:cNvPr id="14" name="Platshållare för bildnummer 5"/>
          <p:cNvSpPr>
            <a:spLocks noGrp="1"/>
          </p:cNvSpPr>
          <p:nvPr>
            <p:ph type="sldNum" sz="quarter" idx="12"/>
          </p:nvPr>
        </p:nvSpPr>
        <p:spPr>
          <a:xfrm>
            <a:off x="8172399" y="6301410"/>
            <a:ext cx="531863" cy="365125"/>
          </a:xfrm>
        </p:spPr>
        <p:txBody>
          <a:bodyPr/>
          <a:lstStyle>
            <a:lvl1pPr>
              <a:defRPr sz="1100">
                <a:solidFill>
                  <a:schemeClr val="tx1"/>
                </a:solidFill>
              </a:defRPr>
            </a:lvl1pPr>
          </a:lstStyle>
          <a:p>
            <a:fld id="{680D72F4-1C41-4187-A4BC-492CF086CF40}" type="slidenum">
              <a:rPr lang="sv-SE" smtClean="0">
                <a:solidFill>
                  <a:prstClr val="black"/>
                </a:solidFill>
              </a:rPr>
              <a:pPr/>
              <a:t>‹#›</a:t>
            </a:fld>
            <a:endParaRPr lang="sv-SE">
              <a:solidFill>
                <a:prstClr val="black"/>
              </a:solidFill>
            </a:endParaRPr>
          </a:p>
        </p:txBody>
      </p:sp>
      <p:sp>
        <p:nvSpPr>
          <p:cNvPr id="15" name="Platshållare för sidfot 4"/>
          <p:cNvSpPr>
            <a:spLocks noGrp="1"/>
          </p:cNvSpPr>
          <p:nvPr>
            <p:ph type="ftr" sz="quarter" idx="11"/>
          </p:nvPr>
        </p:nvSpPr>
        <p:spPr>
          <a:xfrm>
            <a:off x="1619250" y="6345300"/>
            <a:ext cx="2895600" cy="365125"/>
          </a:xfrm>
        </p:spPr>
        <p:txBody>
          <a:bodyPr lIns="0" tIns="0" rIns="0" bIns="0" anchor="t"/>
          <a:lstStyle>
            <a:lvl1pPr algn="l">
              <a:lnSpc>
                <a:spcPts val="900"/>
              </a:lnSpc>
              <a:defRPr sz="1100" b="1" cap="all" baseline="0">
                <a:solidFill>
                  <a:schemeClr val="tx1"/>
                </a:solidFill>
              </a:defRPr>
            </a:lvl1pPr>
          </a:lstStyle>
          <a:p>
            <a:endParaRPr lang="sv-SE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9996362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 3"/>
          <p:cNvSpPr>
            <a:spLocks noChangeArrowheads="1"/>
          </p:cNvSpPr>
          <p:nvPr/>
        </p:nvSpPr>
        <p:spPr bwMode="auto">
          <a:xfrm>
            <a:off x="609600" y="1219200"/>
            <a:ext cx="7924800" cy="914400"/>
          </a:xfrm>
          <a:custGeom>
            <a:avLst/>
            <a:gdLst/>
            <a:ahLst/>
            <a:cxnLst>
              <a:cxn ang="0">
                <a:pos x="0" y="1000"/>
              </a:cxn>
              <a:cxn ang="0">
                <a:pos x="0" y="0"/>
              </a:cxn>
              <a:cxn ang="0">
                <a:pos x="1000" y="0"/>
              </a:cxn>
            </a:cxnLst>
            <a:rect l="0" t="0" r="r" b="b"/>
            <a:pathLst>
              <a:path w="1000" h="1000">
                <a:moveTo>
                  <a:pt x="0" y="1000"/>
                </a:moveTo>
                <a:lnTo>
                  <a:pt x="0" y="0"/>
                </a:lnTo>
                <a:lnTo>
                  <a:pt x="1000" y="0"/>
                </a:lnTo>
              </a:path>
            </a:pathLst>
          </a:custGeom>
          <a:noFill/>
          <a:ln w="25400" cap="flat" cmpd="sng">
            <a:solidFill>
              <a:schemeClr val="accent1"/>
            </a:solidFill>
            <a:prstDash val="solid"/>
            <a:miter lim="800000"/>
            <a:headEnd/>
            <a:tailEnd/>
          </a:ln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IN" sz="18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" name="Line 8"/>
          <p:cNvSpPr>
            <a:spLocks noChangeShapeType="1"/>
          </p:cNvSpPr>
          <p:nvPr/>
        </p:nvSpPr>
        <p:spPr bwMode="auto">
          <a:xfrm>
            <a:off x="1981200" y="3962400"/>
            <a:ext cx="6511925" cy="0"/>
          </a:xfrm>
          <a:prstGeom prst="line">
            <a:avLst/>
          </a:prstGeom>
          <a:noFill/>
          <a:ln w="19050">
            <a:solidFill>
              <a:schemeClr val="accent1"/>
            </a:solidFill>
            <a:round/>
            <a:headEnd/>
            <a:tailEnd/>
          </a:ln>
          <a:effectLst/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buFont typeface="Wingdings" pitchFamily="-110" charset="2"/>
              <a:buChar char="n"/>
              <a:defRPr/>
            </a:pPr>
            <a:endParaRPr lang="en-IN" sz="18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42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914400" y="1524000"/>
            <a:ext cx="7623175" cy="1752600"/>
          </a:xfrm>
        </p:spPr>
        <p:txBody>
          <a:bodyPr/>
          <a:lstStyle>
            <a:lvl1pPr>
              <a:defRPr sz="5000"/>
            </a:lvl1pPr>
          </a:lstStyle>
          <a:p>
            <a:r>
              <a:rPr lang="en-US" altLang="en-US"/>
              <a:t>Click to edit Master title style</a:t>
            </a:r>
          </a:p>
        </p:txBody>
      </p:sp>
      <p:sp>
        <p:nvSpPr>
          <p:cNvPr id="542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981200" y="3962400"/>
            <a:ext cx="6553200" cy="1752600"/>
          </a:xfrm>
        </p:spPr>
        <p:txBody>
          <a:bodyPr/>
          <a:lstStyle>
            <a:lvl1pPr marL="0" indent="0">
              <a:buFont typeface="Wingdings" pitchFamily="-110" charset="2"/>
              <a:buNone/>
              <a:defRPr sz="2800"/>
            </a:lvl1pPr>
          </a:lstStyle>
          <a:p>
            <a:r>
              <a:rPr lang="en-US" altLang="en-US"/>
              <a:t>Click to edit Master subtitle style</a:t>
            </a:r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0"/>
          </p:nvPr>
        </p:nvSpPr>
        <p:spPr>
          <a:xfrm>
            <a:off x="685800" y="6243638"/>
            <a:ext cx="5334000" cy="457200"/>
          </a:xfrm>
        </p:spPr>
        <p:txBody>
          <a:bodyPr/>
          <a:lstStyle>
            <a:lvl1pPr algn="ctr">
              <a:defRPr/>
            </a:lvl1pPr>
          </a:lstStyle>
          <a:p>
            <a:pPr>
              <a:defRPr/>
            </a:pPr>
            <a:r>
              <a:rPr lang="en-US" altLang="en-US">
                <a:solidFill>
                  <a:srgbClr val="000000"/>
                </a:solidFill>
              </a:rPr>
              <a:t>CS511, Bing Liu, UIC</a:t>
            </a: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490C229F-A206-44FE-818F-AC6C394AABE4}" type="slidenum">
              <a:rPr lang="en-US" alt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00898869"/>
      </p:ext>
    </p:extLst>
  </p:cSld>
  <p:clrMapOvr>
    <a:masterClrMapping/>
  </p:clrMapOvr>
  <p:transition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Alpydin &amp; Ch. Eick: ML Topic1</a:t>
            </a:r>
            <a:endParaRPr lang="tr-TR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0797459C-4CF1-4524-B57F-F6EB61A0E66A}" type="slidenum">
              <a:rPr lang="tr-TR" altLang="en-US"/>
              <a:pPr>
                <a:defRPr/>
              </a:pPr>
              <a:t>‹#›</a:t>
            </a:fld>
            <a:endParaRPr lang="tr-TR" altLang="en-US"/>
          </a:p>
        </p:txBody>
      </p:sp>
    </p:spTree>
    <p:extLst>
      <p:ext uri="{BB962C8B-B14F-4D97-AF65-F5344CB8AC3E}">
        <p14:creationId xmlns:p14="http://schemas.microsoft.com/office/powerpoint/2010/main" val="1464578063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IN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N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>
                <a:solidFill>
                  <a:srgbClr val="000000"/>
                </a:solidFill>
              </a:rPr>
              <a:t>CS511, Bing Liu, UIC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9D3AC3A4-A827-4FE8-9ABD-FFBE5D96B8FE}" type="slidenum">
              <a:rPr lang="en-US" alt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13810221"/>
      </p:ext>
    </p:extLst>
  </p:cSld>
  <p:clrMapOvr>
    <a:masterClrMapping/>
  </p:clrMapOvr>
  <p:transition/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IN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>
                <a:solidFill>
                  <a:srgbClr val="000000"/>
                </a:solidFill>
              </a:rPr>
              <a:t>CS511, Bing Liu, UIC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BB91AB84-5A70-4279-945C-FCCB612BE6B2}" type="slidenum">
              <a:rPr lang="en-US" alt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83970953"/>
      </p:ext>
    </p:extLst>
  </p:cSld>
  <p:clrMapOvr>
    <a:masterClrMapping/>
  </p:clrMapOvr>
  <p:transition/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IN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3072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N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3072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N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>
                <a:solidFill>
                  <a:srgbClr val="000000"/>
                </a:solidFill>
              </a:rPr>
              <a:t>CS511, Bing Liu, UIC</a:t>
            </a: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CAFEF37A-DED4-4A03-B936-6FF9BDB5F9C8}" type="slidenum">
              <a:rPr lang="en-US" alt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77354912"/>
      </p:ext>
    </p:extLst>
  </p:cSld>
  <p:clrMapOvr>
    <a:masterClrMapping/>
  </p:clrMapOvr>
  <p:transition/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IN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N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N"/>
          </a:p>
        </p:txBody>
      </p:sp>
      <p:sp>
        <p:nvSpPr>
          <p:cNvPr id="7" name="Rectangle 5"/>
          <p:cNvSpPr>
            <a:spLocks noGrp="1" noChangeArrowheads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>
                <a:solidFill>
                  <a:srgbClr val="000000"/>
                </a:solidFill>
              </a:rPr>
              <a:t>CS511, Bing Liu, UIC</a:t>
            </a:r>
          </a:p>
        </p:txBody>
      </p:sp>
      <p:sp>
        <p:nvSpPr>
          <p:cNvPr id="8" name="Rectangle 6"/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72689A43-FB61-48BD-BF45-B1E2C804186E}" type="slidenum">
              <a:rPr lang="en-US" alt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82104419"/>
      </p:ext>
    </p:extLst>
  </p:cSld>
  <p:clrMapOvr>
    <a:masterClrMapping/>
  </p:clrMapOvr>
  <p:transition/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IN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>
                <a:solidFill>
                  <a:srgbClr val="000000"/>
                </a:solidFill>
              </a:rPr>
              <a:t>CS511, Bing Liu, UIC</a:t>
            </a: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1C2265EB-9187-4253-BA67-40389D30363B}" type="slidenum">
              <a:rPr lang="en-US" alt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07399543"/>
      </p:ext>
    </p:extLst>
  </p:cSld>
  <p:clrMapOvr>
    <a:masterClrMapping/>
  </p:clrMapOvr>
  <p:transition/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5"/>
          <p:cNvSpPr>
            <a:spLocks noGrp="1" noChangeArrowheads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>
                <a:solidFill>
                  <a:srgbClr val="000000"/>
                </a:solidFill>
              </a:rPr>
              <a:t>CS511, Bing Liu, UIC</a:t>
            </a:r>
          </a:p>
        </p:txBody>
      </p:sp>
      <p:sp>
        <p:nvSpPr>
          <p:cNvPr id="3" name="Rectangle 6"/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DCCBAB86-2559-4979-BC5C-6624838BCC61}" type="slidenum">
              <a:rPr lang="en-US" alt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3189098"/>
      </p:ext>
    </p:extLst>
  </p:cSld>
  <p:clrMapOvr>
    <a:masterClrMapping/>
  </p:clrMapOvr>
  <p:transition/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IN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N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>
                <a:solidFill>
                  <a:srgbClr val="000000"/>
                </a:solidFill>
              </a:rPr>
              <a:t>CS511, Bing Liu, UIC</a:t>
            </a: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F66E5244-5893-4231-818B-AEC1CE7CDB01}" type="slidenum">
              <a:rPr lang="en-US" alt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45308917"/>
      </p:ext>
    </p:extLst>
  </p:cSld>
  <p:clrMapOvr>
    <a:masterClrMapping/>
  </p:clrMapOvr>
  <p:transition/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IN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IN" noProof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>
                <a:solidFill>
                  <a:srgbClr val="000000"/>
                </a:solidFill>
              </a:rPr>
              <a:t>CS511, Bing Liu, UIC</a:t>
            </a: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EAF86C8D-9235-4AB4-92FE-64BECED8BA76}" type="slidenum">
              <a:rPr lang="en-US" alt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46008387"/>
      </p:ext>
    </p:extLst>
  </p:cSld>
  <p:clrMapOvr>
    <a:masterClrMapping/>
  </p:clrMapOvr>
  <p:transition/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IN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N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>
                <a:solidFill>
                  <a:srgbClr val="000000"/>
                </a:solidFill>
              </a:rPr>
              <a:t>CS511, Bing Liu, UIC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16DF0F3C-951C-4970-9587-52F4CF2E7A74}" type="slidenum">
              <a:rPr lang="en-US" alt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13293944"/>
      </p:ext>
    </p:extLst>
  </p:cSld>
  <p:clrMapOvr>
    <a:masterClrMapping/>
  </p:clrMapOvr>
  <p:transition/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7813"/>
            <a:ext cx="2057400" cy="5853112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IN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7813"/>
            <a:ext cx="6019800" cy="5853112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N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>
                <a:solidFill>
                  <a:srgbClr val="000000"/>
                </a:solidFill>
              </a:rPr>
              <a:t>CS511, Bing Liu, UIC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7EE85C64-7142-4E8A-A23F-AA9A0778058F}" type="slidenum">
              <a:rPr lang="en-US" alt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77645907"/>
      </p:ext>
    </p:extLst>
  </p:cSld>
  <p:clrMapOvr>
    <a:masterClrMapping/>
  </p:clrMapOvr>
  <p:transition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, Text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457200" y="1981200"/>
            <a:ext cx="4038600" cy="38862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981200"/>
            <a:ext cx="4038600" cy="38862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599F7976-9412-4B93-912B-6FD078496DB4}" type="slidenum">
              <a:rPr lang="tr-TR" altLang="en-US"/>
              <a:pPr>
                <a:defRPr/>
              </a:pPr>
              <a:t>‹#›</a:t>
            </a:fld>
            <a:endParaRPr lang="tr-TR" altLang="en-US"/>
          </a:p>
        </p:txBody>
      </p:sp>
    </p:spTree>
    <p:extLst>
      <p:ext uri="{BB962C8B-B14F-4D97-AF65-F5344CB8AC3E}">
        <p14:creationId xmlns:p14="http://schemas.microsoft.com/office/powerpoint/2010/main" val="92712812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AndObj" preserve="1">
  <p:cSld name="Title, Text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7813"/>
            <a:ext cx="8229600" cy="11398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IN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457200" y="1600200"/>
            <a:ext cx="4038600" cy="453072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N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3072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N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>
                <a:solidFill>
                  <a:srgbClr val="000000"/>
                </a:solidFill>
              </a:rPr>
              <a:t>CS511, Bing Liu, UIC</a:t>
            </a: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1143EAE2-7D02-4D03-9FC4-395745BA1E04}" type="slidenum">
              <a:rPr lang="en-US" alt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96791743"/>
      </p:ext>
    </p:extLst>
  </p:cSld>
  <p:clrMapOvr>
    <a:masterClrMapping/>
  </p:clrMapOvr>
  <p:transition/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AndTwoObj" preserve="1">
  <p:cSld name="Title, Text, and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7813"/>
            <a:ext cx="8229600" cy="11398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IN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457200" y="1600200"/>
            <a:ext cx="4038600" cy="453072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N"/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4648200" y="1600200"/>
            <a:ext cx="4038600" cy="2189163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N"/>
          </a:p>
        </p:txBody>
      </p:sp>
      <p:sp>
        <p:nvSpPr>
          <p:cNvPr id="5" name="Content Placeholder 4"/>
          <p:cNvSpPr>
            <a:spLocks noGrp="1"/>
          </p:cNvSpPr>
          <p:nvPr>
            <p:ph sz="quarter" idx="3"/>
          </p:nvPr>
        </p:nvSpPr>
        <p:spPr>
          <a:xfrm>
            <a:off x="4648200" y="3941763"/>
            <a:ext cx="4038600" cy="2189162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N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>
                <a:solidFill>
                  <a:srgbClr val="000000"/>
                </a:solidFill>
              </a:rPr>
              <a:t>CS511, Bing Liu, UIC</a:t>
            </a: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9014ECF5-190B-4E6C-B633-072DB09CE96A}" type="slidenum">
              <a:rPr lang="en-US" alt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59166346"/>
      </p:ext>
    </p:extLst>
  </p:cSld>
  <p:clrMapOvr>
    <a:masterClrMapping/>
  </p:clrMapOvr>
  <p:transition/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fourObj" preserve="1">
  <p:cSld name="Title and 4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sz="quarter"/>
          </p:nvPr>
        </p:nvSpPr>
        <p:spPr>
          <a:xfrm>
            <a:off x="457200" y="277813"/>
            <a:ext cx="8229600" cy="11398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IN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"/>
          </p:nvPr>
        </p:nvSpPr>
        <p:spPr>
          <a:xfrm>
            <a:off x="457200" y="1600200"/>
            <a:ext cx="4038600" cy="2189163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N"/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4648200" y="1600200"/>
            <a:ext cx="4038600" cy="2189163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N"/>
          </a:p>
        </p:txBody>
      </p:sp>
      <p:sp>
        <p:nvSpPr>
          <p:cNvPr id="5" name="Content Placeholder 4"/>
          <p:cNvSpPr>
            <a:spLocks noGrp="1"/>
          </p:cNvSpPr>
          <p:nvPr>
            <p:ph sz="quarter" idx="3"/>
          </p:nvPr>
        </p:nvSpPr>
        <p:spPr>
          <a:xfrm>
            <a:off x="457200" y="3941763"/>
            <a:ext cx="4038600" cy="2189162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N"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8200" y="3941763"/>
            <a:ext cx="4038600" cy="2189162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N"/>
          </a:p>
        </p:txBody>
      </p:sp>
      <p:sp>
        <p:nvSpPr>
          <p:cNvPr id="7" name="Rectangle 5"/>
          <p:cNvSpPr>
            <a:spLocks noGrp="1" noChangeArrowheads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>
                <a:solidFill>
                  <a:srgbClr val="000000"/>
                </a:solidFill>
              </a:rPr>
              <a:t>CS511, Bing Liu, UIC</a:t>
            </a:r>
          </a:p>
        </p:txBody>
      </p:sp>
      <p:sp>
        <p:nvSpPr>
          <p:cNvPr id="8" name="Rectangle 6"/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0043C86C-71F0-47A6-92A2-8C8870A0D251}" type="slidenum">
              <a:rPr lang="en-US" alt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54948280"/>
      </p:ext>
    </p:extLst>
  </p:cSld>
  <p:clrMapOvr>
    <a:masterClrMapping/>
  </p:clrMapOvr>
  <p:transition/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bl" preserve="1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7813"/>
            <a:ext cx="8229600" cy="11398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IN"/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457200" y="1600200"/>
            <a:ext cx="8229600" cy="4530725"/>
          </a:xfrm>
        </p:spPr>
        <p:txBody>
          <a:bodyPr/>
          <a:lstStyle/>
          <a:p>
            <a:pPr lvl="0"/>
            <a:endParaRPr lang="en-IN" noProof="0" smtClean="0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>
                <a:solidFill>
                  <a:srgbClr val="000000"/>
                </a:solidFill>
              </a:rPr>
              <a:t>CS511, Bing Liu, UIC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D00D928E-5DB7-4617-AC9D-224027C0779B}" type="slidenum">
              <a:rPr lang="en-US" alt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50037407"/>
      </p:ext>
    </p:extLst>
  </p:cSld>
  <p:clrMapOvr>
    <a:masterClrMapping/>
  </p:clrMapOvr>
  <p:transition/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 3"/>
          <p:cNvSpPr>
            <a:spLocks noChangeArrowheads="1"/>
          </p:cNvSpPr>
          <p:nvPr/>
        </p:nvSpPr>
        <p:spPr bwMode="auto">
          <a:xfrm>
            <a:off x="609600" y="1219200"/>
            <a:ext cx="7924800" cy="914400"/>
          </a:xfrm>
          <a:custGeom>
            <a:avLst/>
            <a:gdLst/>
            <a:ahLst/>
            <a:cxnLst>
              <a:cxn ang="0">
                <a:pos x="0" y="1000"/>
              </a:cxn>
              <a:cxn ang="0">
                <a:pos x="0" y="0"/>
              </a:cxn>
              <a:cxn ang="0">
                <a:pos x="1000" y="0"/>
              </a:cxn>
            </a:cxnLst>
            <a:rect l="0" t="0" r="r" b="b"/>
            <a:pathLst>
              <a:path w="1000" h="1000">
                <a:moveTo>
                  <a:pt x="0" y="1000"/>
                </a:moveTo>
                <a:lnTo>
                  <a:pt x="0" y="0"/>
                </a:lnTo>
                <a:lnTo>
                  <a:pt x="1000" y="0"/>
                </a:lnTo>
              </a:path>
            </a:pathLst>
          </a:custGeom>
          <a:noFill/>
          <a:ln w="25400" cap="flat" cmpd="sng">
            <a:solidFill>
              <a:schemeClr val="accent1"/>
            </a:solidFill>
            <a:prstDash val="solid"/>
            <a:miter lim="800000"/>
            <a:headEnd/>
            <a:tailEnd/>
          </a:ln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IN" sz="18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" name="Line 8"/>
          <p:cNvSpPr>
            <a:spLocks noChangeShapeType="1"/>
          </p:cNvSpPr>
          <p:nvPr/>
        </p:nvSpPr>
        <p:spPr bwMode="auto">
          <a:xfrm>
            <a:off x="1981200" y="3962400"/>
            <a:ext cx="6511925" cy="0"/>
          </a:xfrm>
          <a:prstGeom prst="line">
            <a:avLst/>
          </a:prstGeom>
          <a:noFill/>
          <a:ln w="19050">
            <a:solidFill>
              <a:schemeClr val="accent1"/>
            </a:solidFill>
            <a:round/>
            <a:headEnd/>
            <a:tailEnd/>
          </a:ln>
          <a:effectLst/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buFont typeface="Wingdings" pitchFamily="-110" charset="2"/>
              <a:buChar char="n"/>
              <a:defRPr/>
            </a:pPr>
            <a:endParaRPr lang="en-IN" sz="18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42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914400" y="1524000"/>
            <a:ext cx="7623175" cy="1752600"/>
          </a:xfrm>
        </p:spPr>
        <p:txBody>
          <a:bodyPr/>
          <a:lstStyle>
            <a:lvl1pPr>
              <a:defRPr sz="5000"/>
            </a:lvl1pPr>
          </a:lstStyle>
          <a:p>
            <a:r>
              <a:rPr lang="en-US" altLang="en-US"/>
              <a:t>Click to edit Master title style</a:t>
            </a:r>
          </a:p>
        </p:txBody>
      </p:sp>
      <p:sp>
        <p:nvSpPr>
          <p:cNvPr id="542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981200" y="3962400"/>
            <a:ext cx="6553200" cy="1752600"/>
          </a:xfrm>
        </p:spPr>
        <p:txBody>
          <a:bodyPr/>
          <a:lstStyle>
            <a:lvl1pPr marL="0" indent="0">
              <a:buFont typeface="Wingdings" pitchFamily="-110" charset="2"/>
              <a:buNone/>
              <a:defRPr sz="2800"/>
            </a:lvl1pPr>
          </a:lstStyle>
          <a:p>
            <a:r>
              <a:rPr lang="en-US" altLang="en-US"/>
              <a:t>Click to edit Master subtitle style</a:t>
            </a:r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0"/>
          </p:nvPr>
        </p:nvSpPr>
        <p:spPr>
          <a:xfrm>
            <a:off x="685800" y="6243638"/>
            <a:ext cx="5334000" cy="457200"/>
          </a:xfrm>
        </p:spPr>
        <p:txBody>
          <a:bodyPr/>
          <a:lstStyle>
            <a:lvl1pPr algn="ctr">
              <a:defRPr/>
            </a:lvl1pPr>
          </a:lstStyle>
          <a:p>
            <a:pPr>
              <a:defRPr/>
            </a:pPr>
            <a:r>
              <a:rPr lang="en-US" altLang="en-US">
                <a:solidFill>
                  <a:srgbClr val="000000"/>
                </a:solidFill>
              </a:rPr>
              <a:t>CS511, Bing Liu, UIC</a:t>
            </a: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490C229F-A206-44FE-818F-AC6C394AABE4}" type="slidenum">
              <a:rPr lang="en-US" alt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96316769"/>
      </p:ext>
    </p:extLst>
  </p:cSld>
  <p:clrMapOvr>
    <a:masterClrMapping/>
  </p:clrMapOvr>
  <p:transition/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IN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N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>
                <a:solidFill>
                  <a:srgbClr val="000000"/>
                </a:solidFill>
              </a:rPr>
              <a:t>CS511, Bing Liu, UIC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9D3AC3A4-A827-4FE8-9ABD-FFBE5D96B8FE}" type="slidenum">
              <a:rPr lang="en-US" alt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18729653"/>
      </p:ext>
    </p:extLst>
  </p:cSld>
  <p:clrMapOvr>
    <a:masterClrMapping/>
  </p:clrMapOvr>
  <p:transition/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IN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>
                <a:solidFill>
                  <a:srgbClr val="000000"/>
                </a:solidFill>
              </a:rPr>
              <a:t>CS511, Bing Liu, UIC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BB91AB84-5A70-4279-945C-FCCB612BE6B2}" type="slidenum">
              <a:rPr lang="en-US" alt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60459946"/>
      </p:ext>
    </p:extLst>
  </p:cSld>
  <p:clrMapOvr>
    <a:masterClrMapping/>
  </p:clrMapOvr>
  <p:transition/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IN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3072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N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3072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N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>
                <a:solidFill>
                  <a:srgbClr val="000000"/>
                </a:solidFill>
              </a:rPr>
              <a:t>CS511, Bing Liu, UIC</a:t>
            </a: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CAFEF37A-DED4-4A03-B936-6FF9BDB5F9C8}" type="slidenum">
              <a:rPr lang="en-US" alt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86537120"/>
      </p:ext>
    </p:extLst>
  </p:cSld>
  <p:clrMapOvr>
    <a:masterClrMapping/>
  </p:clrMapOvr>
  <p:transition/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IN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N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N"/>
          </a:p>
        </p:txBody>
      </p:sp>
      <p:sp>
        <p:nvSpPr>
          <p:cNvPr id="7" name="Rectangle 5"/>
          <p:cNvSpPr>
            <a:spLocks noGrp="1" noChangeArrowheads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>
                <a:solidFill>
                  <a:srgbClr val="000000"/>
                </a:solidFill>
              </a:rPr>
              <a:t>CS511, Bing Liu, UIC</a:t>
            </a:r>
          </a:p>
        </p:txBody>
      </p:sp>
      <p:sp>
        <p:nvSpPr>
          <p:cNvPr id="8" name="Rectangle 6"/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72689A43-FB61-48BD-BF45-B1E2C804186E}" type="slidenum">
              <a:rPr lang="en-US" alt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6483636"/>
      </p:ext>
    </p:extLst>
  </p:cSld>
  <p:clrMapOvr>
    <a:masterClrMapping/>
  </p:clrMapOvr>
  <p:transition/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IN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>
                <a:solidFill>
                  <a:srgbClr val="000000"/>
                </a:solidFill>
              </a:rPr>
              <a:t>CS511, Bing Liu, UIC</a:t>
            </a: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1C2265EB-9187-4253-BA67-40389D30363B}" type="slidenum">
              <a:rPr lang="en-US" alt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77369312"/>
      </p:ext>
    </p:extLst>
  </p:cSld>
  <p:clrMapOvr>
    <a:masterClrMapping/>
  </p:clrMapOvr>
  <p:transition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 3"/>
          <p:cNvSpPr>
            <a:spLocks noChangeArrowheads="1"/>
          </p:cNvSpPr>
          <p:nvPr/>
        </p:nvSpPr>
        <p:spPr bwMode="auto">
          <a:xfrm>
            <a:off x="609600" y="1219200"/>
            <a:ext cx="7924800" cy="914400"/>
          </a:xfrm>
          <a:custGeom>
            <a:avLst/>
            <a:gdLst/>
            <a:ahLst/>
            <a:cxnLst>
              <a:cxn ang="0">
                <a:pos x="0" y="1000"/>
              </a:cxn>
              <a:cxn ang="0">
                <a:pos x="0" y="0"/>
              </a:cxn>
              <a:cxn ang="0">
                <a:pos x="1000" y="0"/>
              </a:cxn>
            </a:cxnLst>
            <a:rect l="0" t="0" r="r" b="b"/>
            <a:pathLst>
              <a:path w="1000" h="1000">
                <a:moveTo>
                  <a:pt x="0" y="1000"/>
                </a:moveTo>
                <a:lnTo>
                  <a:pt x="0" y="0"/>
                </a:lnTo>
                <a:lnTo>
                  <a:pt x="1000" y="0"/>
                </a:lnTo>
              </a:path>
            </a:pathLst>
          </a:custGeom>
          <a:noFill/>
          <a:ln w="25400" cap="flat" cmpd="sng">
            <a:solidFill>
              <a:schemeClr val="accent1"/>
            </a:solidFill>
            <a:prstDash val="solid"/>
            <a:miter lim="800000"/>
            <a:headEnd/>
            <a:tailEnd/>
          </a:ln>
        </p:spPr>
        <p:txBody>
          <a:bodyPr/>
          <a:lstStyle/>
          <a:p>
            <a:pPr defTabSz="4572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IN" sz="18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" name="Line 8"/>
          <p:cNvSpPr>
            <a:spLocks noChangeShapeType="1"/>
          </p:cNvSpPr>
          <p:nvPr/>
        </p:nvSpPr>
        <p:spPr bwMode="auto">
          <a:xfrm>
            <a:off x="1981200" y="3962400"/>
            <a:ext cx="6511925" cy="0"/>
          </a:xfrm>
          <a:prstGeom prst="line">
            <a:avLst/>
          </a:prstGeom>
          <a:noFill/>
          <a:ln w="19050">
            <a:solidFill>
              <a:schemeClr val="accent1"/>
            </a:solidFill>
            <a:round/>
            <a:headEnd/>
            <a:tailEnd/>
          </a:ln>
          <a:effectLst/>
        </p:spPr>
        <p:txBody>
          <a:bodyPr/>
          <a:lstStyle/>
          <a:p>
            <a:pPr defTabSz="457200" eaLnBrk="1" fontAlgn="auto" hangingPunct="1">
              <a:spcBef>
                <a:spcPts val="0"/>
              </a:spcBef>
              <a:spcAft>
                <a:spcPts val="0"/>
              </a:spcAft>
              <a:buFont typeface="Wingdings" pitchFamily="-110" charset="2"/>
              <a:buChar char="n"/>
              <a:defRPr/>
            </a:pPr>
            <a:endParaRPr lang="en-IN" sz="18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42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914400" y="1524000"/>
            <a:ext cx="7623175" cy="1752600"/>
          </a:xfrm>
        </p:spPr>
        <p:txBody>
          <a:bodyPr/>
          <a:lstStyle>
            <a:lvl1pPr>
              <a:defRPr sz="5000"/>
            </a:lvl1pPr>
          </a:lstStyle>
          <a:p>
            <a:r>
              <a:rPr lang="en-US" altLang="en-US"/>
              <a:t>Click to edit Master title style</a:t>
            </a:r>
          </a:p>
        </p:txBody>
      </p:sp>
      <p:sp>
        <p:nvSpPr>
          <p:cNvPr id="542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981200" y="3962400"/>
            <a:ext cx="6553200" cy="1752600"/>
          </a:xfrm>
        </p:spPr>
        <p:txBody>
          <a:bodyPr/>
          <a:lstStyle>
            <a:lvl1pPr marL="0" indent="0">
              <a:buFont typeface="Wingdings" pitchFamily="-110" charset="2"/>
              <a:buNone/>
              <a:defRPr sz="2800"/>
            </a:lvl1pPr>
          </a:lstStyle>
          <a:p>
            <a:r>
              <a:rPr lang="en-US" altLang="en-US"/>
              <a:t>Click to edit Master subtitle style</a:t>
            </a:r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0"/>
          </p:nvPr>
        </p:nvSpPr>
        <p:spPr>
          <a:xfrm>
            <a:off x="685800" y="6243638"/>
            <a:ext cx="5334000" cy="457200"/>
          </a:xfrm>
        </p:spPr>
        <p:txBody>
          <a:bodyPr/>
          <a:lstStyle>
            <a:lvl1pPr algn="ctr">
              <a:defRPr/>
            </a:lvl1pPr>
          </a:lstStyle>
          <a:p>
            <a:pPr>
              <a:defRPr/>
            </a:pPr>
            <a:r>
              <a:rPr lang="en-US" altLang="en-US">
                <a:solidFill>
                  <a:srgbClr val="000000"/>
                </a:solidFill>
              </a:rPr>
              <a:t>CS511, Bing Liu, UIC</a:t>
            </a: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490C229F-A206-44FE-818F-AC6C394AABE4}" type="slidenum">
              <a:rPr lang="en-US" alt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34440620"/>
      </p:ext>
    </p:extLst>
  </p:cSld>
  <p:clrMapOvr>
    <a:masterClrMapping/>
  </p:clrMapOvr>
  <p:transition/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5"/>
          <p:cNvSpPr>
            <a:spLocks noGrp="1" noChangeArrowheads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>
                <a:solidFill>
                  <a:srgbClr val="000000"/>
                </a:solidFill>
              </a:rPr>
              <a:t>CS511, Bing Liu, UIC</a:t>
            </a:r>
          </a:p>
        </p:txBody>
      </p:sp>
      <p:sp>
        <p:nvSpPr>
          <p:cNvPr id="3" name="Rectangle 6"/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DCCBAB86-2559-4979-BC5C-6624838BCC61}" type="slidenum">
              <a:rPr lang="en-US" alt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29998304"/>
      </p:ext>
    </p:extLst>
  </p:cSld>
  <p:clrMapOvr>
    <a:masterClrMapping/>
  </p:clrMapOvr>
  <p:transition/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IN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N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>
                <a:solidFill>
                  <a:srgbClr val="000000"/>
                </a:solidFill>
              </a:rPr>
              <a:t>CS511, Bing Liu, UIC</a:t>
            </a: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F66E5244-5893-4231-818B-AEC1CE7CDB01}" type="slidenum">
              <a:rPr lang="en-US" alt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84561155"/>
      </p:ext>
    </p:extLst>
  </p:cSld>
  <p:clrMapOvr>
    <a:masterClrMapping/>
  </p:clrMapOvr>
  <p:transition/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IN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IN" noProof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>
                <a:solidFill>
                  <a:srgbClr val="000000"/>
                </a:solidFill>
              </a:rPr>
              <a:t>CS511, Bing Liu, UIC</a:t>
            </a: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EAF86C8D-9235-4AB4-92FE-64BECED8BA76}" type="slidenum">
              <a:rPr lang="en-US" alt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084937"/>
      </p:ext>
    </p:extLst>
  </p:cSld>
  <p:clrMapOvr>
    <a:masterClrMapping/>
  </p:clrMapOvr>
  <p:transition/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IN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N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>
                <a:solidFill>
                  <a:srgbClr val="000000"/>
                </a:solidFill>
              </a:rPr>
              <a:t>CS511, Bing Liu, UIC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16DF0F3C-951C-4970-9587-52F4CF2E7A74}" type="slidenum">
              <a:rPr lang="en-US" alt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50606944"/>
      </p:ext>
    </p:extLst>
  </p:cSld>
  <p:clrMapOvr>
    <a:masterClrMapping/>
  </p:clrMapOvr>
  <p:transition/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7813"/>
            <a:ext cx="2057400" cy="5853112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IN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7813"/>
            <a:ext cx="6019800" cy="5853112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N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>
                <a:solidFill>
                  <a:srgbClr val="000000"/>
                </a:solidFill>
              </a:rPr>
              <a:t>CS511, Bing Liu, UIC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7EE85C64-7142-4E8A-A23F-AA9A0778058F}" type="slidenum">
              <a:rPr lang="en-US" alt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68264772"/>
      </p:ext>
    </p:extLst>
  </p:cSld>
  <p:clrMapOvr>
    <a:masterClrMapping/>
  </p:clrMapOvr>
  <p:transition/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AndObj" preserve="1">
  <p:cSld name="Title, Text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7813"/>
            <a:ext cx="8229600" cy="11398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IN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457200" y="1600200"/>
            <a:ext cx="4038600" cy="453072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N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3072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N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>
                <a:solidFill>
                  <a:srgbClr val="000000"/>
                </a:solidFill>
              </a:rPr>
              <a:t>CS511, Bing Liu, UIC</a:t>
            </a: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1143EAE2-7D02-4D03-9FC4-395745BA1E04}" type="slidenum">
              <a:rPr lang="en-US" alt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63917971"/>
      </p:ext>
    </p:extLst>
  </p:cSld>
  <p:clrMapOvr>
    <a:masterClrMapping/>
  </p:clrMapOvr>
  <p:transition/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AndTwoObj" preserve="1">
  <p:cSld name="Title, Text, and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7813"/>
            <a:ext cx="8229600" cy="11398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IN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457200" y="1600200"/>
            <a:ext cx="4038600" cy="453072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N"/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4648200" y="1600200"/>
            <a:ext cx="4038600" cy="2189163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N"/>
          </a:p>
        </p:txBody>
      </p:sp>
      <p:sp>
        <p:nvSpPr>
          <p:cNvPr id="5" name="Content Placeholder 4"/>
          <p:cNvSpPr>
            <a:spLocks noGrp="1"/>
          </p:cNvSpPr>
          <p:nvPr>
            <p:ph sz="quarter" idx="3"/>
          </p:nvPr>
        </p:nvSpPr>
        <p:spPr>
          <a:xfrm>
            <a:off x="4648200" y="3941763"/>
            <a:ext cx="4038600" cy="2189162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N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>
                <a:solidFill>
                  <a:srgbClr val="000000"/>
                </a:solidFill>
              </a:rPr>
              <a:t>CS511, Bing Liu, UIC</a:t>
            </a: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9014ECF5-190B-4E6C-B633-072DB09CE96A}" type="slidenum">
              <a:rPr lang="en-US" alt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24566533"/>
      </p:ext>
    </p:extLst>
  </p:cSld>
  <p:clrMapOvr>
    <a:masterClrMapping/>
  </p:clrMapOvr>
  <p:transition/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fourObj" preserve="1">
  <p:cSld name="Title and 4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sz="quarter"/>
          </p:nvPr>
        </p:nvSpPr>
        <p:spPr>
          <a:xfrm>
            <a:off x="457200" y="277813"/>
            <a:ext cx="8229600" cy="11398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IN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"/>
          </p:nvPr>
        </p:nvSpPr>
        <p:spPr>
          <a:xfrm>
            <a:off x="457200" y="1600200"/>
            <a:ext cx="4038600" cy="2189163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N"/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4648200" y="1600200"/>
            <a:ext cx="4038600" cy="2189163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N"/>
          </a:p>
        </p:txBody>
      </p:sp>
      <p:sp>
        <p:nvSpPr>
          <p:cNvPr id="5" name="Content Placeholder 4"/>
          <p:cNvSpPr>
            <a:spLocks noGrp="1"/>
          </p:cNvSpPr>
          <p:nvPr>
            <p:ph sz="quarter" idx="3"/>
          </p:nvPr>
        </p:nvSpPr>
        <p:spPr>
          <a:xfrm>
            <a:off x="457200" y="3941763"/>
            <a:ext cx="4038600" cy="2189162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N"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8200" y="3941763"/>
            <a:ext cx="4038600" cy="2189162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N"/>
          </a:p>
        </p:txBody>
      </p:sp>
      <p:sp>
        <p:nvSpPr>
          <p:cNvPr id="7" name="Rectangle 5"/>
          <p:cNvSpPr>
            <a:spLocks noGrp="1" noChangeArrowheads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>
                <a:solidFill>
                  <a:srgbClr val="000000"/>
                </a:solidFill>
              </a:rPr>
              <a:t>CS511, Bing Liu, UIC</a:t>
            </a:r>
          </a:p>
        </p:txBody>
      </p:sp>
      <p:sp>
        <p:nvSpPr>
          <p:cNvPr id="8" name="Rectangle 6"/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0043C86C-71F0-47A6-92A2-8C8870A0D251}" type="slidenum">
              <a:rPr lang="en-US" alt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60693589"/>
      </p:ext>
    </p:extLst>
  </p:cSld>
  <p:clrMapOvr>
    <a:masterClrMapping/>
  </p:clrMapOvr>
  <p:transition/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bl" preserve="1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7813"/>
            <a:ext cx="8229600" cy="11398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IN"/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457200" y="1600200"/>
            <a:ext cx="8229600" cy="4530725"/>
          </a:xfrm>
        </p:spPr>
        <p:txBody>
          <a:bodyPr/>
          <a:lstStyle/>
          <a:p>
            <a:pPr lvl="0"/>
            <a:endParaRPr lang="en-IN" noProof="0" smtClean="0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>
                <a:solidFill>
                  <a:srgbClr val="000000"/>
                </a:solidFill>
              </a:rPr>
              <a:t>CS511, Bing Liu, UIC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D00D928E-5DB7-4617-AC9D-224027C0779B}" type="slidenum">
              <a:rPr lang="en-US" alt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70348214"/>
      </p:ext>
    </p:extLst>
  </p:cSld>
  <p:clrMapOvr>
    <a:masterClrMapping/>
  </p:clrMapOvr>
  <p:transition/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 3"/>
          <p:cNvSpPr>
            <a:spLocks noChangeArrowheads="1"/>
          </p:cNvSpPr>
          <p:nvPr/>
        </p:nvSpPr>
        <p:spPr bwMode="auto">
          <a:xfrm>
            <a:off x="609600" y="1219200"/>
            <a:ext cx="7924800" cy="914400"/>
          </a:xfrm>
          <a:custGeom>
            <a:avLst/>
            <a:gdLst/>
            <a:ahLst/>
            <a:cxnLst>
              <a:cxn ang="0">
                <a:pos x="0" y="1000"/>
              </a:cxn>
              <a:cxn ang="0">
                <a:pos x="0" y="0"/>
              </a:cxn>
              <a:cxn ang="0">
                <a:pos x="1000" y="0"/>
              </a:cxn>
            </a:cxnLst>
            <a:rect l="0" t="0" r="r" b="b"/>
            <a:pathLst>
              <a:path w="1000" h="1000">
                <a:moveTo>
                  <a:pt x="0" y="1000"/>
                </a:moveTo>
                <a:lnTo>
                  <a:pt x="0" y="0"/>
                </a:lnTo>
                <a:lnTo>
                  <a:pt x="1000" y="0"/>
                </a:lnTo>
              </a:path>
            </a:pathLst>
          </a:custGeom>
          <a:noFill/>
          <a:ln w="25400" cap="flat" cmpd="sng">
            <a:solidFill>
              <a:schemeClr val="accent1"/>
            </a:solidFill>
            <a:prstDash val="solid"/>
            <a:miter lim="800000"/>
            <a:headEnd/>
            <a:tailEnd/>
          </a:ln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IN" sz="18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" name="Line 8"/>
          <p:cNvSpPr>
            <a:spLocks noChangeShapeType="1"/>
          </p:cNvSpPr>
          <p:nvPr/>
        </p:nvSpPr>
        <p:spPr bwMode="auto">
          <a:xfrm>
            <a:off x="1981200" y="3962400"/>
            <a:ext cx="6511925" cy="0"/>
          </a:xfrm>
          <a:prstGeom prst="line">
            <a:avLst/>
          </a:prstGeom>
          <a:noFill/>
          <a:ln w="19050">
            <a:solidFill>
              <a:schemeClr val="accent1"/>
            </a:solidFill>
            <a:round/>
            <a:headEnd/>
            <a:tailEnd/>
          </a:ln>
          <a:effectLst/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buFont typeface="Wingdings" pitchFamily="-110" charset="2"/>
              <a:buChar char="n"/>
              <a:defRPr/>
            </a:pPr>
            <a:endParaRPr lang="en-IN" sz="18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42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914400" y="1524000"/>
            <a:ext cx="7623175" cy="1752600"/>
          </a:xfrm>
        </p:spPr>
        <p:txBody>
          <a:bodyPr/>
          <a:lstStyle>
            <a:lvl1pPr>
              <a:defRPr sz="5000"/>
            </a:lvl1pPr>
          </a:lstStyle>
          <a:p>
            <a:r>
              <a:rPr lang="en-US" altLang="en-US"/>
              <a:t>Click to edit Master title style</a:t>
            </a:r>
          </a:p>
        </p:txBody>
      </p:sp>
      <p:sp>
        <p:nvSpPr>
          <p:cNvPr id="542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981200" y="3962400"/>
            <a:ext cx="6553200" cy="1752600"/>
          </a:xfrm>
        </p:spPr>
        <p:txBody>
          <a:bodyPr/>
          <a:lstStyle>
            <a:lvl1pPr marL="0" indent="0">
              <a:buFont typeface="Wingdings" pitchFamily="-110" charset="2"/>
              <a:buNone/>
              <a:defRPr sz="2800"/>
            </a:lvl1pPr>
          </a:lstStyle>
          <a:p>
            <a:r>
              <a:rPr lang="en-US" altLang="en-US"/>
              <a:t>Click to edit Master subtitle style</a:t>
            </a:r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0"/>
          </p:nvPr>
        </p:nvSpPr>
        <p:spPr>
          <a:xfrm>
            <a:off x="685800" y="6243638"/>
            <a:ext cx="5334000" cy="457200"/>
          </a:xfrm>
        </p:spPr>
        <p:txBody>
          <a:bodyPr/>
          <a:lstStyle>
            <a:lvl1pPr algn="ctr">
              <a:defRPr/>
            </a:lvl1pPr>
          </a:lstStyle>
          <a:p>
            <a:pPr>
              <a:defRPr/>
            </a:pPr>
            <a:r>
              <a:rPr lang="en-US" altLang="en-US">
                <a:solidFill>
                  <a:srgbClr val="000000"/>
                </a:solidFill>
              </a:rPr>
              <a:t>CS511, Bing Liu, UIC</a:t>
            </a: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490C229F-A206-44FE-818F-AC6C394AABE4}" type="slidenum">
              <a:rPr lang="en-US" alt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74296299"/>
      </p:ext>
    </p:extLst>
  </p:cSld>
  <p:clrMapOvr>
    <a:masterClrMapping/>
  </p:clrMapOvr>
  <p:transition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IN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N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>
                <a:solidFill>
                  <a:srgbClr val="000000"/>
                </a:solidFill>
              </a:rPr>
              <a:t>CS511, Bing Liu, UIC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9D3AC3A4-A827-4FE8-9ABD-FFBE5D96B8FE}" type="slidenum">
              <a:rPr lang="en-US" alt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13913134"/>
      </p:ext>
    </p:extLst>
  </p:cSld>
  <p:clrMapOvr>
    <a:masterClrMapping/>
  </p:clrMapOvr>
  <p:transition/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IN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N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>
                <a:solidFill>
                  <a:srgbClr val="000000"/>
                </a:solidFill>
              </a:rPr>
              <a:t>CS511, Bing Liu, UIC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9D3AC3A4-A827-4FE8-9ABD-FFBE5D96B8FE}" type="slidenum">
              <a:rPr lang="en-US" alt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04465192"/>
      </p:ext>
    </p:extLst>
  </p:cSld>
  <p:clrMapOvr>
    <a:masterClrMapping/>
  </p:clrMapOvr>
  <p:transition/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IN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>
                <a:solidFill>
                  <a:srgbClr val="000000"/>
                </a:solidFill>
              </a:rPr>
              <a:t>CS511, Bing Liu, UIC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BB91AB84-5A70-4279-945C-FCCB612BE6B2}" type="slidenum">
              <a:rPr lang="en-US" alt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58379241"/>
      </p:ext>
    </p:extLst>
  </p:cSld>
  <p:clrMapOvr>
    <a:masterClrMapping/>
  </p:clrMapOvr>
  <p:transition/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IN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3072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N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3072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N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>
                <a:solidFill>
                  <a:srgbClr val="000000"/>
                </a:solidFill>
              </a:rPr>
              <a:t>CS511, Bing Liu, UIC</a:t>
            </a: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CAFEF37A-DED4-4A03-B936-6FF9BDB5F9C8}" type="slidenum">
              <a:rPr lang="en-US" alt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63098125"/>
      </p:ext>
    </p:extLst>
  </p:cSld>
  <p:clrMapOvr>
    <a:masterClrMapping/>
  </p:clrMapOvr>
  <p:transition/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IN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N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N"/>
          </a:p>
        </p:txBody>
      </p:sp>
      <p:sp>
        <p:nvSpPr>
          <p:cNvPr id="7" name="Rectangle 5"/>
          <p:cNvSpPr>
            <a:spLocks noGrp="1" noChangeArrowheads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>
                <a:solidFill>
                  <a:srgbClr val="000000"/>
                </a:solidFill>
              </a:rPr>
              <a:t>CS511, Bing Liu, UIC</a:t>
            </a:r>
          </a:p>
        </p:txBody>
      </p:sp>
      <p:sp>
        <p:nvSpPr>
          <p:cNvPr id="8" name="Rectangle 6"/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72689A43-FB61-48BD-BF45-B1E2C804186E}" type="slidenum">
              <a:rPr lang="en-US" alt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13365370"/>
      </p:ext>
    </p:extLst>
  </p:cSld>
  <p:clrMapOvr>
    <a:masterClrMapping/>
  </p:clrMapOvr>
  <p:transition/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IN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>
                <a:solidFill>
                  <a:srgbClr val="000000"/>
                </a:solidFill>
              </a:rPr>
              <a:t>CS511, Bing Liu, UIC</a:t>
            </a: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1C2265EB-9187-4253-BA67-40389D30363B}" type="slidenum">
              <a:rPr lang="en-US" alt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987670"/>
      </p:ext>
    </p:extLst>
  </p:cSld>
  <p:clrMapOvr>
    <a:masterClrMapping/>
  </p:clrMapOvr>
  <p:transition/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5"/>
          <p:cNvSpPr>
            <a:spLocks noGrp="1" noChangeArrowheads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>
                <a:solidFill>
                  <a:srgbClr val="000000"/>
                </a:solidFill>
              </a:rPr>
              <a:t>CS511, Bing Liu, UIC</a:t>
            </a:r>
          </a:p>
        </p:txBody>
      </p:sp>
      <p:sp>
        <p:nvSpPr>
          <p:cNvPr id="3" name="Rectangle 6"/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DCCBAB86-2559-4979-BC5C-6624838BCC61}" type="slidenum">
              <a:rPr lang="en-US" alt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77725997"/>
      </p:ext>
    </p:extLst>
  </p:cSld>
  <p:clrMapOvr>
    <a:masterClrMapping/>
  </p:clrMapOvr>
  <p:transition/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IN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N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>
                <a:solidFill>
                  <a:srgbClr val="000000"/>
                </a:solidFill>
              </a:rPr>
              <a:t>CS511, Bing Liu, UIC</a:t>
            </a: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F66E5244-5893-4231-818B-AEC1CE7CDB01}" type="slidenum">
              <a:rPr lang="en-US" alt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6146647"/>
      </p:ext>
    </p:extLst>
  </p:cSld>
  <p:clrMapOvr>
    <a:masterClrMapping/>
  </p:clrMapOvr>
  <p:transition/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IN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IN" noProof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>
                <a:solidFill>
                  <a:srgbClr val="000000"/>
                </a:solidFill>
              </a:rPr>
              <a:t>CS511, Bing Liu, UIC</a:t>
            </a: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EAF86C8D-9235-4AB4-92FE-64BECED8BA76}" type="slidenum">
              <a:rPr lang="en-US" alt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86563752"/>
      </p:ext>
    </p:extLst>
  </p:cSld>
  <p:clrMapOvr>
    <a:masterClrMapping/>
  </p:clrMapOvr>
  <p:transition/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IN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N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>
                <a:solidFill>
                  <a:srgbClr val="000000"/>
                </a:solidFill>
              </a:rPr>
              <a:t>CS511, Bing Liu, UIC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16DF0F3C-951C-4970-9587-52F4CF2E7A74}" type="slidenum">
              <a:rPr lang="en-US" alt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29401115"/>
      </p:ext>
    </p:extLst>
  </p:cSld>
  <p:clrMapOvr>
    <a:masterClrMapping/>
  </p:clrMapOvr>
  <p:transition/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7813"/>
            <a:ext cx="2057400" cy="5853112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IN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7813"/>
            <a:ext cx="6019800" cy="5853112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N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>
                <a:solidFill>
                  <a:srgbClr val="000000"/>
                </a:solidFill>
              </a:rPr>
              <a:t>CS511, Bing Liu, UIC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7EE85C64-7142-4E8A-A23F-AA9A0778058F}" type="slidenum">
              <a:rPr lang="en-US" alt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2856511"/>
      </p:ext>
    </p:extLst>
  </p:cSld>
  <p:clrMapOvr>
    <a:masterClrMapping/>
  </p:clrMapOvr>
  <p:transition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IN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>
                <a:solidFill>
                  <a:srgbClr val="000000"/>
                </a:solidFill>
              </a:rPr>
              <a:t>CS511, Bing Liu, UIC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BB91AB84-5A70-4279-945C-FCCB612BE6B2}" type="slidenum">
              <a:rPr lang="en-US" alt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83523435"/>
      </p:ext>
    </p:extLst>
  </p:cSld>
  <p:clrMapOvr>
    <a:masterClrMapping/>
  </p:clrMapOvr>
  <p:transition/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AndObj" preserve="1">
  <p:cSld name="Title, Text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7813"/>
            <a:ext cx="8229600" cy="11398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IN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457200" y="1600200"/>
            <a:ext cx="4038600" cy="453072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N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3072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N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>
                <a:solidFill>
                  <a:srgbClr val="000000"/>
                </a:solidFill>
              </a:rPr>
              <a:t>CS511, Bing Liu, UIC</a:t>
            </a: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1143EAE2-7D02-4D03-9FC4-395745BA1E04}" type="slidenum">
              <a:rPr lang="en-US" alt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69676448"/>
      </p:ext>
    </p:extLst>
  </p:cSld>
  <p:clrMapOvr>
    <a:masterClrMapping/>
  </p:clrMapOvr>
  <p:transition/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AndTwoObj" preserve="1">
  <p:cSld name="Title, Text, and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7813"/>
            <a:ext cx="8229600" cy="11398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IN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457200" y="1600200"/>
            <a:ext cx="4038600" cy="453072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N"/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4648200" y="1600200"/>
            <a:ext cx="4038600" cy="2189163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N"/>
          </a:p>
        </p:txBody>
      </p:sp>
      <p:sp>
        <p:nvSpPr>
          <p:cNvPr id="5" name="Content Placeholder 4"/>
          <p:cNvSpPr>
            <a:spLocks noGrp="1"/>
          </p:cNvSpPr>
          <p:nvPr>
            <p:ph sz="quarter" idx="3"/>
          </p:nvPr>
        </p:nvSpPr>
        <p:spPr>
          <a:xfrm>
            <a:off x="4648200" y="3941763"/>
            <a:ext cx="4038600" cy="2189162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N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>
                <a:solidFill>
                  <a:srgbClr val="000000"/>
                </a:solidFill>
              </a:rPr>
              <a:t>CS511, Bing Liu, UIC</a:t>
            </a: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9014ECF5-190B-4E6C-B633-072DB09CE96A}" type="slidenum">
              <a:rPr lang="en-US" alt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6516002"/>
      </p:ext>
    </p:extLst>
  </p:cSld>
  <p:clrMapOvr>
    <a:masterClrMapping/>
  </p:clrMapOvr>
  <p:transition/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fourObj" preserve="1">
  <p:cSld name="Title and 4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sz="quarter"/>
          </p:nvPr>
        </p:nvSpPr>
        <p:spPr>
          <a:xfrm>
            <a:off x="457200" y="277813"/>
            <a:ext cx="8229600" cy="11398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IN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"/>
          </p:nvPr>
        </p:nvSpPr>
        <p:spPr>
          <a:xfrm>
            <a:off x="457200" y="1600200"/>
            <a:ext cx="4038600" cy="2189163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N"/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4648200" y="1600200"/>
            <a:ext cx="4038600" cy="2189163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N"/>
          </a:p>
        </p:txBody>
      </p:sp>
      <p:sp>
        <p:nvSpPr>
          <p:cNvPr id="5" name="Content Placeholder 4"/>
          <p:cNvSpPr>
            <a:spLocks noGrp="1"/>
          </p:cNvSpPr>
          <p:nvPr>
            <p:ph sz="quarter" idx="3"/>
          </p:nvPr>
        </p:nvSpPr>
        <p:spPr>
          <a:xfrm>
            <a:off x="457200" y="3941763"/>
            <a:ext cx="4038600" cy="2189162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N"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8200" y="3941763"/>
            <a:ext cx="4038600" cy="2189162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N"/>
          </a:p>
        </p:txBody>
      </p:sp>
      <p:sp>
        <p:nvSpPr>
          <p:cNvPr id="7" name="Rectangle 5"/>
          <p:cNvSpPr>
            <a:spLocks noGrp="1" noChangeArrowheads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>
                <a:solidFill>
                  <a:srgbClr val="000000"/>
                </a:solidFill>
              </a:rPr>
              <a:t>CS511, Bing Liu, UIC</a:t>
            </a:r>
          </a:p>
        </p:txBody>
      </p:sp>
      <p:sp>
        <p:nvSpPr>
          <p:cNvPr id="8" name="Rectangle 6"/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0043C86C-71F0-47A6-92A2-8C8870A0D251}" type="slidenum">
              <a:rPr lang="en-US" alt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29644401"/>
      </p:ext>
    </p:extLst>
  </p:cSld>
  <p:clrMapOvr>
    <a:masterClrMapping/>
  </p:clrMapOvr>
  <p:transition/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bl" preserve="1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7813"/>
            <a:ext cx="8229600" cy="11398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IN"/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457200" y="1600200"/>
            <a:ext cx="8229600" cy="4530725"/>
          </a:xfrm>
        </p:spPr>
        <p:txBody>
          <a:bodyPr/>
          <a:lstStyle/>
          <a:p>
            <a:pPr lvl="0"/>
            <a:endParaRPr lang="en-IN" noProof="0" smtClean="0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>
                <a:solidFill>
                  <a:srgbClr val="000000"/>
                </a:solidFill>
              </a:rPr>
              <a:t>CS511, Bing Liu, UIC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D00D928E-5DB7-4617-AC9D-224027C0779B}" type="slidenum">
              <a:rPr lang="en-US" alt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10784673"/>
      </p:ext>
    </p:extLst>
  </p:cSld>
  <p:clrMapOvr>
    <a:masterClrMapping/>
  </p:clrMapOvr>
  <p:transition/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標題投影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122363"/>
            <a:ext cx="77724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zh-TW" altLang="en-US" smtClean="0"/>
              <a:t>按一下以編輯母片標題樣式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TW" altLang="en-US" smtClean="0"/>
              <a:t>按一下以編輯母片副標題樣式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D3A1796-FE4F-4CE2-AA60-E861BA6E0949}" type="datetimeFigureOut">
              <a:rPr lang="zh-TW" altLang="en-US" smtClean="0">
                <a:solidFill>
                  <a:prstClr val="black">
                    <a:tint val="75000"/>
                  </a:prstClr>
                </a:solidFill>
              </a:rPr>
              <a:pPr/>
              <a:t>2019/2/26</a:t>
            </a:fld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24186D-8EEA-426C-9630-B8182DA83AF4}" type="slidenum">
              <a:rPr lang="zh-TW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40721837"/>
      </p:ext>
    </p:extLst>
  </p:cSld>
  <p:clrMapOvr>
    <a:masterClrMapping/>
  </p:clrMapOvr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標題及物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 smtClean="0"/>
              <a:t>按一下以編輯母片標題樣式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D3A1796-FE4F-4CE2-AA60-E861BA6E0949}" type="datetimeFigureOut">
              <a:rPr lang="zh-TW" altLang="en-US" smtClean="0">
                <a:solidFill>
                  <a:prstClr val="black">
                    <a:tint val="75000"/>
                  </a:prstClr>
                </a:solidFill>
              </a:rPr>
              <a:pPr/>
              <a:t>2019/2/26</a:t>
            </a:fld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24186D-8EEA-426C-9630-B8182DA83AF4}" type="slidenum">
              <a:rPr lang="zh-TW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83450864"/>
      </p:ext>
    </p:extLst>
  </p:cSld>
  <p:clrMapOvr>
    <a:masterClrMapping/>
  </p:clrMapOvr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章節標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709739"/>
            <a:ext cx="78867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zh-TW" altLang="en-US" smtClean="0"/>
              <a:t>按一下以編輯母片標題樣式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4589464"/>
            <a:ext cx="78867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D3A1796-FE4F-4CE2-AA60-E861BA6E0949}" type="datetimeFigureOut">
              <a:rPr lang="zh-TW" altLang="en-US" smtClean="0">
                <a:solidFill>
                  <a:prstClr val="black">
                    <a:tint val="75000"/>
                  </a:prstClr>
                </a:solidFill>
              </a:rPr>
              <a:pPr/>
              <a:t>2019/2/26</a:t>
            </a:fld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24186D-8EEA-426C-9630-B8182DA83AF4}" type="slidenum">
              <a:rPr lang="zh-TW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62318316"/>
      </p:ext>
    </p:extLst>
  </p:cSld>
  <p:clrMapOvr>
    <a:masterClrMapping/>
  </p:clrMapOvr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兩項物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 smtClean="0"/>
              <a:t>按一下以編輯母片標題樣式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</p:spPr>
        <p:txBody>
          <a:bodyPr/>
          <a:lstStyle/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</p:spPr>
        <p:txBody>
          <a:bodyPr/>
          <a:lstStyle/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D3A1796-FE4F-4CE2-AA60-E861BA6E0949}" type="datetimeFigureOut">
              <a:rPr lang="zh-TW" altLang="en-US" smtClean="0">
                <a:solidFill>
                  <a:prstClr val="black">
                    <a:tint val="75000"/>
                  </a:prstClr>
                </a:solidFill>
              </a:rPr>
              <a:pPr/>
              <a:t>2019/2/26</a:t>
            </a:fld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24186D-8EEA-426C-9630-B8182DA83AF4}" type="slidenum">
              <a:rPr lang="zh-TW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1092238"/>
      </p:ext>
    </p:extLst>
  </p:cSld>
  <p:clrMapOvr>
    <a:masterClrMapping/>
  </p:clrMapOvr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比對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65126"/>
            <a:ext cx="7886700" cy="1325563"/>
          </a:xfrm>
        </p:spPr>
        <p:txBody>
          <a:bodyPr/>
          <a:lstStyle/>
          <a:p>
            <a:r>
              <a:rPr lang="zh-TW" altLang="en-US" smtClean="0"/>
              <a:t>按一下以編輯母片標題樣式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/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391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391" cy="3684588"/>
          </a:xfrm>
        </p:spPr>
        <p:txBody>
          <a:bodyPr/>
          <a:lstStyle/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D3A1796-FE4F-4CE2-AA60-E861BA6E0949}" type="datetimeFigureOut">
              <a:rPr lang="zh-TW" altLang="en-US" smtClean="0">
                <a:solidFill>
                  <a:prstClr val="black">
                    <a:tint val="75000"/>
                  </a:prstClr>
                </a:solidFill>
              </a:rPr>
              <a:pPr/>
              <a:t>2019/2/26</a:t>
            </a:fld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24186D-8EEA-426C-9630-B8182DA83AF4}" type="slidenum">
              <a:rPr lang="zh-TW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02420773"/>
      </p:ext>
    </p:extLst>
  </p:cSld>
  <p:clrMapOvr>
    <a:masterClrMapping/>
  </p:clrMapOvr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只有標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 smtClean="0"/>
              <a:t>按一下以編輯母片標題樣式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D3A1796-FE4F-4CE2-AA60-E861BA6E0949}" type="datetimeFigureOut">
              <a:rPr lang="zh-TW" altLang="en-US" smtClean="0">
                <a:solidFill>
                  <a:prstClr val="black">
                    <a:tint val="75000"/>
                  </a:prstClr>
                </a:solidFill>
              </a:rPr>
              <a:pPr/>
              <a:t>2019/2/26</a:t>
            </a:fld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24186D-8EEA-426C-9630-B8182DA83AF4}" type="slidenum">
              <a:rPr lang="zh-TW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2780159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IN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3072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N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3072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N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>
                <a:solidFill>
                  <a:srgbClr val="000000"/>
                </a:solidFill>
              </a:rPr>
              <a:t>CS511, Bing Liu, UIC</a:t>
            </a: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CAFEF37A-DED4-4A03-B936-6FF9BDB5F9C8}" type="slidenum">
              <a:rPr lang="en-US" alt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44299629"/>
      </p:ext>
    </p:extLst>
  </p:cSld>
  <p:clrMapOvr>
    <a:masterClrMapping/>
  </p:clrMapOvr>
  <p:transition/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D3A1796-FE4F-4CE2-AA60-E861BA6E0949}" type="datetimeFigureOut">
              <a:rPr lang="zh-TW" altLang="en-US" smtClean="0">
                <a:solidFill>
                  <a:prstClr val="black">
                    <a:tint val="75000"/>
                  </a:prstClr>
                </a:solidFill>
              </a:rPr>
              <a:pPr/>
              <a:t>2019/2/26</a:t>
            </a:fld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24186D-8EEA-426C-9630-B8182DA83AF4}" type="slidenum">
              <a:rPr lang="zh-TW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32200231"/>
      </p:ext>
    </p:extLst>
  </p:cSld>
  <p:clrMapOvr>
    <a:masterClrMapping/>
  </p:clrMapOvr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含標題的內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TW" altLang="en-US" smtClean="0"/>
              <a:t>按一下以編輯母片標題樣式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D3A1796-FE4F-4CE2-AA60-E861BA6E0949}" type="datetimeFigureOut">
              <a:rPr lang="zh-TW" altLang="en-US" smtClean="0">
                <a:solidFill>
                  <a:prstClr val="black">
                    <a:tint val="75000"/>
                  </a:prstClr>
                </a:solidFill>
              </a:rPr>
              <a:pPr/>
              <a:t>2019/2/26</a:t>
            </a:fld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24186D-8EEA-426C-9630-B8182DA83AF4}" type="slidenum">
              <a:rPr lang="zh-TW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94858635"/>
      </p:ext>
    </p:extLst>
  </p:cSld>
  <p:clrMapOvr>
    <a:masterClrMapping/>
  </p:clrMapOvr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含標題的圖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TW" altLang="en-US" smtClean="0"/>
              <a:t>按一下以編輯母片標題樣式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3887391" y="987426"/>
            <a:ext cx="462915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zh-TW" altLang="en-US" smtClean="0"/>
              <a:t>按一下圖示以新增圖片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D3A1796-FE4F-4CE2-AA60-E861BA6E0949}" type="datetimeFigureOut">
              <a:rPr lang="zh-TW" altLang="en-US" smtClean="0">
                <a:solidFill>
                  <a:prstClr val="black">
                    <a:tint val="75000"/>
                  </a:prstClr>
                </a:solidFill>
              </a:rPr>
              <a:pPr/>
              <a:t>2019/2/26</a:t>
            </a:fld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24186D-8EEA-426C-9630-B8182DA83AF4}" type="slidenum">
              <a:rPr lang="zh-TW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72030009"/>
      </p:ext>
    </p:extLst>
  </p:cSld>
  <p:clrMapOvr>
    <a:masterClrMapping/>
  </p:clrMapOvr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標題及直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 smtClean="0"/>
              <a:t>按一下以編輯母片標題樣式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D3A1796-FE4F-4CE2-AA60-E861BA6E0949}" type="datetimeFigureOut">
              <a:rPr lang="zh-TW" altLang="en-US" smtClean="0">
                <a:solidFill>
                  <a:prstClr val="black">
                    <a:tint val="75000"/>
                  </a:prstClr>
                </a:solidFill>
              </a:rPr>
              <a:pPr/>
              <a:t>2019/2/26</a:t>
            </a:fld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24186D-8EEA-426C-9630-B8182DA83AF4}" type="slidenum">
              <a:rPr lang="zh-TW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40539504"/>
      </p:ext>
    </p:extLst>
  </p:cSld>
  <p:clrMapOvr>
    <a:masterClrMapping/>
  </p:clrMapOvr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直排標題及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</p:spPr>
        <p:txBody>
          <a:bodyPr vert="eaVert"/>
          <a:lstStyle/>
          <a:p>
            <a:r>
              <a:rPr lang="zh-TW" altLang="en-US" smtClean="0"/>
              <a:t>按一下以編輯母片標題樣式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800725" cy="5811838"/>
          </a:xfrm>
        </p:spPr>
        <p:txBody>
          <a:bodyPr vert="eaVert"/>
          <a:lstStyle/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D3A1796-FE4F-4CE2-AA60-E861BA6E0949}" type="datetimeFigureOut">
              <a:rPr lang="zh-TW" altLang="en-US" smtClean="0">
                <a:solidFill>
                  <a:prstClr val="black">
                    <a:tint val="75000"/>
                  </a:prstClr>
                </a:solidFill>
              </a:rPr>
              <a:pPr/>
              <a:t>2019/2/26</a:t>
            </a:fld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24186D-8EEA-426C-9630-B8182DA83AF4}" type="slidenum">
              <a:rPr lang="zh-TW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65947322"/>
      </p:ext>
    </p:extLst>
  </p:cSld>
  <p:clrMapOvr>
    <a:masterClrMapping/>
  </p:clrMapOvr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AndObj">
  <p:cSld name="Title, Text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7813"/>
            <a:ext cx="8229600" cy="11398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IN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457200" y="1600200"/>
            <a:ext cx="4038600" cy="453072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N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3072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N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>
                <a:solidFill>
                  <a:prstClr val="black">
                    <a:tint val="75000"/>
                  </a:prstClr>
                </a:solidFill>
              </a:rPr>
              <a:t>CS511, Bing Liu, UIC</a:t>
            </a: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1143EAE2-7D02-4D03-9FC4-395745BA1E04}" type="slidenum">
              <a:rPr lang="en-US" alt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US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4941320"/>
      </p:ext>
    </p:extLst>
  </p:cSld>
  <p:clrMapOvr>
    <a:masterClrMapping/>
  </p:clrMapOvr>
  <p:transition/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 3"/>
          <p:cNvSpPr>
            <a:spLocks noChangeArrowheads="1"/>
          </p:cNvSpPr>
          <p:nvPr/>
        </p:nvSpPr>
        <p:spPr bwMode="auto">
          <a:xfrm>
            <a:off x="609600" y="1219200"/>
            <a:ext cx="7924800" cy="914400"/>
          </a:xfrm>
          <a:custGeom>
            <a:avLst/>
            <a:gdLst/>
            <a:ahLst/>
            <a:cxnLst>
              <a:cxn ang="0">
                <a:pos x="0" y="1000"/>
              </a:cxn>
              <a:cxn ang="0">
                <a:pos x="0" y="0"/>
              </a:cxn>
              <a:cxn ang="0">
                <a:pos x="1000" y="0"/>
              </a:cxn>
            </a:cxnLst>
            <a:rect l="0" t="0" r="r" b="b"/>
            <a:pathLst>
              <a:path w="1000" h="1000">
                <a:moveTo>
                  <a:pt x="0" y="1000"/>
                </a:moveTo>
                <a:lnTo>
                  <a:pt x="0" y="0"/>
                </a:lnTo>
                <a:lnTo>
                  <a:pt x="1000" y="0"/>
                </a:lnTo>
              </a:path>
            </a:pathLst>
          </a:custGeom>
          <a:noFill/>
          <a:ln w="25400" cap="flat" cmpd="sng">
            <a:solidFill>
              <a:schemeClr val="accent1"/>
            </a:solidFill>
            <a:prstDash val="solid"/>
            <a:miter lim="800000"/>
            <a:headEnd/>
            <a:tailEnd/>
          </a:ln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IN" sz="18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" name="Line 8"/>
          <p:cNvSpPr>
            <a:spLocks noChangeShapeType="1"/>
          </p:cNvSpPr>
          <p:nvPr/>
        </p:nvSpPr>
        <p:spPr bwMode="auto">
          <a:xfrm>
            <a:off x="1981200" y="3962400"/>
            <a:ext cx="6511925" cy="0"/>
          </a:xfrm>
          <a:prstGeom prst="line">
            <a:avLst/>
          </a:prstGeom>
          <a:noFill/>
          <a:ln w="19050">
            <a:solidFill>
              <a:schemeClr val="accent1"/>
            </a:solidFill>
            <a:round/>
            <a:headEnd/>
            <a:tailEnd/>
          </a:ln>
          <a:effectLst/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buFont typeface="Wingdings" pitchFamily="-110" charset="2"/>
              <a:buChar char="n"/>
              <a:defRPr/>
            </a:pPr>
            <a:endParaRPr lang="en-IN" sz="18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42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914400" y="1524000"/>
            <a:ext cx="7623175" cy="1752600"/>
          </a:xfrm>
        </p:spPr>
        <p:txBody>
          <a:bodyPr/>
          <a:lstStyle>
            <a:lvl1pPr>
              <a:defRPr sz="5000"/>
            </a:lvl1pPr>
          </a:lstStyle>
          <a:p>
            <a:r>
              <a:rPr lang="en-US" altLang="en-US"/>
              <a:t>Click to edit Master title style</a:t>
            </a:r>
          </a:p>
        </p:txBody>
      </p:sp>
      <p:sp>
        <p:nvSpPr>
          <p:cNvPr id="542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981200" y="3962400"/>
            <a:ext cx="6553200" cy="1752600"/>
          </a:xfrm>
        </p:spPr>
        <p:txBody>
          <a:bodyPr/>
          <a:lstStyle>
            <a:lvl1pPr marL="0" indent="0">
              <a:buFont typeface="Wingdings" pitchFamily="-110" charset="2"/>
              <a:buNone/>
              <a:defRPr sz="2800"/>
            </a:lvl1pPr>
          </a:lstStyle>
          <a:p>
            <a:r>
              <a:rPr lang="en-US" altLang="en-US"/>
              <a:t>Click to edit Master subtitle style</a:t>
            </a:r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0"/>
          </p:nvPr>
        </p:nvSpPr>
        <p:spPr>
          <a:xfrm>
            <a:off x="685800" y="6243638"/>
            <a:ext cx="5334000" cy="457200"/>
          </a:xfrm>
        </p:spPr>
        <p:txBody>
          <a:bodyPr/>
          <a:lstStyle>
            <a:lvl1pPr algn="ctr">
              <a:defRPr/>
            </a:lvl1pPr>
          </a:lstStyle>
          <a:p>
            <a:pPr>
              <a:defRPr/>
            </a:pPr>
            <a:r>
              <a:rPr lang="en-US" altLang="en-US">
                <a:solidFill>
                  <a:srgbClr val="000000"/>
                </a:solidFill>
              </a:rPr>
              <a:t>CS511, Bing Liu, UIC</a:t>
            </a: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490C229F-A206-44FE-818F-AC6C394AABE4}" type="slidenum">
              <a:rPr lang="en-US" alt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24737592"/>
      </p:ext>
    </p:extLst>
  </p:cSld>
  <p:clrMapOvr>
    <a:masterClrMapping/>
  </p:clrMapOvr>
  <p:transition/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IN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N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>
                <a:solidFill>
                  <a:srgbClr val="000000"/>
                </a:solidFill>
              </a:rPr>
              <a:t>CS511, Bing Liu, UIC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9D3AC3A4-A827-4FE8-9ABD-FFBE5D96B8FE}" type="slidenum">
              <a:rPr lang="en-US" alt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66624204"/>
      </p:ext>
    </p:extLst>
  </p:cSld>
  <p:clrMapOvr>
    <a:masterClrMapping/>
  </p:clrMapOvr>
  <p:transition/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IN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>
                <a:solidFill>
                  <a:srgbClr val="000000"/>
                </a:solidFill>
              </a:rPr>
              <a:t>CS511, Bing Liu, UIC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BB91AB84-5A70-4279-945C-FCCB612BE6B2}" type="slidenum">
              <a:rPr lang="en-US" alt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29311640"/>
      </p:ext>
    </p:extLst>
  </p:cSld>
  <p:clrMapOvr>
    <a:masterClrMapping/>
  </p:clrMapOvr>
  <p:transition/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IN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3072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N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3072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N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>
                <a:solidFill>
                  <a:srgbClr val="000000"/>
                </a:solidFill>
              </a:rPr>
              <a:t>CS511, Bing Liu, UIC</a:t>
            </a: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CAFEF37A-DED4-4A03-B936-6FF9BDB5F9C8}" type="slidenum">
              <a:rPr lang="en-US" alt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83054811"/>
      </p:ext>
    </p:extLst>
  </p:cSld>
  <p:clrMapOvr>
    <a:masterClrMapping/>
  </p:clrMapOvr>
  <p:transition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IN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N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N"/>
          </a:p>
        </p:txBody>
      </p:sp>
      <p:sp>
        <p:nvSpPr>
          <p:cNvPr id="7" name="Rectangle 5"/>
          <p:cNvSpPr>
            <a:spLocks noGrp="1" noChangeArrowheads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>
                <a:solidFill>
                  <a:srgbClr val="000000"/>
                </a:solidFill>
              </a:rPr>
              <a:t>CS511, Bing Liu, UIC</a:t>
            </a:r>
          </a:p>
        </p:txBody>
      </p:sp>
      <p:sp>
        <p:nvSpPr>
          <p:cNvPr id="8" name="Rectangle 6"/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72689A43-FB61-48BD-BF45-B1E2C804186E}" type="slidenum">
              <a:rPr lang="en-US" alt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83714363"/>
      </p:ext>
    </p:extLst>
  </p:cSld>
  <p:clrMapOvr>
    <a:masterClrMapping/>
  </p:clrMapOvr>
  <p:transition/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IN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N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N"/>
          </a:p>
        </p:txBody>
      </p:sp>
      <p:sp>
        <p:nvSpPr>
          <p:cNvPr id="7" name="Rectangle 5"/>
          <p:cNvSpPr>
            <a:spLocks noGrp="1" noChangeArrowheads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>
                <a:solidFill>
                  <a:srgbClr val="000000"/>
                </a:solidFill>
              </a:rPr>
              <a:t>CS511, Bing Liu, UIC</a:t>
            </a:r>
          </a:p>
        </p:txBody>
      </p:sp>
      <p:sp>
        <p:nvSpPr>
          <p:cNvPr id="8" name="Rectangle 6"/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72689A43-FB61-48BD-BF45-B1E2C804186E}" type="slidenum">
              <a:rPr lang="en-US" alt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32164796"/>
      </p:ext>
    </p:extLst>
  </p:cSld>
  <p:clrMapOvr>
    <a:masterClrMapping/>
  </p:clrMapOvr>
  <p:transition/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IN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>
                <a:solidFill>
                  <a:srgbClr val="000000"/>
                </a:solidFill>
              </a:rPr>
              <a:t>CS511, Bing Liu, UIC</a:t>
            </a: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1C2265EB-9187-4253-BA67-40389D30363B}" type="slidenum">
              <a:rPr lang="en-US" alt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70174079"/>
      </p:ext>
    </p:extLst>
  </p:cSld>
  <p:clrMapOvr>
    <a:masterClrMapping/>
  </p:clrMapOvr>
  <p:transition/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5"/>
          <p:cNvSpPr>
            <a:spLocks noGrp="1" noChangeArrowheads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>
                <a:solidFill>
                  <a:srgbClr val="000000"/>
                </a:solidFill>
              </a:rPr>
              <a:t>CS511, Bing Liu, UIC</a:t>
            </a:r>
          </a:p>
        </p:txBody>
      </p:sp>
      <p:sp>
        <p:nvSpPr>
          <p:cNvPr id="3" name="Rectangle 6"/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DCCBAB86-2559-4979-BC5C-6624838BCC61}" type="slidenum">
              <a:rPr lang="en-US" alt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08281084"/>
      </p:ext>
    </p:extLst>
  </p:cSld>
  <p:clrMapOvr>
    <a:masterClrMapping/>
  </p:clrMapOvr>
  <p:transition/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IN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N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>
                <a:solidFill>
                  <a:srgbClr val="000000"/>
                </a:solidFill>
              </a:rPr>
              <a:t>CS511, Bing Liu, UIC</a:t>
            </a: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F66E5244-5893-4231-818B-AEC1CE7CDB01}" type="slidenum">
              <a:rPr lang="en-US" alt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09980917"/>
      </p:ext>
    </p:extLst>
  </p:cSld>
  <p:clrMapOvr>
    <a:masterClrMapping/>
  </p:clrMapOvr>
  <p:transition/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IN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IN" noProof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>
                <a:solidFill>
                  <a:srgbClr val="000000"/>
                </a:solidFill>
              </a:rPr>
              <a:t>CS511, Bing Liu, UIC</a:t>
            </a: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EAF86C8D-9235-4AB4-92FE-64BECED8BA76}" type="slidenum">
              <a:rPr lang="en-US" alt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88270252"/>
      </p:ext>
    </p:extLst>
  </p:cSld>
  <p:clrMapOvr>
    <a:masterClrMapping/>
  </p:clrMapOvr>
  <p:transition/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IN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N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>
                <a:solidFill>
                  <a:srgbClr val="000000"/>
                </a:solidFill>
              </a:rPr>
              <a:t>CS511, Bing Liu, UIC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16DF0F3C-951C-4970-9587-52F4CF2E7A74}" type="slidenum">
              <a:rPr lang="en-US" alt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50723570"/>
      </p:ext>
    </p:extLst>
  </p:cSld>
  <p:clrMapOvr>
    <a:masterClrMapping/>
  </p:clrMapOvr>
  <p:transition/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7813"/>
            <a:ext cx="2057400" cy="5853112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IN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7813"/>
            <a:ext cx="6019800" cy="5853112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N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>
                <a:solidFill>
                  <a:srgbClr val="000000"/>
                </a:solidFill>
              </a:rPr>
              <a:t>CS511, Bing Liu, UIC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7EE85C64-7142-4E8A-A23F-AA9A0778058F}" type="slidenum">
              <a:rPr lang="en-US" alt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6201771"/>
      </p:ext>
    </p:extLst>
  </p:cSld>
  <p:clrMapOvr>
    <a:masterClrMapping/>
  </p:clrMapOvr>
  <p:transition/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AndObj" preserve="1">
  <p:cSld name="Title, Text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7813"/>
            <a:ext cx="8229600" cy="11398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IN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457200" y="1600200"/>
            <a:ext cx="4038600" cy="453072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N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3072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N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>
                <a:solidFill>
                  <a:srgbClr val="000000"/>
                </a:solidFill>
              </a:rPr>
              <a:t>CS511, Bing Liu, UIC</a:t>
            </a: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1143EAE2-7D02-4D03-9FC4-395745BA1E04}" type="slidenum">
              <a:rPr lang="en-US" alt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52441102"/>
      </p:ext>
    </p:extLst>
  </p:cSld>
  <p:clrMapOvr>
    <a:masterClrMapping/>
  </p:clrMapOvr>
  <p:transition/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AndTwoObj" preserve="1">
  <p:cSld name="Title, Text, and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7813"/>
            <a:ext cx="8229600" cy="11398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IN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457200" y="1600200"/>
            <a:ext cx="4038600" cy="453072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N"/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4648200" y="1600200"/>
            <a:ext cx="4038600" cy="2189163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N"/>
          </a:p>
        </p:txBody>
      </p:sp>
      <p:sp>
        <p:nvSpPr>
          <p:cNvPr id="5" name="Content Placeholder 4"/>
          <p:cNvSpPr>
            <a:spLocks noGrp="1"/>
          </p:cNvSpPr>
          <p:nvPr>
            <p:ph sz="quarter" idx="3"/>
          </p:nvPr>
        </p:nvSpPr>
        <p:spPr>
          <a:xfrm>
            <a:off x="4648200" y="3941763"/>
            <a:ext cx="4038600" cy="2189162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N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>
                <a:solidFill>
                  <a:srgbClr val="000000"/>
                </a:solidFill>
              </a:rPr>
              <a:t>CS511, Bing Liu, UIC</a:t>
            </a: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9014ECF5-190B-4E6C-B633-072DB09CE96A}" type="slidenum">
              <a:rPr lang="en-US" alt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93121394"/>
      </p:ext>
    </p:extLst>
  </p:cSld>
  <p:clrMapOvr>
    <a:masterClrMapping/>
  </p:clrMapOvr>
  <p:transition/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fourObj" preserve="1">
  <p:cSld name="Title and 4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sz="quarter"/>
          </p:nvPr>
        </p:nvSpPr>
        <p:spPr>
          <a:xfrm>
            <a:off x="457200" y="277813"/>
            <a:ext cx="8229600" cy="11398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IN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"/>
          </p:nvPr>
        </p:nvSpPr>
        <p:spPr>
          <a:xfrm>
            <a:off x="457200" y="1600200"/>
            <a:ext cx="4038600" cy="2189163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N"/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4648200" y="1600200"/>
            <a:ext cx="4038600" cy="2189163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N"/>
          </a:p>
        </p:txBody>
      </p:sp>
      <p:sp>
        <p:nvSpPr>
          <p:cNvPr id="5" name="Content Placeholder 4"/>
          <p:cNvSpPr>
            <a:spLocks noGrp="1"/>
          </p:cNvSpPr>
          <p:nvPr>
            <p:ph sz="quarter" idx="3"/>
          </p:nvPr>
        </p:nvSpPr>
        <p:spPr>
          <a:xfrm>
            <a:off x="457200" y="3941763"/>
            <a:ext cx="4038600" cy="2189162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N"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8200" y="3941763"/>
            <a:ext cx="4038600" cy="2189162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N"/>
          </a:p>
        </p:txBody>
      </p:sp>
      <p:sp>
        <p:nvSpPr>
          <p:cNvPr id="7" name="Rectangle 5"/>
          <p:cNvSpPr>
            <a:spLocks noGrp="1" noChangeArrowheads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>
                <a:solidFill>
                  <a:srgbClr val="000000"/>
                </a:solidFill>
              </a:rPr>
              <a:t>CS511, Bing Liu, UIC</a:t>
            </a:r>
          </a:p>
        </p:txBody>
      </p:sp>
      <p:sp>
        <p:nvSpPr>
          <p:cNvPr id="8" name="Rectangle 6"/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0043C86C-71F0-47A6-92A2-8C8870A0D251}" type="slidenum">
              <a:rPr lang="en-US" alt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92221763"/>
      </p:ext>
    </p:extLst>
  </p:cSld>
  <p:clrMapOvr>
    <a:masterClrMapping/>
  </p:clrMapOvr>
  <p:transition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IN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N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84BC213E-BF65-4B60-BB35-A35492BC8A05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081973302"/>
      </p:ext>
    </p:extLst>
  </p:cSld>
  <p:clrMapOvr>
    <a:masterClrMapping/>
  </p:clrMapOvr>
  <p:transition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IN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>
                <a:solidFill>
                  <a:srgbClr val="000000"/>
                </a:solidFill>
              </a:rPr>
              <a:t>CS511, Bing Liu, UIC</a:t>
            </a: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1C2265EB-9187-4253-BA67-40389D30363B}" type="slidenum">
              <a:rPr lang="en-US" alt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24301624"/>
      </p:ext>
    </p:extLst>
  </p:cSld>
  <p:clrMapOvr>
    <a:masterClrMapping/>
  </p:clrMapOvr>
  <p:transition/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bl" preserve="1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7813"/>
            <a:ext cx="8229600" cy="11398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IN"/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457200" y="1600200"/>
            <a:ext cx="8229600" cy="4530725"/>
          </a:xfrm>
        </p:spPr>
        <p:txBody>
          <a:bodyPr/>
          <a:lstStyle/>
          <a:p>
            <a:pPr lvl="0"/>
            <a:endParaRPr lang="en-IN" noProof="0" smtClean="0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>
                <a:solidFill>
                  <a:srgbClr val="000000"/>
                </a:solidFill>
              </a:rPr>
              <a:t>CS511, Bing Liu, UIC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D00D928E-5DB7-4617-AC9D-224027C0779B}" type="slidenum">
              <a:rPr lang="en-US" alt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8916441"/>
      </p:ext>
    </p:extLst>
  </p:cSld>
  <p:clrMapOvr>
    <a:masterClrMapping/>
  </p:clrMapOvr>
  <p:transition/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標題投影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122363"/>
            <a:ext cx="77724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zh-TW" altLang="en-US" smtClean="0"/>
              <a:t>按一下以編輯母片標題樣式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TW" altLang="en-US" smtClean="0"/>
              <a:t>按一下以編輯母片副標題樣式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D3A1796-FE4F-4CE2-AA60-E861BA6E0949}" type="datetimeFigureOut">
              <a:rPr lang="zh-TW" altLang="en-US" smtClean="0">
                <a:solidFill>
                  <a:prstClr val="black">
                    <a:tint val="75000"/>
                  </a:prstClr>
                </a:solidFill>
              </a:rPr>
              <a:pPr/>
              <a:t>2019/2/26</a:t>
            </a:fld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24186D-8EEA-426C-9630-B8182DA83AF4}" type="slidenum">
              <a:rPr lang="zh-TW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16517677"/>
      </p:ext>
    </p:extLst>
  </p:cSld>
  <p:clrMapOvr>
    <a:masterClrMapping/>
  </p:clrMapOvr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標題及物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 smtClean="0"/>
              <a:t>按一下以編輯母片標題樣式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D3A1796-FE4F-4CE2-AA60-E861BA6E0949}" type="datetimeFigureOut">
              <a:rPr lang="zh-TW" altLang="en-US" smtClean="0">
                <a:solidFill>
                  <a:prstClr val="black">
                    <a:tint val="75000"/>
                  </a:prstClr>
                </a:solidFill>
              </a:rPr>
              <a:pPr/>
              <a:t>2019/2/26</a:t>
            </a:fld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24186D-8EEA-426C-9630-B8182DA83AF4}" type="slidenum">
              <a:rPr lang="zh-TW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34631888"/>
      </p:ext>
    </p:extLst>
  </p:cSld>
  <p:clrMapOvr>
    <a:masterClrMapping/>
  </p:clrMapOvr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章節標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709739"/>
            <a:ext cx="78867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zh-TW" altLang="en-US" smtClean="0"/>
              <a:t>按一下以編輯母片標題樣式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4589464"/>
            <a:ext cx="78867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D3A1796-FE4F-4CE2-AA60-E861BA6E0949}" type="datetimeFigureOut">
              <a:rPr lang="zh-TW" altLang="en-US" smtClean="0">
                <a:solidFill>
                  <a:prstClr val="black">
                    <a:tint val="75000"/>
                  </a:prstClr>
                </a:solidFill>
              </a:rPr>
              <a:pPr/>
              <a:t>2019/2/26</a:t>
            </a:fld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24186D-8EEA-426C-9630-B8182DA83AF4}" type="slidenum">
              <a:rPr lang="zh-TW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53702740"/>
      </p:ext>
    </p:extLst>
  </p:cSld>
  <p:clrMapOvr>
    <a:masterClrMapping/>
  </p:clrMapOvr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兩項物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 smtClean="0"/>
              <a:t>按一下以編輯母片標題樣式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</p:spPr>
        <p:txBody>
          <a:bodyPr/>
          <a:lstStyle/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</p:spPr>
        <p:txBody>
          <a:bodyPr/>
          <a:lstStyle/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D3A1796-FE4F-4CE2-AA60-E861BA6E0949}" type="datetimeFigureOut">
              <a:rPr lang="zh-TW" altLang="en-US" smtClean="0">
                <a:solidFill>
                  <a:prstClr val="black">
                    <a:tint val="75000"/>
                  </a:prstClr>
                </a:solidFill>
              </a:rPr>
              <a:pPr/>
              <a:t>2019/2/26</a:t>
            </a:fld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24186D-8EEA-426C-9630-B8182DA83AF4}" type="slidenum">
              <a:rPr lang="zh-TW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34284613"/>
      </p:ext>
    </p:extLst>
  </p:cSld>
  <p:clrMapOvr>
    <a:masterClrMapping/>
  </p:clrMapOvr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比對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65126"/>
            <a:ext cx="7886700" cy="1325563"/>
          </a:xfrm>
        </p:spPr>
        <p:txBody>
          <a:bodyPr/>
          <a:lstStyle/>
          <a:p>
            <a:r>
              <a:rPr lang="zh-TW" altLang="en-US" smtClean="0"/>
              <a:t>按一下以編輯母片標題樣式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/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391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391" cy="3684588"/>
          </a:xfrm>
        </p:spPr>
        <p:txBody>
          <a:bodyPr/>
          <a:lstStyle/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D3A1796-FE4F-4CE2-AA60-E861BA6E0949}" type="datetimeFigureOut">
              <a:rPr lang="zh-TW" altLang="en-US" smtClean="0">
                <a:solidFill>
                  <a:prstClr val="black">
                    <a:tint val="75000"/>
                  </a:prstClr>
                </a:solidFill>
              </a:rPr>
              <a:pPr/>
              <a:t>2019/2/26</a:t>
            </a:fld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24186D-8EEA-426C-9630-B8182DA83AF4}" type="slidenum">
              <a:rPr lang="zh-TW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42404405"/>
      </p:ext>
    </p:extLst>
  </p:cSld>
  <p:clrMapOvr>
    <a:masterClrMapping/>
  </p:clrMapOvr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只有標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 smtClean="0"/>
              <a:t>按一下以編輯母片標題樣式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D3A1796-FE4F-4CE2-AA60-E861BA6E0949}" type="datetimeFigureOut">
              <a:rPr lang="zh-TW" altLang="en-US" smtClean="0">
                <a:solidFill>
                  <a:prstClr val="black">
                    <a:tint val="75000"/>
                  </a:prstClr>
                </a:solidFill>
              </a:rPr>
              <a:pPr/>
              <a:t>2019/2/26</a:t>
            </a:fld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24186D-8EEA-426C-9630-B8182DA83AF4}" type="slidenum">
              <a:rPr lang="zh-TW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0952828"/>
      </p:ext>
    </p:extLst>
  </p:cSld>
  <p:clrMapOvr>
    <a:masterClrMapping/>
  </p:clrMapOvr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D3A1796-FE4F-4CE2-AA60-E861BA6E0949}" type="datetimeFigureOut">
              <a:rPr lang="zh-TW" altLang="en-US" smtClean="0">
                <a:solidFill>
                  <a:prstClr val="black">
                    <a:tint val="75000"/>
                  </a:prstClr>
                </a:solidFill>
              </a:rPr>
              <a:pPr/>
              <a:t>2019/2/26</a:t>
            </a:fld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24186D-8EEA-426C-9630-B8182DA83AF4}" type="slidenum">
              <a:rPr lang="zh-TW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93767094"/>
      </p:ext>
    </p:extLst>
  </p:cSld>
  <p:clrMapOvr>
    <a:masterClrMapping/>
  </p:clrMapOvr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含標題的內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TW" altLang="en-US" smtClean="0"/>
              <a:t>按一下以編輯母片標題樣式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D3A1796-FE4F-4CE2-AA60-E861BA6E0949}" type="datetimeFigureOut">
              <a:rPr lang="zh-TW" altLang="en-US" smtClean="0">
                <a:solidFill>
                  <a:prstClr val="black">
                    <a:tint val="75000"/>
                  </a:prstClr>
                </a:solidFill>
              </a:rPr>
              <a:pPr/>
              <a:t>2019/2/26</a:t>
            </a:fld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24186D-8EEA-426C-9630-B8182DA83AF4}" type="slidenum">
              <a:rPr lang="zh-TW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08456253"/>
      </p:ext>
    </p:extLst>
  </p:cSld>
  <p:clrMapOvr>
    <a:masterClrMapping/>
  </p:clrMapOvr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含標題的圖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TW" altLang="en-US" smtClean="0"/>
              <a:t>按一下以編輯母片標題樣式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3887391" y="987426"/>
            <a:ext cx="462915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zh-TW" altLang="en-US" smtClean="0"/>
              <a:t>按一下圖示以新增圖片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D3A1796-FE4F-4CE2-AA60-E861BA6E0949}" type="datetimeFigureOut">
              <a:rPr lang="zh-TW" altLang="en-US" smtClean="0">
                <a:solidFill>
                  <a:prstClr val="black">
                    <a:tint val="75000"/>
                  </a:prstClr>
                </a:solidFill>
              </a:rPr>
              <a:pPr/>
              <a:t>2019/2/26</a:t>
            </a:fld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24186D-8EEA-426C-9630-B8182DA83AF4}" type="slidenum">
              <a:rPr lang="zh-TW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22019411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5"/>
          <p:cNvSpPr>
            <a:spLocks noGrp="1" noChangeArrowheads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>
                <a:solidFill>
                  <a:srgbClr val="000000"/>
                </a:solidFill>
              </a:rPr>
              <a:t>CS511, Bing Liu, UIC</a:t>
            </a:r>
          </a:p>
        </p:txBody>
      </p:sp>
      <p:sp>
        <p:nvSpPr>
          <p:cNvPr id="3" name="Rectangle 6"/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DCCBAB86-2559-4979-BC5C-6624838BCC61}" type="slidenum">
              <a:rPr lang="en-US" alt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6049652"/>
      </p:ext>
    </p:extLst>
  </p:cSld>
  <p:clrMapOvr>
    <a:masterClrMapping/>
  </p:clrMapOvr>
  <p:transition/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標題及直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 smtClean="0"/>
              <a:t>按一下以編輯母片標題樣式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D3A1796-FE4F-4CE2-AA60-E861BA6E0949}" type="datetimeFigureOut">
              <a:rPr lang="zh-TW" altLang="en-US" smtClean="0">
                <a:solidFill>
                  <a:prstClr val="black">
                    <a:tint val="75000"/>
                  </a:prstClr>
                </a:solidFill>
              </a:rPr>
              <a:pPr/>
              <a:t>2019/2/26</a:t>
            </a:fld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24186D-8EEA-426C-9630-B8182DA83AF4}" type="slidenum">
              <a:rPr lang="zh-TW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1459008"/>
      </p:ext>
    </p:extLst>
  </p:cSld>
  <p:clrMapOvr>
    <a:masterClrMapping/>
  </p:clrMapOvr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直排標題及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</p:spPr>
        <p:txBody>
          <a:bodyPr vert="eaVert"/>
          <a:lstStyle/>
          <a:p>
            <a:r>
              <a:rPr lang="zh-TW" altLang="en-US" smtClean="0"/>
              <a:t>按一下以編輯母片標題樣式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800725" cy="5811838"/>
          </a:xfrm>
        </p:spPr>
        <p:txBody>
          <a:bodyPr vert="eaVert"/>
          <a:lstStyle/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D3A1796-FE4F-4CE2-AA60-E861BA6E0949}" type="datetimeFigureOut">
              <a:rPr lang="zh-TW" altLang="en-US" smtClean="0">
                <a:solidFill>
                  <a:prstClr val="black">
                    <a:tint val="75000"/>
                  </a:prstClr>
                </a:solidFill>
              </a:rPr>
              <a:pPr/>
              <a:t>2019/2/26</a:t>
            </a:fld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24186D-8EEA-426C-9630-B8182DA83AF4}" type="slidenum">
              <a:rPr lang="zh-TW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91546263"/>
      </p:ext>
    </p:extLst>
  </p:cSld>
  <p:clrMapOvr>
    <a:masterClrMapping/>
  </p:clrMapOvr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AndObj">
  <p:cSld name="Title, Text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7813"/>
            <a:ext cx="8229600" cy="11398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IN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457200" y="1600200"/>
            <a:ext cx="4038600" cy="453072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N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3072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N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>
                <a:solidFill>
                  <a:prstClr val="black">
                    <a:tint val="75000"/>
                  </a:prstClr>
                </a:solidFill>
              </a:rPr>
              <a:t>CS511, Bing Liu, UIC</a:t>
            </a: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1143EAE2-7D02-4D03-9FC4-395745BA1E04}" type="slidenum">
              <a:rPr lang="en-US" alt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US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14365720"/>
      </p:ext>
    </p:extLst>
  </p:cSld>
  <p:clrMapOvr>
    <a:masterClrMapping/>
  </p:clrMapOvr>
  <p:transition/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http://www.turtletrack.org/Issues00/Co01152000/Art/gator6.jp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48450" y="3810000"/>
            <a:ext cx="2266950" cy="1905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2" name="Group 5"/>
          <p:cNvGrpSpPr>
            <a:grpSpLocks/>
          </p:cNvGrpSpPr>
          <p:nvPr userDrawn="1"/>
        </p:nvGrpSpPr>
        <p:grpSpPr bwMode="auto">
          <a:xfrm>
            <a:off x="6267450" y="4876800"/>
            <a:ext cx="762000" cy="660400"/>
            <a:chOff x="3794" y="2614"/>
            <a:chExt cx="1966" cy="1706"/>
          </a:xfrm>
        </p:grpSpPr>
        <p:sp>
          <p:nvSpPr>
            <p:cNvPr id="6" name="Oval 6"/>
            <p:cNvSpPr>
              <a:spLocks noChangeArrowheads="1"/>
            </p:cNvSpPr>
            <p:nvPr/>
          </p:nvSpPr>
          <p:spPr bwMode="auto">
            <a:xfrm>
              <a:off x="3794" y="3840"/>
              <a:ext cx="1966" cy="480"/>
            </a:xfrm>
            <a:prstGeom prst="ellipse">
              <a:avLst/>
            </a:prstGeom>
            <a:gradFill rotWithShape="0">
              <a:gsLst>
                <a:gs pos="0">
                  <a:srgbClr val="2F2F18"/>
                </a:gs>
                <a:gs pos="50000">
                  <a:srgbClr val="666633"/>
                </a:gs>
                <a:gs pos="100000">
                  <a:srgbClr val="2F2F18"/>
                </a:gs>
              </a:gsLst>
              <a:lin ang="0" scaled="1"/>
            </a:gradFill>
            <a:ln w="12700">
              <a:solidFill>
                <a:schemeClr val="tx2"/>
              </a:solidFill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57200"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US" sz="1800">
                <a:solidFill>
                  <a:srgbClr val="000000"/>
                </a:solidFill>
                <a:latin typeface="Tahoma"/>
              </a:endParaRPr>
            </a:p>
          </p:txBody>
        </p:sp>
        <p:sp>
          <p:nvSpPr>
            <p:cNvPr id="7" name="Rectangle 7"/>
            <p:cNvSpPr>
              <a:spLocks noChangeArrowheads="1"/>
            </p:cNvSpPr>
            <p:nvPr/>
          </p:nvSpPr>
          <p:spPr bwMode="auto">
            <a:xfrm>
              <a:off x="3794" y="2879"/>
              <a:ext cx="1966" cy="1200"/>
            </a:xfrm>
            <a:prstGeom prst="rect">
              <a:avLst/>
            </a:prstGeom>
            <a:gradFill rotWithShape="0">
              <a:gsLst>
                <a:gs pos="0">
                  <a:srgbClr val="2F2F18"/>
                </a:gs>
                <a:gs pos="50000">
                  <a:srgbClr val="666633"/>
                </a:gs>
                <a:gs pos="100000">
                  <a:srgbClr val="2F2F18"/>
                </a:gs>
              </a:gsLst>
              <a:lin ang="0" scaled="1"/>
            </a:gra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 type="none" w="sm" len="sm"/>
                  <a:tailEnd type="none" w="sm" len="sm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57200"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US" sz="1800">
                <a:solidFill>
                  <a:srgbClr val="000000"/>
                </a:solidFill>
                <a:latin typeface="Tahoma"/>
              </a:endParaRPr>
            </a:p>
          </p:txBody>
        </p:sp>
        <p:pic>
          <p:nvPicPr>
            <p:cNvPr id="8" name="Picture 8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794" y="2614"/>
              <a:ext cx="1966" cy="48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pic>
      </p:grpSp>
      <p:sp>
        <p:nvSpPr>
          <p:cNvPr id="111618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85800" y="2286000"/>
            <a:ext cx="5257800" cy="1143000"/>
          </a:xfrm>
        </p:spPr>
        <p:txBody>
          <a:bodyPr/>
          <a:lstStyle>
            <a:lvl1pPr algn="r">
              <a:defRPr/>
            </a:lvl1pPr>
          </a:lstStyle>
          <a:p>
            <a:pPr lvl="0"/>
            <a:r>
              <a:rPr lang="en-US" noProof="0" smtClean="0"/>
              <a:t>Click to edit Master title style</a:t>
            </a:r>
          </a:p>
        </p:txBody>
      </p:sp>
      <p:sp>
        <p:nvSpPr>
          <p:cNvPr id="111619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371600" y="3886200"/>
            <a:ext cx="4572000" cy="1752600"/>
          </a:xfrm>
        </p:spPr>
        <p:txBody>
          <a:bodyPr/>
          <a:lstStyle>
            <a:lvl1pPr marL="0" indent="0" algn="r">
              <a:buFontTx/>
              <a:buNone/>
              <a:defRPr/>
            </a:lvl1pPr>
          </a:lstStyle>
          <a:p>
            <a:pPr lvl="0"/>
            <a:r>
              <a:rPr lang="en-US" noProof="0" smtClean="0"/>
              <a:t>Click to edit Master subtitle style</a:t>
            </a:r>
          </a:p>
        </p:txBody>
      </p:sp>
      <p:sp>
        <p:nvSpPr>
          <p:cNvPr id="9" name="Rectangle 4"/>
          <p:cNvSpPr>
            <a:spLocks noGrp="1" noChangeArrowheads="1"/>
          </p:cNvSpPr>
          <p:nvPr>
            <p:ph type="dt" sz="half" idx="10"/>
          </p:nvPr>
        </p:nvSpPr>
        <p:spPr bwMode="auto">
          <a:xfrm>
            <a:off x="685800" y="6248400"/>
            <a:ext cx="1905000" cy="457200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hangingPunct="0">
              <a:defRPr sz="1400">
                <a:solidFill>
                  <a:schemeClr val="tx1"/>
                </a:solidFill>
                <a:latin typeface="Times New Roman" charset="0"/>
                <a:ea typeface="+mn-ea"/>
                <a:cs typeface="+mn-cs"/>
              </a:defRPr>
            </a:lvl1pPr>
          </a:lstStyle>
          <a:p>
            <a:pPr defTabSz="457200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10" name="Rectangle 5"/>
          <p:cNvSpPr>
            <a:spLocks noGrp="1" noChangeArrowheads="1"/>
          </p:cNvSpPr>
          <p:nvPr>
            <p:ph type="ftr" sz="quarter" idx="11"/>
          </p:nvPr>
        </p:nvSpPr>
        <p:spPr bwMode="auto">
          <a:xfrm>
            <a:off x="3124200" y="6248400"/>
            <a:ext cx="2895600" cy="457200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 eaLnBrk="0" hangingPunct="0">
              <a:defRPr sz="1400">
                <a:solidFill>
                  <a:schemeClr val="tx1"/>
                </a:solidFill>
                <a:latin typeface="Times New Roman" charset="0"/>
                <a:ea typeface="+mn-ea"/>
                <a:cs typeface="+mn-cs"/>
              </a:defRPr>
            </a:lvl1pPr>
          </a:lstStyle>
          <a:p>
            <a:pPr defTabSz="457200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11" name="Rectangle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6553200" y="6248400"/>
            <a:ext cx="1905000" cy="45720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E0F4670-803E-43BB-88DF-5661A6189500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54557800"/>
      </p:ext>
    </p:extLst>
  </p:cSld>
  <p:clrMapOvr>
    <a:masterClrMapping/>
  </p:clrMapOvr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50AAFB8-5791-4396-BD6E-1E3E331645F6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878629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2E91D76-BC05-471C-A6FA-9058E99E07B0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84604489"/>
      </p:ext>
    </p:extLst>
  </p:cSld>
  <p:clrMapOvr>
    <a:masterClrMapping/>
  </p:clrMapOvr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85800" y="1447800"/>
            <a:ext cx="3810000" cy="51054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447800"/>
            <a:ext cx="3810000" cy="51054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3E8B2AC-C7C6-4B70-A55D-DFDA5B35AE04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24345159"/>
      </p:ext>
    </p:extLst>
  </p:cSld>
  <p:clrMapOvr>
    <a:masterClrMapping/>
  </p:clrMapOvr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A0E9862-54E7-49CE-AFEB-9ABAC086D0D4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48537327"/>
      </p:ext>
    </p:extLst>
  </p:cSld>
  <p:clrMapOvr>
    <a:masterClrMapping/>
  </p:clrMapOvr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5CCAB0C-7EDF-4EBA-A786-58EA8E2E0C42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77199893"/>
      </p:ext>
    </p:extLst>
  </p:cSld>
  <p:clrMapOvr>
    <a:masterClrMapping/>
  </p:clrMapOvr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E5A1F1C-C0FC-40D7-AF63-3D50C102F6BA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3552431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IN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N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>
                <a:solidFill>
                  <a:srgbClr val="000000"/>
                </a:solidFill>
              </a:rPr>
              <a:t>CS511, Bing Liu, UIC</a:t>
            </a: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F66E5244-5893-4231-818B-AEC1CE7CDB01}" type="slidenum">
              <a:rPr lang="en-US" alt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74207226"/>
      </p:ext>
    </p:extLst>
  </p:cSld>
  <p:clrMapOvr>
    <a:masterClrMapping/>
  </p:clrMapOvr>
  <p:transition/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73E3E5D-B3A2-4FF7-8B33-BB9F4B76D22D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70745458"/>
      </p:ext>
    </p:extLst>
  </p:cSld>
  <p:clrMapOvr>
    <a:masterClrMapping/>
  </p:clrMapOvr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5E98D8C-A39E-42C8-B7BD-D78029951C81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57410298"/>
      </p:ext>
    </p:extLst>
  </p:cSld>
  <p:clrMapOvr>
    <a:masterClrMapping/>
  </p:clrMapOvr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F21F3F8-9CA6-4527-BA94-2AD9EBB2EDC7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01961651"/>
      </p:ext>
    </p:extLst>
  </p:cSld>
  <p:clrMapOvr>
    <a:masterClrMapping/>
  </p:clrMapOvr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15100" y="0"/>
            <a:ext cx="1943100" cy="6553200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85800" y="0"/>
            <a:ext cx="5676900" cy="6553200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073B5F2-26B1-48C1-8DE9-14E11CD897A0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9001865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AndClipArt" preserve="1">
  <p:cSld name="Title, Text and Clip 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419100"/>
            <a:ext cx="7772400" cy="11049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838200" y="1981200"/>
            <a:ext cx="3810000" cy="40767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lipArt Placeholder 3"/>
          <p:cNvSpPr>
            <a:spLocks noGrp="1"/>
          </p:cNvSpPr>
          <p:nvPr>
            <p:ph type="clipArt" sz="half" idx="2"/>
          </p:nvPr>
        </p:nvSpPr>
        <p:spPr>
          <a:xfrm>
            <a:off x="4800600" y="1981200"/>
            <a:ext cx="3810000" cy="4076700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3947586"/>
      </p:ext>
    </p:extLst>
  </p:cSld>
  <p:clrMapOvr>
    <a:masterClrMapping/>
  </p:clrMapOvr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 preserve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rtlCol="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 rtlCol="0"/>
          <a:lstStyle>
            <a:lvl1pPr>
              <a:defRPr sz="2800"/>
            </a:lvl1pPr>
            <a:lvl2pPr>
              <a:defRPr sz="2800"/>
            </a:lvl2pPr>
            <a:lvl3pPr>
              <a:defRPr sz="2800"/>
            </a:lvl3pPr>
            <a:lvl4pPr>
              <a:defRPr sz="2800"/>
            </a:lvl4pPr>
            <a:lvl5pPr>
              <a:defRPr sz="28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0"/>
            <a:r>
              <a:rPr lang="en-US"/>
              <a:t>Second level</a:t>
            </a:r>
          </a:p>
          <a:p>
            <a:pPr lvl="0"/>
            <a:r>
              <a:rPr lang="en-US"/>
              <a:t>Third level</a:t>
            </a:r>
          </a:p>
          <a:p>
            <a:pPr lvl="0"/>
            <a:r>
              <a:rPr lang="en-US"/>
              <a:t>Fourth level</a:t>
            </a:r>
          </a:p>
          <a:p>
            <a:pPr lvl="0"/>
            <a:r>
              <a:rPr lang="en-US"/>
              <a:t>Fifth level</a:t>
            </a:r>
          </a:p>
        </p:txBody>
      </p:sp>
      <p:sp>
        <p:nvSpPr>
          <p:cNvPr id="4" name="Date Placeholder 1028"/>
          <p:cNvSpPr>
            <a:spLocks noGrp="1" noChangeArrowheads="1"/>
          </p:cNvSpPr>
          <p:nvPr>
            <p:ph type="dt" sz="half" idx="10"/>
          </p:nvPr>
        </p:nvSpPr>
        <p:spPr>
          <a:xfrm>
            <a:off x="685800" y="6267450"/>
            <a:ext cx="1905000" cy="4572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defTabSz="457200" eaLnBrk="1" fontAlgn="auto" hangingPunct="1">
              <a:spcBef>
                <a:spcPts val="0"/>
              </a:spcBef>
              <a:spcAft>
                <a:spcPts val="0"/>
              </a:spcAft>
            </a:pPr>
            <a:endParaRPr lang="en-US" altLang="en-US" sz="1800">
              <a:solidFill>
                <a:srgbClr val="000000"/>
              </a:solidFill>
              <a:latin typeface="Tahoma"/>
            </a:endParaRPr>
          </a:p>
        </p:txBody>
      </p:sp>
      <p:sp>
        <p:nvSpPr>
          <p:cNvPr id="5" name="Footer Placeholder 1029"/>
          <p:cNvSpPr>
            <a:spLocks noGrp="1" noChangeArrowheads="1"/>
          </p:cNvSpPr>
          <p:nvPr>
            <p:ph type="ftr" sz="quarter" idx="11"/>
          </p:nvPr>
        </p:nvSpPr>
        <p:spPr>
          <a:xfrm>
            <a:off x="3124200" y="6267450"/>
            <a:ext cx="2895600" cy="4572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defTabSz="457200" eaLnBrk="1" fontAlgn="auto" hangingPunct="1">
              <a:spcBef>
                <a:spcPts val="0"/>
              </a:spcBef>
              <a:spcAft>
                <a:spcPts val="0"/>
              </a:spcAft>
            </a:pPr>
            <a:endParaRPr lang="en-US" altLang="en-US" sz="1800">
              <a:solidFill>
                <a:srgbClr val="000000"/>
              </a:solidFill>
              <a:latin typeface="Tahoma"/>
            </a:endParaRPr>
          </a:p>
        </p:txBody>
      </p:sp>
      <p:sp>
        <p:nvSpPr>
          <p:cNvPr id="6" name="Slide Number Placeholder 704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A3BE7C5D-5725-491F-8EBE-EF1BCC7986F9}" type="slidenum">
              <a:rPr lang="en-US" altLang="en-US">
                <a:solidFill>
                  <a:srgbClr val="000000"/>
                </a:solidFill>
              </a:rPr>
              <a:pPr/>
              <a:t>‹#›</a:t>
            </a:fld>
            <a:endParaRPr lang="en-US" altLang="en-US">
              <a:solidFill>
                <a:srgbClr val="000000"/>
              </a:solidFill>
            </a:endParaRPr>
          </a:p>
        </p:txBody>
      </p:sp>
      <p:sp>
        <p:nvSpPr>
          <p:cNvPr id="7" name="Slide Number Placeholder 492"/>
          <p:cNvSpPr>
            <a:spLocks noGrp="1" noChangeArrowheads="1"/>
          </p:cNvSpPr>
          <p:nvPr>
            <p:ph type="sldNum" sz="quarter" idx="13"/>
          </p:nvPr>
        </p:nvSpPr>
        <p:spPr/>
        <p:txBody>
          <a:bodyPr/>
          <a:lstStyle>
            <a:lvl1pPr>
              <a:defRPr/>
            </a:lvl1pPr>
          </a:lstStyle>
          <a:p>
            <a:fld id="{205C0818-8B76-44F5-B513-5EC719230484}" type="slidenum">
              <a:rPr lang="en-US" altLang="en-US">
                <a:solidFill>
                  <a:srgbClr val="000000"/>
                </a:solidFill>
              </a:rPr>
              <a:pPr/>
              <a:t>‹#›</a:t>
            </a:fld>
            <a:endParaRPr lang="en-US" alt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79990220"/>
      </p:ext>
    </p:extLst>
  </p:cSld>
  <p:clrMapOvr>
    <a:masterClrMapping/>
  </p:clrMapOvr>
  <p:transition spd="slow" advClick="0" advTm="7000">
    <p:fade thruBlk="1"/>
  </p:transition>
</p:sldLayout>
</file>

<file path=ppt/slideLayouts/slideLayout2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 7"/>
          <p:cNvSpPr>
            <a:spLocks noChangeArrowheads="1"/>
          </p:cNvSpPr>
          <p:nvPr/>
        </p:nvSpPr>
        <p:spPr bwMode="auto">
          <a:xfrm>
            <a:off x="609600" y="1219200"/>
            <a:ext cx="7924800" cy="914400"/>
          </a:xfrm>
          <a:custGeom>
            <a:avLst/>
            <a:gdLst/>
            <a:ahLst/>
            <a:cxnLst>
              <a:cxn ang="0">
                <a:pos x="0" y="1000"/>
              </a:cxn>
              <a:cxn ang="0">
                <a:pos x="0" y="0"/>
              </a:cxn>
              <a:cxn ang="0">
                <a:pos x="1000" y="0"/>
              </a:cxn>
            </a:cxnLst>
            <a:rect l="0" t="0" r="r" b="b"/>
            <a:pathLst>
              <a:path w="1000" h="1000">
                <a:moveTo>
                  <a:pt x="0" y="1000"/>
                </a:moveTo>
                <a:lnTo>
                  <a:pt x="0" y="0"/>
                </a:lnTo>
                <a:lnTo>
                  <a:pt x="1000" y="0"/>
                </a:lnTo>
              </a:path>
            </a:pathLst>
          </a:custGeom>
          <a:noFill/>
          <a:ln w="25400" cap="flat" cmpd="sng">
            <a:solidFill>
              <a:schemeClr val="accent1"/>
            </a:solidFill>
            <a:prstDash val="solid"/>
            <a:miter lim="800000"/>
            <a:headEnd/>
            <a:tailEnd/>
          </a:ln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algn="ctr" eaLnBrk="1" hangingPunct="1">
              <a:defRPr/>
            </a:pPr>
            <a:endParaRPr lang="en-US" altLang="en-US" sz="1800" smtClean="0">
              <a:solidFill>
                <a:srgbClr val="000000"/>
              </a:solidFill>
            </a:endParaRPr>
          </a:p>
        </p:txBody>
      </p:sp>
      <p:sp>
        <p:nvSpPr>
          <p:cNvPr id="5" name="Line 8"/>
          <p:cNvSpPr>
            <a:spLocks noChangeShapeType="1"/>
          </p:cNvSpPr>
          <p:nvPr/>
        </p:nvSpPr>
        <p:spPr bwMode="auto">
          <a:xfrm>
            <a:off x="1981200" y="3962400"/>
            <a:ext cx="6511925" cy="0"/>
          </a:xfrm>
          <a:prstGeom prst="line">
            <a:avLst/>
          </a:prstGeom>
          <a:noFill/>
          <a:ln w="19050">
            <a:solidFill>
              <a:schemeClr val="accent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sz="1800" smtClean="0">
              <a:solidFill>
                <a:srgbClr val="000000"/>
              </a:solidFill>
            </a:endParaRPr>
          </a:p>
        </p:txBody>
      </p:sp>
      <p:sp>
        <p:nvSpPr>
          <p:cNvPr id="225282" name="Rectangle 2"/>
          <p:cNvSpPr>
            <a:spLocks noGrp="1" noChangeArrowheads="1"/>
          </p:cNvSpPr>
          <p:nvPr>
            <p:ph type="ctrTitle"/>
          </p:nvPr>
        </p:nvSpPr>
        <p:spPr>
          <a:xfrm>
            <a:off x="914400" y="1524000"/>
            <a:ext cx="7623175" cy="1752600"/>
          </a:xfrm>
        </p:spPr>
        <p:txBody>
          <a:bodyPr/>
          <a:lstStyle>
            <a:lvl1pPr>
              <a:defRPr sz="5000"/>
            </a:lvl1pPr>
          </a:lstStyle>
          <a:p>
            <a:r>
              <a:rPr lang="en-US" altLang="zh-CN"/>
              <a:t>Click to edit Master title style</a:t>
            </a:r>
          </a:p>
        </p:txBody>
      </p:sp>
      <p:sp>
        <p:nvSpPr>
          <p:cNvPr id="225283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981200" y="3962400"/>
            <a:ext cx="6553200" cy="1752600"/>
          </a:xfrm>
        </p:spPr>
        <p:txBody>
          <a:bodyPr/>
          <a:lstStyle>
            <a:lvl1pPr marL="0" indent="0">
              <a:buFont typeface="Wingdings" pitchFamily="2" charset="2"/>
              <a:buNone/>
              <a:defRPr sz="2800"/>
            </a:lvl1pPr>
          </a:lstStyle>
          <a:p>
            <a:r>
              <a:rPr lang="en-US" altLang="zh-CN"/>
              <a:t>Click to edit Master subtitle style</a:t>
            </a:r>
          </a:p>
        </p:txBody>
      </p:sp>
      <p:sp>
        <p:nvSpPr>
          <p:cNvPr id="6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CN">
              <a:solidFill>
                <a:srgbClr val="000000"/>
              </a:solidFill>
            </a:endParaRPr>
          </a:p>
        </p:txBody>
      </p:sp>
      <p:sp>
        <p:nvSpPr>
          <p:cNvPr id="7" name="Rectangle 5"/>
          <p:cNvSpPr>
            <a:spLocks noGrp="1" noChangeArrowheads="1"/>
          </p:cNvSpPr>
          <p:nvPr>
            <p:ph type="ftr" sz="quarter" idx="11"/>
          </p:nvPr>
        </p:nvSpPr>
        <p:spPr>
          <a:xfrm>
            <a:off x="3124200" y="6243638"/>
            <a:ext cx="2895600" cy="45720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CN">
              <a:solidFill>
                <a:srgbClr val="000000"/>
              </a:solidFill>
            </a:endParaRPr>
          </a:p>
        </p:txBody>
      </p:sp>
      <p:sp>
        <p:nvSpPr>
          <p:cNvPr id="8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2564283-F28D-4F37-953E-0540D6A41597}" type="slidenum">
              <a:rPr lang="en-US" altLang="zh-CN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zh-CN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36235021"/>
      </p:ext>
    </p:extLst>
  </p:cSld>
  <p:clrMapOvr>
    <a:masterClrMapping/>
  </p:clrMapOvr>
</p:sldLayout>
</file>

<file path=ppt/slideLayouts/slideLayout2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CN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CN"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D2A4D5A-7ABE-422B-9F9E-422F36C78F68}" type="slidenum">
              <a:rPr lang="en-US" altLang="zh-CN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zh-CN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88837014"/>
      </p:ext>
    </p:extLst>
  </p:cSld>
  <p:clrMapOvr>
    <a:masterClrMapping/>
  </p:clrMapOvr>
</p:sldLayout>
</file>

<file path=ppt/slideLayouts/slideLayout2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CN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CN"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FF69F87-CE6E-4BE0-ACBE-93E31ED5C653}" type="slidenum">
              <a:rPr lang="en-US" altLang="zh-CN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zh-CN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34285555"/>
      </p:ext>
    </p:extLst>
  </p:cSld>
  <p:clrMapOvr>
    <a:masterClrMapping/>
  </p:clrMapOvr>
</p:sldLayout>
</file>

<file path=ppt/slideLayouts/slideLayout2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3072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3072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CN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CN">
              <a:solidFill>
                <a:srgbClr val="000000"/>
              </a:solidFill>
            </a:endParaRP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2670AF8-699A-4F6D-9B8B-D411C0FD812B}" type="slidenum">
              <a:rPr lang="en-US" altLang="zh-CN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zh-CN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95779387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IN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IN" noProof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>
                <a:solidFill>
                  <a:srgbClr val="000000"/>
                </a:solidFill>
              </a:rPr>
              <a:t>CS511, Bing Liu, UIC</a:t>
            </a: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EAF86C8D-9235-4AB4-92FE-64BECED8BA76}" type="slidenum">
              <a:rPr lang="en-US" alt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38380617"/>
      </p:ext>
    </p:extLst>
  </p:cSld>
  <p:clrMapOvr>
    <a:masterClrMapping/>
  </p:clrMapOvr>
  <p:transition/>
</p:sldLayout>
</file>

<file path=ppt/slideLayouts/slideLayout2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CN">
              <a:solidFill>
                <a:srgbClr val="000000"/>
              </a:solidFill>
            </a:endParaRPr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CN">
              <a:solidFill>
                <a:srgbClr val="000000"/>
              </a:solidFill>
            </a:endParaRPr>
          </a:p>
        </p:txBody>
      </p:sp>
      <p:sp>
        <p:nvSpPr>
          <p:cNvPr id="9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D3B5086-BBAF-4501-BE96-8581FA8979DD}" type="slidenum">
              <a:rPr lang="en-US" altLang="zh-CN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zh-CN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10740373"/>
      </p:ext>
    </p:extLst>
  </p:cSld>
  <p:clrMapOvr>
    <a:masterClrMapping/>
  </p:clrMapOvr>
</p:sldLayout>
</file>

<file path=ppt/slideLayouts/slideLayout2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CN">
              <a:solidFill>
                <a:srgbClr val="000000"/>
              </a:solidFill>
            </a:endParaRPr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CN">
              <a:solidFill>
                <a:srgbClr val="000000"/>
              </a:solidFill>
            </a:endParaRP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E03BFF3-C514-4EB8-B6F3-4D9E229EE491}" type="slidenum">
              <a:rPr lang="en-US" altLang="zh-CN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zh-CN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49121732"/>
      </p:ext>
    </p:extLst>
  </p:cSld>
  <p:clrMapOvr>
    <a:masterClrMapping/>
  </p:clrMapOvr>
</p:sldLayout>
</file>

<file path=ppt/slideLayouts/slideLayout2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CN">
              <a:solidFill>
                <a:srgbClr val="000000"/>
              </a:solidFill>
            </a:endParaRPr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CN">
              <a:solidFill>
                <a:srgbClr val="000000"/>
              </a:solidFill>
            </a:endParaRP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268C91A-2FE3-4BB2-9894-161F8CEB3A65}" type="slidenum">
              <a:rPr lang="en-US" altLang="zh-CN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zh-CN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65972961"/>
      </p:ext>
    </p:extLst>
  </p:cSld>
  <p:clrMapOvr>
    <a:masterClrMapping/>
  </p:clrMapOvr>
</p:sldLayout>
</file>

<file path=ppt/slideLayouts/slideLayout2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CN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CN">
              <a:solidFill>
                <a:srgbClr val="000000"/>
              </a:solidFill>
            </a:endParaRP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961F293-2BCF-4384-AE23-85AB234A862C}" type="slidenum">
              <a:rPr lang="en-US" altLang="zh-CN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zh-CN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46321248"/>
      </p:ext>
    </p:extLst>
  </p:cSld>
  <p:clrMapOvr>
    <a:masterClrMapping/>
  </p:clrMapOvr>
</p:sldLayout>
</file>

<file path=ppt/slideLayouts/slideLayout2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CN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CN">
              <a:solidFill>
                <a:srgbClr val="000000"/>
              </a:solidFill>
            </a:endParaRP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252CCE7-25A2-4E18-811F-2A177C8C6EC8}" type="slidenum">
              <a:rPr lang="en-US" altLang="zh-CN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zh-CN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06256835"/>
      </p:ext>
    </p:extLst>
  </p:cSld>
  <p:clrMapOvr>
    <a:masterClrMapping/>
  </p:clrMapOvr>
</p:sldLayout>
</file>

<file path=ppt/slideLayouts/slideLayout2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CN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CN"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6BFCB6C-0494-4264-B0B8-453BC5FC47F8}" type="slidenum">
              <a:rPr lang="en-US" altLang="zh-CN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zh-CN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25518007"/>
      </p:ext>
    </p:extLst>
  </p:cSld>
  <p:clrMapOvr>
    <a:masterClrMapping/>
  </p:clrMapOvr>
</p:sldLayout>
</file>

<file path=ppt/slideLayouts/slideLayout2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7813"/>
            <a:ext cx="2057400" cy="5853112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7813"/>
            <a:ext cx="6019800" cy="5853112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CN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CN"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593EE55-AFC7-4830-9A35-DB7D9AD2682D}" type="slidenum">
              <a:rPr lang="en-US" altLang="zh-CN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zh-CN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59763483"/>
      </p:ext>
    </p:extLst>
  </p:cSld>
  <p:clrMapOvr>
    <a:masterClrMapping/>
  </p:clrMapOvr>
</p:sldLayout>
</file>

<file path=ppt/slideLayouts/slideLayout2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AndObj" preserve="1">
  <p:cSld name="Title, Text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7813"/>
            <a:ext cx="8229600" cy="11398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457200" y="1600200"/>
            <a:ext cx="4038600" cy="453072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3072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CN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CN">
              <a:solidFill>
                <a:srgbClr val="000000"/>
              </a:solidFill>
            </a:endParaRP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8E3A109-DC2A-467D-BD17-284D3F119826}" type="slidenum">
              <a:rPr lang="en-US" altLang="zh-CN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zh-CN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01263276"/>
      </p:ext>
    </p:extLst>
  </p:cSld>
  <p:clrMapOvr>
    <a:masterClrMapping/>
  </p:clrMapOvr>
</p:sldLayout>
</file>

<file path=ppt/slideLayouts/slideLayout2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AndTwoObj" preserve="1">
  <p:cSld name="Title, Text, and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7813"/>
            <a:ext cx="8229600" cy="11398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457200" y="1600200"/>
            <a:ext cx="4038600" cy="453072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4648200" y="1600200"/>
            <a:ext cx="4038600" cy="2189163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Content Placeholder 4"/>
          <p:cNvSpPr>
            <a:spLocks noGrp="1"/>
          </p:cNvSpPr>
          <p:nvPr>
            <p:ph sz="quarter" idx="3"/>
          </p:nvPr>
        </p:nvSpPr>
        <p:spPr>
          <a:xfrm>
            <a:off x="4648200" y="3941763"/>
            <a:ext cx="4038600" cy="2189162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CN">
              <a:solidFill>
                <a:srgbClr val="000000"/>
              </a:solidFill>
            </a:endParaRPr>
          </a:p>
        </p:txBody>
      </p:sp>
      <p:sp>
        <p:nvSpPr>
          <p:cNvPr id="7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CN">
              <a:solidFill>
                <a:srgbClr val="000000"/>
              </a:solidFill>
            </a:endParaRPr>
          </a:p>
        </p:txBody>
      </p:sp>
      <p:sp>
        <p:nvSpPr>
          <p:cNvPr id="8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3EFC9F5-597A-4733-8292-5261CA8CB513}" type="slidenum">
              <a:rPr lang="en-US" altLang="zh-CN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zh-CN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48364819"/>
      </p:ext>
    </p:extLst>
  </p:cSld>
  <p:clrMapOvr>
    <a:masterClrMapping/>
  </p:clrMapOvr>
</p:sldLayout>
</file>

<file path=ppt/slideLayouts/slideLayout23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8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62A15A-FF55-4226-93C9-8EE5BB3F5944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2/26/20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D4F316C-6D24-4AA5-9A96-0F7761484A51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93364211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IN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N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>
                <a:solidFill>
                  <a:srgbClr val="000000"/>
                </a:solidFill>
              </a:rPr>
              <a:t>CS511, Bing Liu, UIC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16DF0F3C-951C-4970-9587-52F4CF2E7A74}" type="slidenum">
              <a:rPr lang="en-US" alt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99027488"/>
      </p:ext>
    </p:extLst>
  </p:cSld>
  <p:clrMapOvr>
    <a:masterClrMapping/>
  </p:clrMapOvr>
  <p:transition/>
</p:sldLayout>
</file>

<file path=ppt/slideLayouts/slideLayout24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62A15A-FF55-4226-93C9-8EE5BB3F5944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2/26/20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D4F316C-6D24-4AA5-9A96-0F7761484A51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22161531"/>
      </p:ext>
    </p:extLst>
  </p:cSld>
  <p:clrMapOvr>
    <a:masterClrMapping/>
  </p:clrMapOvr>
</p:sldLayout>
</file>

<file path=ppt/slideLayouts/slideLayout24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1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62A15A-FF55-4226-93C9-8EE5BB3F5944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2/26/20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D4F316C-6D24-4AA5-9A96-0F7761484A51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75980405"/>
      </p:ext>
    </p:extLst>
  </p:cSld>
  <p:clrMapOvr>
    <a:masterClrMapping/>
  </p:clrMapOvr>
</p:sldLayout>
</file>

<file path=ppt/slideLayouts/slideLayout24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1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1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62A15A-FF55-4226-93C9-8EE5BB3F5944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2/26/20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D4F316C-6D24-4AA5-9A96-0F7761484A51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52960079"/>
      </p:ext>
    </p:extLst>
  </p:cSld>
  <p:clrMapOvr>
    <a:masterClrMapping/>
  </p:clrMapOvr>
</p:sldLayout>
</file>

<file path=ppt/slideLayouts/slideLayout24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9" y="1535113"/>
            <a:ext cx="4041775" cy="6397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9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62A15A-FF55-4226-93C9-8EE5BB3F5944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2/26/20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D4F316C-6D24-4AA5-9A96-0F7761484A51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79093818"/>
      </p:ext>
    </p:extLst>
  </p:cSld>
  <p:clrMapOvr>
    <a:masterClrMapping/>
  </p:clrMapOvr>
</p:sldLayout>
</file>

<file path=ppt/slideLayouts/slideLayout24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62A15A-FF55-4226-93C9-8EE5BB3F5944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2/26/20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D4F316C-6D24-4AA5-9A96-0F7761484A51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49849507"/>
      </p:ext>
    </p:extLst>
  </p:cSld>
  <p:clrMapOvr>
    <a:masterClrMapping/>
  </p:clrMapOvr>
</p:sldLayout>
</file>

<file path=ppt/slideLayouts/slideLayout24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62A15A-FF55-4226-93C9-8EE5BB3F5944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2/26/20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D4F316C-6D24-4AA5-9A96-0F7761484A51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55286375"/>
      </p:ext>
    </p:extLst>
  </p:cSld>
  <p:clrMapOvr>
    <a:masterClrMapping/>
  </p:clrMapOvr>
</p:sldLayout>
</file>

<file path=ppt/slideLayouts/slideLayout24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4" y="273049"/>
            <a:ext cx="3008313" cy="1162051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3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4" y="1435103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62A15A-FF55-4226-93C9-8EE5BB3F5944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2/26/20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D4F316C-6D24-4AA5-9A96-0F7761484A51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87035882"/>
      </p:ext>
    </p:extLst>
  </p:cSld>
  <p:clrMapOvr>
    <a:masterClrMapping/>
  </p:clrMapOvr>
</p:sldLayout>
</file>

<file path=ppt/slideLayouts/slideLayout24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1"/>
            <a:ext cx="5486400" cy="566739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9"/>
            <a:ext cx="5486400" cy="8048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62A15A-FF55-4226-93C9-8EE5BB3F5944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2/26/20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D4F316C-6D24-4AA5-9A96-0F7761484A51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67011860"/>
      </p:ext>
    </p:extLst>
  </p:cSld>
  <p:clrMapOvr>
    <a:masterClrMapping/>
  </p:clrMapOvr>
</p:sldLayout>
</file>

<file path=ppt/slideLayouts/slideLayout24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62A15A-FF55-4226-93C9-8EE5BB3F5944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2/26/20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D4F316C-6D24-4AA5-9A96-0F7761484A51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48319568"/>
      </p:ext>
    </p:extLst>
  </p:cSld>
  <p:clrMapOvr>
    <a:masterClrMapping/>
  </p:clrMapOvr>
</p:sldLayout>
</file>

<file path=ppt/slideLayouts/slideLayout24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40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40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62A15A-FF55-4226-93C9-8EE5BB3F5944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2/26/20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D4F316C-6D24-4AA5-9A96-0F7761484A51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44791447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7813"/>
            <a:ext cx="2057400" cy="5853112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IN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7813"/>
            <a:ext cx="6019800" cy="5853112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N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>
                <a:solidFill>
                  <a:srgbClr val="000000"/>
                </a:solidFill>
              </a:rPr>
              <a:t>CS511, Bing Liu, UIC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7EE85C64-7142-4E8A-A23F-AA9A0778058F}" type="slidenum">
              <a:rPr lang="en-US" alt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52835432"/>
      </p:ext>
    </p:extLst>
  </p:cSld>
  <p:clrMapOvr>
    <a:masterClrMapping/>
  </p:clrMapOvr>
  <p:transition/>
</p:sldLayout>
</file>

<file path=ppt/slideLayouts/slideLayout25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ody" type="tx">
  <p:cSld name="Title and body">
    <p:spTree>
      <p:nvGrpSpPr>
        <p:cNvPr id="1" name="Shape 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Shape 17"/>
          <p:cNvSpPr txBox="1">
            <a:spLocks noGrp="1"/>
          </p:cNvSpPr>
          <p:nvPr>
            <p:ph type="title"/>
          </p:nvPr>
        </p:nvSpPr>
        <p:spPr>
          <a:xfrm>
            <a:off x="311700" y="593367"/>
            <a:ext cx="8520600" cy="763600"/>
          </a:xfrm>
          <a:prstGeom prst="rect">
            <a:avLst/>
          </a:prstGeom>
        </p:spPr>
        <p:txBody>
          <a:bodyPr spcFirstLastPara="1" wrap="square" lIns="91425" tIns="91425" rIns="91425" bIns="91425" anchor="t" anchorCtr="0"/>
          <a:lstStyle>
            <a:lvl1pPr lv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18" name="Shape 18"/>
          <p:cNvSpPr txBox="1">
            <a:spLocks noGrp="1"/>
          </p:cNvSpPr>
          <p:nvPr>
            <p:ph type="body" idx="1"/>
          </p:nvPr>
        </p:nvSpPr>
        <p:spPr>
          <a:xfrm>
            <a:off x="311700" y="1536633"/>
            <a:ext cx="8520600" cy="4555200"/>
          </a:xfrm>
          <a:prstGeom prst="rect">
            <a:avLst/>
          </a:prstGeom>
        </p:spPr>
        <p:txBody>
          <a:bodyPr spcFirstLastPara="1" wrap="square" lIns="91425" tIns="91425" rIns="91425" bIns="91425" anchor="t" anchorCtr="0"/>
          <a:lstStyle>
            <a:lvl1pPr marL="457200" lvl="0" indent="-342900"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914400" lvl="1" indent="-317500">
              <a:spcBef>
                <a:spcPts val="160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>
              <a:spcBef>
                <a:spcPts val="160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>
              <a:spcBef>
                <a:spcPts val="160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>
              <a:spcBef>
                <a:spcPts val="160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>
              <a:spcBef>
                <a:spcPts val="160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>
              <a:spcBef>
                <a:spcPts val="160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>
              <a:spcBef>
                <a:spcPts val="160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>
              <a:spcBef>
                <a:spcPts val="1600"/>
              </a:spcBef>
              <a:spcAft>
                <a:spcPts val="160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19" name="Shape 19"/>
          <p:cNvSpPr txBox="1">
            <a:spLocks noGrp="1"/>
          </p:cNvSpPr>
          <p:nvPr>
            <p:ph type="sldNum" idx="12"/>
          </p:nvPr>
        </p:nvSpPr>
        <p:spPr>
          <a:xfrm>
            <a:off x="8472458" y="6217623"/>
            <a:ext cx="5487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00000000-1234-1234-1234-123412341234}" type="slidenum">
              <a:rPr lang="en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47987130"/>
      </p:ext>
    </p:extLst>
  </p:cSld>
  <p:clrMapOvr>
    <a:masterClrMapping/>
  </p:clrMapOvr>
</p:sldLayout>
</file>

<file path=ppt/slideLayouts/slideLayout25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8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62A15A-FF55-4226-93C9-8EE5BB3F5944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2/26/20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D4F316C-6D24-4AA5-9A96-0F7761484A51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94879587"/>
      </p:ext>
    </p:extLst>
  </p:cSld>
  <p:clrMapOvr>
    <a:masterClrMapping/>
  </p:clrMapOvr>
</p:sldLayout>
</file>

<file path=ppt/slideLayouts/slideLayout25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62A15A-FF55-4226-93C9-8EE5BB3F5944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2/26/20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D4F316C-6D24-4AA5-9A96-0F7761484A51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25647789"/>
      </p:ext>
    </p:extLst>
  </p:cSld>
  <p:clrMapOvr>
    <a:masterClrMapping/>
  </p:clrMapOvr>
</p:sldLayout>
</file>

<file path=ppt/slideLayouts/slideLayout25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1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62A15A-FF55-4226-93C9-8EE5BB3F5944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2/26/20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D4F316C-6D24-4AA5-9A96-0F7761484A51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7870460"/>
      </p:ext>
    </p:extLst>
  </p:cSld>
  <p:clrMapOvr>
    <a:masterClrMapping/>
  </p:clrMapOvr>
</p:sldLayout>
</file>

<file path=ppt/slideLayouts/slideLayout25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1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1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62A15A-FF55-4226-93C9-8EE5BB3F5944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2/26/20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D4F316C-6D24-4AA5-9A96-0F7761484A51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90344075"/>
      </p:ext>
    </p:extLst>
  </p:cSld>
  <p:clrMapOvr>
    <a:masterClrMapping/>
  </p:clrMapOvr>
</p:sldLayout>
</file>

<file path=ppt/slideLayouts/slideLayout25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9" y="1535113"/>
            <a:ext cx="4041775" cy="6397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9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62A15A-FF55-4226-93C9-8EE5BB3F5944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2/26/20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D4F316C-6D24-4AA5-9A96-0F7761484A51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43514698"/>
      </p:ext>
    </p:extLst>
  </p:cSld>
  <p:clrMapOvr>
    <a:masterClrMapping/>
  </p:clrMapOvr>
</p:sldLayout>
</file>

<file path=ppt/slideLayouts/slideLayout25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62A15A-FF55-4226-93C9-8EE5BB3F5944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2/26/20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D4F316C-6D24-4AA5-9A96-0F7761484A51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79449344"/>
      </p:ext>
    </p:extLst>
  </p:cSld>
  <p:clrMapOvr>
    <a:masterClrMapping/>
  </p:clrMapOvr>
</p:sldLayout>
</file>

<file path=ppt/slideLayouts/slideLayout25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62A15A-FF55-4226-93C9-8EE5BB3F5944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2/26/20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D4F316C-6D24-4AA5-9A96-0F7761484A51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40995870"/>
      </p:ext>
    </p:extLst>
  </p:cSld>
  <p:clrMapOvr>
    <a:masterClrMapping/>
  </p:clrMapOvr>
</p:sldLayout>
</file>

<file path=ppt/slideLayouts/slideLayout25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4" y="273049"/>
            <a:ext cx="3008313" cy="1162051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3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4" y="1435103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62A15A-FF55-4226-93C9-8EE5BB3F5944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2/26/20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D4F316C-6D24-4AA5-9A96-0F7761484A51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50109101"/>
      </p:ext>
    </p:extLst>
  </p:cSld>
  <p:clrMapOvr>
    <a:masterClrMapping/>
  </p:clrMapOvr>
</p:sldLayout>
</file>

<file path=ppt/slideLayouts/slideLayout25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1"/>
            <a:ext cx="5486400" cy="566739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9"/>
            <a:ext cx="5486400" cy="8048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62A15A-FF55-4226-93C9-8EE5BB3F5944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2/26/20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D4F316C-6D24-4AA5-9A96-0F7761484A51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88235764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AndObj" preserve="1">
  <p:cSld name="Title, Text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7813"/>
            <a:ext cx="8229600" cy="11398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IN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457200" y="1600200"/>
            <a:ext cx="4038600" cy="453072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N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3072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N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>
                <a:solidFill>
                  <a:srgbClr val="000000"/>
                </a:solidFill>
              </a:rPr>
              <a:t>CS511, Bing Liu, UIC</a:t>
            </a: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1143EAE2-7D02-4D03-9FC4-395745BA1E04}" type="slidenum">
              <a:rPr lang="en-US" alt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90200312"/>
      </p:ext>
    </p:extLst>
  </p:cSld>
  <p:clrMapOvr>
    <a:masterClrMapping/>
  </p:clrMapOvr>
  <p:transition/>
</p:sldLayout>
</file>

<file path=ppt/slideLayouts/slideLayout26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62A15A-FF55-4226-93C9-8EE5BB3F5944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2/26/20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D4F316C-6D24-4AA5-9A96-0F7761484A51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43612633"/>
      </p:ext>
    </p:extLst>
  </p:cSld>
  <p:clrMapOvr>
    <a:masterClrMapping/>
  </p:clrMapOvr>
</p:sldLayout>
</file>

<file path=ppt/slideLayouts/slideLayout26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40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40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62A15A-FF55-4226-93C9-8EE5BB3F5944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2/26/20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D4F316C-6D24-4AA5-9A96-0F7761484A51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98031430"/>
      </p:ext>
    </p:extLst>
  </p:cSld>
  <p:clrMapOvr>
    <a:masterClrMapping/>
  </p:clrMapOvr>
</p:sldLayout>
</file>

<file path=ppt/slideLayouts/slideLayout26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ody" type="tx">
  <p:cSld name="Title and body">
    <p:spTree>
      <p:nvGrpSpPr>
        <p:cNvPr id="1" name="Shape 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Shape 17"/>
          <p:cNvSpPr txBox="1">
            <a:spLocks noGrp="1"/>
          </p:cNvSpPr>
          <p:nvPr>
            <p:ph type="title"/>
          </p:nvPr>
        </p:nvSpPr>
        <p:spPr>
          <a:xfrm>
            <a:off x="311700" y="593367"/>
            <a:ext cx="8520600" cy="763600"/>
          </a:xfrm>
          <a:prstGeom prst="rect">
            <a:avLst/>
          </a:prstGeom>
        </p:spPr>
        <p:txBody>
          <a:bodyPr spcFirstLastPara="1" wrap="square" lIns="91425" tIns="91425" rIns="91425" bIns="91425" anchor="t" anchorCtr="0"/>
          <a:lstStyle>
            <a:lvl1pPr lv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18" name="Shape 18"/>
          <p:cNvSpPr txBox="1">
            <a:spLocks noGrp="1"/>
          </p:cNvSpPr>
          <p:nvPr>
            <p:ph type="body" idx="1"/>
          </p:nvPr>
        </p:nvSpPr>
        <p:spPr>
          <a:xfrm>
            <a:off x="311700" y="1536633"/>
            <a:ext cx="8520600" cy="4555200"/>
          </a:xfrm>
          <a:prstGeom prst="rect">
            <a:avLst/>
          </a:prstGeom>
        </p:spPr>
        <p:txBody>
          <a:bodyPr spcFirstLastPara="1" wrap="square" lIns="91425" tIns="91425" rIns="91425" bIns="91425" anchor="t" anchorCtr="0"/>
          <a:lstStyle>
            <a:lvl1pPr marL="457200" lvl="0" indent="-342900"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914400" lvl="1" indent="-317500">
              <a:spcBef>
                <a:spcPts val="160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>
              <a:spcBef>
                <a:spcPts val="160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>
              <a:spcBef>
                <a:spcPts val="160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>
              <a:spcBef>
                <a:spcPts val="160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>
              <a:spcBef>
                <a:spcPts val="160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>
              <a:spcBef>
                <a:spcPts val="160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>
              <a:spcBef>
                <a:spcPts val="160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>
              <a:spcBef>
                <a:spcPts val="1600"/>
              </a:spcBef>
              <a:spcAft>
                <a:spcPts val="160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19" name="Shape 19"/>
          <p:cNvSpPr txBox="1">
            <a:spLocks noGrp="1"/>
          </p:cNvSpPr>
          <p:nvPr>
            <p:ph type="sldNum" idx="12"/>
          </p:nvPr>
        </p:nvSpPr>
        <p:spPr>
          <a:xfrm>
            <a:off x="8472458" y="6217623"/>
            <a:ext cx="5487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00000000-1234-1234-1234-123412341234}" type="slidenum">
              <a:rPr lang="en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41650540"/>
      </p:ext>
    </p:extLst>
  </p:cSld>
  <p:clrMapOvr>
    <a:masterClrMapping/>
  </p:clrMapOvr>
</p:sldLayout>
</file>

<file path=ppt/slideLayouts/slideLayout26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en-US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en-US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01162884-C991-444E-96FF-ED1D32A67D07}" type="slidenum">
              <a:rPr lang="en-US" altLang="en-US">
                <a:solidFill>
                  <a:srgbClr val="000000"/>
                </a:solidFill>
              </a:rPr>
              <a:pPr/>
              <a:t>‹#›</a:t>
            </a:fld>
            <a:endParaRPr lang="en-US" alt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71845039"/>
      </p:ext>
    </p:extLst>
  </p:cSld>
  <p:clrMapOvr>
    <a:masterClrMapping/>
  </p:clrMapOvr>
</p:sldLayout>
</file>

<file path=ppt/slideLayouts/slideLayout26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en-US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en-US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AEBC7B30-B46D-40EE-B51D-8580A122B214}" type="slidenum">
              <a:rPr lang="en-US" altLang="en-US">
                <a:solidFill>
                  <a:srgbClr val="000000"/>
                </a:solidFill>
              </a:rPr>
              <a:pPr/>
              <a:t>‹#›</a:t>
            </a:fld>
            <a:endParaRPr lang="en-US" alt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10327565"/>
      </p:ext>
    </p:extLst>
  </p:cSld>
  <p:clrMapOvr>
    <a:masterClrMapping/>
  </p:clrMapOvr>
</p:sldLayout>
</file>

<file path=ppt/slideLayouts/slideLayout26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709738"/>
            <a:ext cx="78867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4589463"/>
            <a:ext cx="7886700" cy="1500187"/>
          </a:xfrm>
        </p:spPr>
        <p:txBody>
          <a:bodyPr/>
          <a:lstStyle>
            <a:lvl1pPr marL="0" indent="0">
              <a:buNone/>
              <a:defRPr sz="2400"/>
            </a:lvl1pPr>
            <a:lvl2pPr marL="457200" indent="0">
              <a:buNone/>
              <a:defRPr sz="2000"/>
            </a:lvl2pPr>
            <a:lvl3pPr marL="914400" indent="0">
              <a:buNone/>
              <a:defRPr sz="18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en-US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en-US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274D6B4E-0EC2-4D85-B6D0-08A435BFA16F}" type="slidenum">
              <a:rPr lang="en-US" altLang="en-US">
                <a:solidFill>
                  <a:srgbClr val="000000"/>
                </a:solidFill>
              </a:rPr>
              <a:pPr/>
              <a:t>‹#›</a:t>
            </a:fld>
            <a:endParaRPr lang="en-US" alt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25721495"/>
      </p:ext>
    </p:extLst>
  </p:cSld>
  <p:clrMapOvr>
    <a:masterClrMapping/>
  </p:clrMapOvr>
</p:sldLayout>
</file>

<file path=ppt/slideLayouts/slideLayout26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en-US">
              <a:solidFill>
                <a:srgbClr val="000000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en-US">
              <a:solidFill>
                <a:srgbClr val="000000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9B6D9849-7696-406C-8749-52BB7EF2754B}" type="slidenum">
              <a:rPr lang="en-US" altLang="en-US">
                <a:solidFill>
                  <a:srgbClr val="000000"/>
                </a:solidFill>
              </a:rPr>
              <a:pPr/>
              <a:t>‹#›</a:t>
            </a:fld>
            <a:endParaRPr lang="en-US" alt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41199558"/>
      </p:ext>
    </p:extLst>
  </p:cSld>
  <p:clrMapOvr>
    <a:masterClrMapping/>
  </p:clrMapOvr>
</p:sldLayout>
</file>

<file path=ppt/slideLayouts/slideLayout26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30238" y="365125"/>
            <a:ext cx="7886700" cy="132556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30238" y="1681163"/>
            <a:ext cx="386873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30238" y="2505075"/>
            <a:ext cx="3868737" cy="36845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7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788" cy="36845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en-US">
              <a:solidFill>
                <a:srgbClr val="000000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en-US">
              <a:solidFill>
                <a:srgbClr val="000000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4F873BA0-BFD3-4E5F-BE07-25606A41679C}" type="slidenum">
              <a:rPr lang="en-US" altLang="en-US">
                <a:solidFill>
                  <a:srgbClr val="000000"/>
                </a:solidFill>
              </a:rPr>
              <a:pPr/>
              <a:t>‹#›</a:t>
            </a:fld>
            <a:endParaRPr lang="en-US" alt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75314900"/>
      </p:ext>
    </p:extLst>
  </p:cSld>
  <p:clrMapOvr>
    <a:masterClrMapping/>
  </p:clrMapOvr>
</p:sldLayout>
</file>

<file path=ppt/slideLayouts/slideLayout26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en-US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en-US">
              <a:solidFill>
                <a:srgbClr val="000000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1408E024-5C28-477A-9696-AF0FC9EA0A0B}" type="slidenum">
              <a:rPr lang="en-US" altLang="en-US">
                <a:solidFill>
                  <a:srgbClr val="000000"/>
                </a:solidFill>
              </a:rPr>
              <a:pPr/>
              <a:t>‹#›</a:t>
            </a:fld>
            <a:endParaRPr lang="en-US" alt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17007308"/>
      </p:ext>
    </p:extLst>
  </p:cSld>
  <p:clrMapOvr>
    <a:masterClrMapping/>
  </p:clrMapOvr>
</p:sldLayout>
</file>

<file path=ppt/slideLayouts/slideLayout26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en-US">
              <a:solidFill>
                <a:srgbClr val="000000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en-US">
              <a:solidFill>
                <a:srgbClr val="000000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49683AB8-321E-4166-A27C-78ADF1EF8D39}" type="slidenum">
              <a:rPr lang="en-US" altLang="en-US">
                <a:solidFill>
                  <a:srgbClr val="000000"/>
                </a:solidFill>
              </a:rPr>
              <a:pPr/>
              <a:t>‹#›</a:t>
            </a:fld>
            <a:endParaRPr lang="en-US" alt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45116437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AndTwoObj" preserve="1">
  <p:cSld name="Title, Text, and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7813"/>
            <a:ext cx="8229600" cy="11398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IN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457200" y="1600200"/>
            <a:ext cx="4038600" cy="453072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N"/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4648200" y="1600200"/>
            <a:ext cx="4038600" cy="2189163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N"/>
          </a:p>
        </p:txBody>
      </p:sp>
      <p:sp>
        <p:nvSpPr>
          <p:cNvPr id="5" name="Content Placeholder 4"/>
          <p:cNvSpPr>
            <a:spLocks noGrp="1"/>
          </p:cNvSpPr>
          <p:nvPr>
            <p:ph sz="quarter" idx="3"/>
          </p:nvPr>
        </p:nvSpPr>
        <p:spPr>
          <a:xfrm>
            <a:off x="4648200" y="3941763"/>
            <a:ext cx="4038600" cy="2189162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N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>
                <a:solidFill>
                  <a:srgbClr val="000000"/>
                </a:solidFill>
              </a:rPr>
              <a:t>CS511, Bing Liu, UIC</a:t>
            </a: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9014ECF5-190B-4E6C-B633-072DB09CE96A}" type="slidenum">
              <a:rPr lang="en-US" alt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6666970"/>
      </p:ext>
    </p:extLst>
  </p:cSld>
  <p:clrMapOvr>
    <a:masterClrMapping/>
  </p:clrMapOvr>
  <p:transition/>
</p:sldLayout>
</file>

<file path=ppt/slideLayouts/slideLayout27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788" y="987425"/>
            <a:ext cx="462915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en-US">
              <a:solidFill>
                <a:srgbClr val="000000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en-US">
              <a:solidFill>
                <a:srgbClr val="000000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B63D55E7-B065-41B4-A535-3BABEF2C99D7}" type="slidenum">
              <a:rPr lang="en-US" altLang="en-US">
                <a:solidFill>
                  <a:srgbClr val="000000"/>
                </a:solidFill>
              </a:rPr>
              <a:pPr/>
              <a:t>‹#›</a:t>
            </a:fld>
            <a:endParaRPr lang="en-US" alt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62148950"/>
      </p:ext>
    </p:extLst>
  </p:cSld>
  <p:clrMapOvr>
    <a:masterClrMapping/>
  </p:clrMapOvr>
</p:sldLayout>
</file>

<file path=ppt/slideLayouts/slideLayout27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3887788" y="987425"/>
            <a:ext cx="462915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en-US">
              <a:solidFill>
                <a:srgbClr val="000000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en-US">
              <a:solidFill>
                <a:srgbClr val="000000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D071A217-E6D4-4BA3-942B-3D28DE5C87E4}" type="slidenum">
              <a:rPr lang="en-US" altLang="en-US">
                <a:solidFill>
                  <a:srgbClr val="000000"/>
                </a:solidFill>
              </a:rPr>
              <a:pPr/>
              <a:t>‹#›</a:t>
            </a:fld>
            <a:endParaRPr lang="en-US" alt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31577019"/>
      </p:ext>
    </p:extLst>
  </p:cSld>
  <p:clrMapOvr>
    <a:masterClrMapping/>
  </p:clrMapOvr>
</p:sldLayout>
</file>

<file path=ppt/slideLayouts/slideLayout27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en-US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en-US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FF0B0885-6C8D-410A-9873-64BDB4518444}" type="slidenum">
              <a:rPr lang="en-US" altLang="en-US">
                <a:solidFill>
                  <a:srgbClr val="000000"/>
                </a:solidFill>
              </a:rPr>
              <a:pPr/>
              <a:t>‹#›</a:t>
            </a:fld>
            <a:endParaRPr lang="en-US" alt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44596747"/>
      </p:ext>
    </p:extLst>
  </p:cSld>
  <p:clrMapOvr>
    <a:masterClrMapping/>
  </p:clrMapOvr>
</p:sldLayout>
</file>

<file path=ppt/slideLayouts/slideLayout27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en-US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en-US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83FDF6A6-E3D8-4F14-806F-B8B0398348EB}" type="slidenum">
              <a:rPr lang="en-US" altLang="en-US">
                <a:solidFill>
                  <a:srgbClr val="000000"/>
                </a:solidFill>
              </a:rPr>
              <a:pPr/>
              <a:t>‹#›</a:t>
            </a:fld>
            <a:endParaRPr lang="en-US" alt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78727364"/>
      </p:ext>
    </p:extLst>
  </p:cSld>
  <p:clrMapOvr>
    <a:masterClrMapping/>
  </p:clrMapOvr>
</p:sldLayout>
</file>

<file path=ppt/slideLayouts/slideLayout2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 3"/>
          <p:cNvSpPr>
            <a:spLocks noChangeArrowheads="1"/>
          </p:cNvSpPr>
          <p:nvPr/>
        </p:nvSpPr>
        <p:spPr bwMode="auto">
          <a:xfrm>
            <a:off x="609600" y="1219200"/>
            <a:ext cx="7924800" cy="914400"/>
          </a:xfrm>
          <a:custGeom>
            <a:avLst/>
            <a:gdLst/>
            <a:ahLst/>
            <a:cxnLst>
              <a:cxn ang="0">
                <a:pos x="0" y="1000"/>
              </a:cxn>
              <a:cxn ang="0">
                <a:pos x="0" y="0"/>
              </a:cxn>
              <a:cxn ang="0">
                <a:pos x="1000" y="0"/>
              </a:cxn>
            </a:cxnLst>
            <a:rect l="0" t="0" r="r" b="b"/>
            <a:pathLst>
              <a:path w="1000" h="1000">
                <a:moveTo>
                  <a:pt x="0" y="1000"/>
                </a:moveTo>
                <a:lnTo>
                  <a:pt x="0" y="0"/>
                </a:lnTo>
                <a:lnTo>
                  <a:pt x="1000" y="0"/>
                </a:lnTo>
              </a:path>
            </a:pathLst>
          </a:custGeom>
          <a:noFill/>
          <a:ln w="25400" cap="flat" cmpd="sng">
            <a:solidFill>
              <a:schemeClr val="accent1"/>
            </a:solidFill>
            <a:prstDash val="solid"/>
            <a:miter lim="800000"/>
            <a:headEnd/>
            <a:tailEnd/>
          </a:ln>
        </p:spPr>
        <p:txBody>
          <a:bodyPr/>
          <a:lstStyle/>
          <a:p>
            <a:pPr defTabSz="4572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IN" sz="18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" name="Line 8"/>
          <p:cNvSpPr>
            <a:spLocks noChangeShapeType="1"/>
          </p:cNvSpPr>
          <p:nvPr/>
        </p:nvSpPr>
        <p:spPr bwMode="auto">
          <a:xfrm>
            <a:off x="1981200" y="3962400"/>
            <a:ext cx="6511925" cy="0"/>
          </a:xfrm>
          <a:prstGeom prst="line">
            <a:avLst/>
          </a:prstGeom>
          <a:noFill/>
          <a:ln w="19050">
            <a:solidFill>
              <a:schemeClr val="accent1"/>
            </a:solidFill>
            <a:round/>
            <a:headEnd/>
            <a:tailEnd/>
          </a:ln>
          <a:effectLst/>
        </p:spPr>
        <p:txBody>
          <a:bodyPr/>
          <a:lstStyle/>
          <a:p>
            <a:pPr defTabSz="457200" eaLnBrk="1" fontAlgn="auto" hangingPunct="1">
              <a:spcBef>
                <a:spcPts val="0"/>
              </a:spcBef>
              <a:spcAft>
                <a:spcPts val="0"/>
              </a:spcAft>
              <a:buFont typeface="Wingdings" pitchFamily="-110" charset="2"/>
              <a:buChar char="n"/>
              <a:defRPr/>
            </a:pPr>
            <a:endParaRPr lang="en-IN" sz="18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42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914400" y="1524000"/>
            <a:ext cx="7623175" cy="1752600"/>
          </a:xfrm>
        </p:spPr>
        <p:txBody>
          <a:bodyPr/>
          <a:lstStyle>
            <a:lvl1pPr>
              <a:defRPr sz="5000"/>
            </a:lvl1pPr>
          </a:lstStyle>
          <a:p>
            <a:r>
              <a:rPr lang="en-US" altLang="en-US"/>
              <a:t>Click to edit Master title style</a:t>
            </a:r>
          </a:p>
        </p:txBody>
      </p:sp>
      <p:sp>
        <p:nvSpPr>
          <p:cNvPr id="542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981200" y="3962400"/>
            <a:ext cx="6553200" cy="1752600"/>
          </a:xfrm>
        </p:spPr>
        <p:txBody>
          <a:bodyPr/>
          <a:lstStyle>
            <a:lvl1pPr marL="0" indent="0">
              <a:buFont typeface="Wingdings" pitchFamily="-110" charset="2"/>
              <a:buNone/>
              <a:defRPr sz="2800"/>
            </a:lvl1pPr>
          </a:lstStyle>
          <a:p>
            <a:r>
              <a:rPr lang="en-US" altLang="en-US"/>
              <a:t>Click to edit Master subtitle style</a:t>
            </a:r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0"/>
          </p:nvPr>
        </p:nvSpPr>
        <p:spPr>
          <a:xfrm>
            <a:off x="685800" y="6243638"/>
            <a:ext cx="5334000" cy="457200"/>
          </a:xfrm>
        </p:spPr>
        <p:txBody>
          <a:bodyPr/>
          <a:lstStyle>
            <a:lvl1pPr algn="ctr">
              <a:defRPr/>
            </a:lvl1pPr>
          </a:lstStyle>
          <a:p>
            <a:pPr>
              <a:defRPr/>
            </a:pPr>
            <a:r>
              <a:rPr lang="en-US" altLang="en-US">
                <a:solidFill>
                  <a:srgbClr val="000000"/>
                </a:solidFill>
              </a:rPr>
              <a:t>CS511, Bing Liu, UIC</a:t>
            </a: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490C229F-A206-44FE-818F-AC6C394AABE4}" type="slidenum">
              <a:rPr lang="en-US" alt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19248506"/>
      </p:ext>
    </p:extLst>
  </p:cSld>
  <p:clrMapOvr>
    <a:masterClrMapping/>
  </p:clrMapOvr>
  <p:transition/>
</p:sldLayout>
</file>

<file path=ppt/slideLayouts/slideLayout2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IN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N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>
                <a:solidFill>
                  <a:srgbClr val="000000"/>
                </a:solidFill>
              </a:rPr>
              <a:t>CS511, Bing Liu, UIC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9D3AC3A4-A827-4FE8-9ABD-FFBE5D96B8FE}" type="slidenum">
              <a:rPr lang="en-US" alt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25997192"/>
      </p:ext>
    </p:extLst>
  </p:cSld>
  <p:clrMapOvr>
    <a:masterClrMapping/>
  </p:clrMapOvr>
  <p:transition/>
</p:sldLayout>
</file>

<file path=ppt/slideLayouts/slideLayout2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IN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>
                <a:solidFill>
                  <a:srgbClr val="000000"/>
                </a:solidFill>
              </a:rPr>
              <a:t>CS511, Bing Liu, UIC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BB91AB84-5A70-4279-945C-FCCB612BE6B2}" type="slidenum">
              <a:rPr lang="en-US" alt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35901810"/>
      </p:ext>
    </p:extLst>
  </p:cSld>
  <p:clrMapOvr>
    <a:masterClrMapping/>
  </p:clrMapOvr>
  <p:transition/>
</p:sldLayout>
</file>

<file path=ppt/slideLayouts/slideLayout2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IN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3072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N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3072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N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>
                <a:solidFill>
                  <a:srgbClr val="000000"/>
                </a:solidFill>
              </a:rPr>
              <a:t>CS511, Bing Liu, UIC</a:t>
            </a: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CAFEF37A-DED4-4A03-B936-6FF9BDB5F9C8}" type="slidenum">
              <a:rPr lang="en-US" alt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65361826"/>
      </p:ext>
    </p:extLst>
  </p:cSld>
  <p:clrMapOvr>
    <a:masterClrMapping/>
  </p:clrMapOvr>
  <p:transition/>
</p:sldLayout>
</file>

<file path=ppt/slideLayouts/slideLayout2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IN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N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N"/>
          </a:p>
        </p:txBody>
      </p:sp>
      <p:sp>
        <p:nvSpPr>
          <p:cNvPr id="7" name="Rectangle 5"/>
          <p:cNvSpPr>
            <a:spLocks noGrp="1" noChangeArrowheads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>
                <a:solidFill>
                  <a:srgbClr val="000000"/>
                </a:solidFill>
              </a:rPr>
              <a:t>CS511, Bing Liu, UIC</a:t>
            </a:r>
          </a:p>
        </p:txBody>
      </p:sp>
      <p:sp>
        <p:nvSpPr>
          <p:cNvPr id="8" name="Rectangle 6"/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72689A43-FB61-48BD-BF45-B1E2C804186E}" type="slidenum">
              <a:rPr lang="en-US" alt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5615903"/>
      </p:ext>
    </p:extLst>
  </p:cSld>
  <p:clrMapOvr>
    <a:masterClrMapping/>
  </p:clrMapOvr>
  <p:transition/>
</p:sldLayout>
</file>

<file path=ppt/slideLayouts/slideLayout2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IN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>
                <a:solidFill>
                  <a:srgbClr val="000000"/>
                </a:solidFill>
              </a:rPr>
              <a:t>CS511, Bing Liu, UIC</a:t>
            </a: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1C2265EB-9187-4253-BA67-40389D30363B}" type="slidenum">
              <a:rPr lang="en-US" alt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53702854"/>
      </p:ext>
    </p:extLst>
  </p:cSld>
  <p:clrMapOvr>
    <a:masterClrMapping/>
  </p:clrMapOvr>
  <p:transition/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fourObj" preserve="1">
  <p:cSld name="Title and 4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sz="quarter"/>
          </p:nvPr>
        </p:nvSpPr>
        <p:spPr>
          <a:xfrm>
            <a:off x="457200" y="277813"/>
            <a:ext cx="8229600" cy="11398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IN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"/>
          </p:nvPr>
        </p:nvSpPr>
        <p:spPr>
          <a:xfrm>
            <a:off x="457200" y="1600200"/>
            <a:ext cx="4038600" cy="2189163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N"/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4648200" y="1600200"/>
            <a:ext cx="4038600" cy="2189163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N"/>
          </a:p>
        </p:txBody>
      </p:sp>
      <p:sp>
        <p:nvSpPr>
          <p:cNvPr id="5" name="Content Placeholder 4"/>
          <p:cNvSpPr>
            <a:spLocks noGrp="1"/>
          </p:cNvSpPr>
          <p:nvPr>
            <p:ph sz="quarter" idx="3"/>
          </p:nvPr>
        </p:nvSpPr>
        <p:spPr>
          <a:xfrm>
            <a:off x="457200" y="3941763"/>
            <a:ext cx="4038600" cy="2189162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N"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8200" y="3941763"/>
            <a:ext cx="4038600" cy="2189162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N"/>
          </a:p>
        </p:txBody>
      </p:sp>
      <p:sp>
        <p:nvSpPr>
          <p:cNvPr id="7" name="Rectangle 5"/>
          <p:cNvSpPr>
            <a:spLocks noGrp="1" noChangeArrowheads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>
                <a:solidFill>
                  <a:srgbClr val="000000"/>
                </a:solidFill>
              </a:rPr>
              <a:t>CS511, Bing Liu, UIC</a:t>
            </a:r>
          </a:p>
        </p:txBody>
      </p:sp>
      <p:sp>
        <p:nvSpPr>
          <p:cNvPr id="8" name="Rectangle 6"/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0043C86C-71F0-47A6-92A2-8C8870A0D251}" type="slidenum">
              <a:rPr lang="en-US" alt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57070724"/>
      </p:ext>
    </p:extLst>
  </p:cSld>
  <p:clrMapOvr>
    <a:masterClrMapping/>
  </p:clrMapOvr>
  <p:transition/>
</p:sldLayout>
</file>

<file path=ppt/slideLayouts/slideLayout2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5"/>
          <p:cNvSpPr>
            <a:spLocks noGrp="1" noChangeArrowheads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>
                <a:solidFill>
                  <a:srgbClr val="000000"/>
                </a:solidFill>
              </a:rPr>
              <a:t>CS511, Bing Liu, UIC</a:t>
            </a:r>
          </a:p>
        </p:txBody>
      </p:sp>
      <p:sp>
        <p:nvSpPr>
          <p:cNvPr id="3" name="Rectangle 6"/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DCCBAB86-2559-4979-BC5C-6624838BCC61}" type="slidenum">
              <a:rPr lang="en-US" alt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40654878"/>
      </p:ext>
    </p:extLst>
  </p:cSld>
  <p:clrMapOvr>
    <a:masterClrMapping/>
  </p:clrMapOvr>
  <p:transition/>
</p:sldLayout>
</file>

<file path=ppt/slideLayouts/slideLayout2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IN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N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>
                <a:solidFill>
                  <a:srgbClr val="000000"/>
                </a:solidFill>
              </a:rPr>
              <a:t>CS511, Bing Liu, UIC</a:t>
            </a: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F66E5244-5893-4231-818B-AEC1CE7CDB01}" type="slidenum">
              <a:rPr lang="en-US" alt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13738890"/>
      </p:ext>
    </p:extLst>
  </p:cSld>
  <p:clrMapOvr>
    <a:masterClrMapping/>
  </p:clrMapOvr>
  <p:transition/>
</p:sldLayout>
</file>

<file path=ppt/slideLayouts/slideLayout2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IN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IN" noProof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>
                <a:solidFill>
                  <a:srgbClr val="000000"/>
                </a:solidFill>
              </a:rPr>
              <a:t>CS511, Bing Liu, UIC</a:t>
            </a: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EAF86C8D-9235-4AB4-92FE-64BECED8BA76}" type="slidenum">
              <a:rPr lang="en-US" alt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9518279"/>
      </p:ext>
    </p:extLst>
  </p:cSld>
  <p:clrMapOvr>
    <a:masterClrMapping/>
  </p:clrMapOvr>
  <p:transition/>
</p:sldLayout>
</file>

<file path=ppt/slideLayouts/slideLayout2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IN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N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>
                <a:solidFill>
                  <a:srgbClr val="000000"/>
                </a:solidFill>
              </a:rPr>
              <a:t>CS511, Bing Liu, UIC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16DF0F3C-951C-4970-9587-52F4CF2E7A74}" type="slidenum">
              <a:rPr lang="en-US" alt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74150057"/>
      </p:ext>
    </p:extLst>
  </p:cSld>
  <p:clrMapOvr>
    <a:masterClrMapping/>
  </p:clrMapOvr>
  <p:transition/>
</p:sldLayout>
</file>

<file path=ppt/slideLayouts/slideLayout2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7813"/>
            <a:ext cx="2057400" cy="5853112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IN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7813"/>
            <a:ext cx="6019800" cy="5853112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N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>
                <a:solidFill>
                  <a:srgbClr val="000000"/>
                </a:solidFill>
              </a:rPr>
              <a:t>CS511, Bing Liu, UIC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7EE85C64-7142-4E8A-A23F-AA9A0778058F}" type="slidenum">
              <a:rPr lang="en-US" alt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30859419"/>
      </p:ext>
    </p:extLst>
  </p:cSld>
  <p:clrMapOvr>
    <a:masterClrMapping/>
  </p:clrMapOvr>
  <p:transition/>
</p:sldLayout>
</file>

<file path=ppt/slideLayouts/slideLayout2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AndObj" preserve="1">
  <p:cSld name="Title, Text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7813"/>
            <a:ext cx="8229600" cy="11398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IN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457200" y="1600200"/>
            <a:ext cx="4038600" cy="453072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N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3072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N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>
                <a:solidFill>
                  <a:srgbClr val="000000"/>
                </a:solidFill>
              </a:rPr>
              <a:t>CS511, Bing Liu, UIC</a:t>
            </a: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1143EAE2-7D02-4D03-9FC4-395745BA1E04}" type="slidenum">
              <a:rPr lang="en-US" alt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50248206"/>
      </p:ext>
    </p:extLst>
  </p:cSld>
  <p:clrMapOvr>
    <a:masterClrMapping/>
  </p:clrMapOvr>
  <p:transition/>
</p:sldLayout>
</file>

<file path=ppt/slideLayouts/slideLayout2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AndTwoObj" preserve="1">
  <p:cSld name="Title, Text, and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7813"/>
            <a:ext cx="8229600" cy="11398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IN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457200" y="1600200"/>
            <a:ext cx="4038600" cy="453072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N"/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4648200" y="1600200"/>
            <a:ext cx="4038600" cy="2189163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N"/>
          </a:p>
        </p:txBody>
      </p:sp>
      <p:sp>
        <p:nvSpPr>
          <p:cNvPr id="5" name="Content Placeholder 4"/>
          <p:cNvSpPr>
            <a:spLocks noGrp="1"/>
          </p:cNvSpPr>
          <p:nvPr>
            <p:ph sz="quarter" idx="3"/>
          </p:nvPr>
        </p:nvSpPr>
        <p:spPr>
          <a:xfrm>
            <a:off x="4648200" y="3941763"/>
            <a:ext cx="4038600" cy="2189162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N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>
                <a:solidFill>
                  <a:srgbClr val="000000"/>
                </a:solidFill>
              </a:rPr>
              <a:t>CS511, Bing Liu, UIC</a:t>
            </a: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9014ECF5-190B-4E6C-B633-072DB09CE96A}" type="slidenum">
              <a:rPr lang="en-US" alt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21988350"/>
      </p:ext>
    </p:extLst>
  </p:cSld>
  <p:clrMapOvr>
    <a:masterClrMapping/>
  </p:clrMapOvr>
  <p:transition/>
</p:sldLayout>
</file>

<file path=ppt/slideLayouts/slideLayout2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fourObj" preserve="1">
  <p:cSld name="Title and 4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sz="quarter"/>
          </p:nvPr>
        </p:nvSpPr>
        <p:spPr>
          <a:xfrm>
            <a:off x="457200" y="277813"/>
            <a:ext cx="8229600" cy="11398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IN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"/>
          </p:nvPr>
        </p:nvSpPr>
        <p:spPr>
          <a:xfrm>
            <a:off x="457200" y="1600200"/>
            <a:ext cx="4038600" cy="2189163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N"/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4648200" y="1600200"/>
            <a:ext cx="4038600" cy="2189163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N"/>
          </a:p>
        </p:txBody>
      </p:sp>
      <p:sp>
        <p:nvSpPr>
          <p:cNvPr id="5" name="Content Placeholder 4"/>
          <p:cNvSpPr>
            <a:spLocks noGrp="1"/>
          </p:cNvSpPr>
          <p:nvPr>
            <p:ph sz="quarter" idx="3"/>
          </p:nvPr>
        </p:nvSpPr>
        <p:spPr>
          <a:xfrm>
            <a:off x="457200" y="3941763"/>
            <a:ext cx="4038600" cy="2189162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N"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8200" y="3941763"/>
            <a:ext cx="4038600" cy="2189162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N"/>
          </a:p>
        </p:txBody>
      </p:sp>
      <p:sp>
        <p:nvSpPr>
          <p:cNvPr id="7" name="Rectangle 5"/>
          <p:cNvSpPr>
            <a:spLocks noGrp="1" noChangeArrowheads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>
                <a:solidFill>
                  <a:srgbClr val="000000"/>
                </a:solidFill>
              </a:rPr>
              <a:t>CS511, Bing Liu, UIC</a:t>
            </a:r>
          </a:p>
        </p:txBody>
      </p:sp>
      <p:sp>
        <p:nvSpPr>
          <p:cNvPr id="8" name="Rectangle 6"/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0043C86C-71F0-47A6-92A2-8C8870A0D251}" type="slidenum">
              <a:rPr lang="en-US" alt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33414355"/>
      </p:ext>
    </p:extLst>
  </p:cSld>
  <p:clrMapOvr>
    <a:masterClrMapping/>
  </p:clrMapOvr>
  <p:transition/>
</p:sldLayout>
</file>

<file path=ppt/slideLayouts/slideLayout2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bl" preserve="1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7813"/>
            <a:ext cx="8229600" cy="11398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IN"/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457200" y="1600200"/>
            <a:ext cx="8229600" cy="4530725"/>
          </a:xfrm>
        </p:spPr>
        <p:txBody>
          <a:bodyPr/>
          <a:lstStyle/>
          <a:p>
            <a:pPr lvl="0"/>
            <a:endParaRPr lang="en-IN" noProof="0" smtClean="0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>
                <a:solidFill>
                  <a:srgbClr val="000000"/>
                </a:solidFill>
              </a:rPr>
              <a:t>CS511, Bing Liu, UIC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D00D928E-5DB7-4617-AC9D-224027C0779B}" type="slidenum">
              <a:rPr lang="en-US" alt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14727540"/>
      </p:ext>
    </p:extLst>
  </p:cSld>
  <p:clrMapOvr>
    <a:masterClrMapping/>
  </p:clrMapOvr>
  <p:transition/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bl" preserve="1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7813"/>
            <a:ext cx="8229600" cy="11398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IN"/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457200" y="1600200"/>
            <a:ext cx="8229600" cy="4530725"/>
          </a:xfrm>
        </p:spPr>
        <p:txBody>
          <a:bodyPr/>
          <a:lstStyle/>
          <a:p>
            <a:pPr lvl="0"/>
            <a:endParaRPr lang="en-IN" noProof="0" smtClean="0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>
                <a:solidFill>
                  <a:srgbClr val="000000"/>
                </a:solidFill>
              </a:rPr>
              <a:t>CS511, Bing Liu, UIC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D00D928E-5DB7-4617-AC9D-224027C0779B}" type="slidenum">
              <a:rPr lang="en-US" alt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28240571"/>
      </p:ext>
    </p:extLst>
  </p:cSld>
  <p:clrMapOvr>
    <a:masterClrMapping/>
  </p:clrMapOvr>
  <p:transition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IN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8413B55E-C1EF-468E-8F6C-A8D63E934D28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639178299"/>
      </p:ext>
    </p:extLst>
  </p:cSld>
  <p:clrMapOvr>
    <a:masterClrMapping/>
  </p:clrMapOvr>
  <p:transition/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 3"/>
          <p:cNvSpPr>
            <a:spLocks noChangeArrowheads="1"/>
          </p:cNvSpPr>
          <p:nvPr/>
        </p:nvSpPr>
        <p:spPr bwMode="auto">
          <a:xfrm>
            <a:off x="609600" y="1219200"/>
            <a:ext cx="7924800" cy="914400"/>
          </a:xfrm>
          <a:custGeom>
            <a:avLst/>
            <a:gdLst/>
            <a:ahLst/>
            <a:cxnLst>
              <a:cxn ang="0">
                <a:pos x="0" y="1000"/>
              </a:cxn>
              <a:cxn ang="0">
                <a:pos x="0" y="0"/>
              </a:cxn>
              <a:cxn ang="0">
                <a:pos x="1000" y="0"/>
              </a:cxn>
            </a:cxnLst>
            <a:rect l="0" t="0" r="r" b="b"/>
            <a:pathLst>
              <a:path w="1000" h="1000">
                <a:moveTo>
                  <a:pt x="0" y="1000"/>
                </a:moveTo>
                <a:lnTo>
                  <a:pt x="0" y="0"/>
                </a:lnTo>
                <a:lnTo>
                  <a:pt x="1000" y="0"/>
                </a:lnTo>
              </a:path>
            </a:pathLst>
          </a:custGeom>
          <a:noFill/>
          <a:ln w="25400" cap="flat" cmpd="sng">
            <a:solidFill>
              <a:schemeClr val="accent1"/>
            </a:solidFill>
            <a:prstDash val="solid"/>
            <a:miter lim="800000"/>
            <a:headEnd/>
            <a:tailEnd/>
          </a:ln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IN" sz="18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" name="Line 8"/>
          <p:cNvSpPr>
            <a:spLocks noChangeShapeType="1"/>
          </p:cNvSpPr>
          <p:nvPr/>
        </p:nvSpPr>
        <p:spPr bwMode="auto">
          <a:xfrm>
            <a:off x="1981200" y="3962400"/>
            <a:ext cx="6511925" cy="0"/>
          </a:xfrm>
          <a:prstGeom prst="line">
            <a:avLst/>
          </a:prstGeom>
          <a:noFill/>
          <a:ln w="19050">
            <a:solidFill>
              <a:schemeClr val="accent1"/>
            </a:solidFill>
            <a:round/>
            <a:headEnd/>
            <a:tailEnd/>
          </a:ln>
          <a:effectLst/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buFont typeface="Wingdings" pitchFamily="-110" charset="2"/>
              <a:buChar char="n"/>
              <a:defRPr/>
            </a:pPr>
            <a:endParaRPr lang="en-IN" sz="18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42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914400" y="1524000"/>
            <a:ext cx="7623175" cy="1752600"/>
          </a:xfrm>
        </p:spPr>
        <p:txBody>
          <a:bodyPr/>
          <a:lstStyle>
            <a:lvl1pPr>
              <a:defRPr sz="5000"/>
            </a:lvl1pPr>
          </a:lstStyle>
          <a:p>
            <a:r>
              <a:rPr lang="en-US" altLang="en-US"/>
              <a:t>Click to edit Master title style</a:t>
            </a:r>
          </a:p>
        </p:txBody>
      </p:sp>
      <p:sp>
        <p:nvSpPr>
          <p:cNvPr id="542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981200" y="3962400"/>
            <a:ext cx="6553200" cy="1752600"/>
          </a:xfrm>
        </p:spPr>
        <p:txBody>
          <a:bodyPr/>
          <a:lstStyle>
            <a:lvl1pPr marL="0" indent="0">
              <a:buFont typeface="Wingdings" pitchFamily="-110" charset="2"/>
              <a:buNone/>
              <a:defRPr sz="2800"/>
            </a:lvl1pPr>
          </a:lstStyle>
          <a:p>
            <a:r>
              <a:rPr lang="en-US" altLang="en-US"/>
              <a:t>Click to edit Master subtitle style</a:t>
            </a:r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0"/>
          </p:nvPr>
        </p:nvSpPr>
        <p:spPr>
          <a:xfrm>
            <a:off x="685800" y="6243638"/>
            <a:ext cx="5334000" cy="457200"/>
          </a:xfrm>
        </p:spPr>
        <p:txBody>
          <a:bodyPr/>
          <a:lstStyle>
            <a:lvl1pPr algn="ctr">
              <a:defRPr/>
            </a:lvl1pPr>
          </a:lstStyle>
          <a:p>
            <a:pPr>
              <a:defRPr/>
            </a:pPr>
            <a:r>
              <a:rPr lang="en-US" altLang="en-US">
                <a:solidFill>
                  <a:srgbClr val="000000"/>
                </a:solidFill>
              </a:rPr>
              <a:t>CS511, Bing Liu, UIC</a:t>
            </a: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490C229F-A206-44FE-818F-AC6C394AABE4}" type="slidenum">
              <a:rPr lang="en-US" alt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86411182"/>
      </p:ext>
    </p:extLst>
  </p:cSld>
  <p:clrMapOvr>
    <a:masterClrMapping/>
  </p:clrMapOvr>
  <p:transition/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IN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N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>
                <a:solidFill>
                  <a:srgbClr val="000000"/>
                </a:solidFill>
              </a:rPr>
              <a:t>CS511, Bing Liu, UIC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9D3AC3A4-A827-4FE8-9ABD-FFBE5D96B8FE}" type="slidenum">
              <a:rPr lang="en-US" alt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84841644"/>
      </p:ext>
    </p:extLst>
  </p:cSld>
  <p:clrMapOvr>
    <a:masterClrMapping/>
  </p:clrMapOvr>
  <p:transition/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IN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>
                <a:solidFill>
                  <a:srgbClr val="000000"/>
                </a:solidFill>
              </a:rPr>
              <a:t>CS511, Bing Liu, UIC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BB91AB84-5A70-4279-945C-FCCB612BE6B2}" type="slidenum">
              <a:rPr lang="en-US" alt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63756739"/>
      </p:ext>
    </p:extLst>
  </p:cSld>
  <p:clrMapOvr>
    <a:masterClrMapping/>
  </p:clrMapOvr>
  <p:transition/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IN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3072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N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3072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N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>
                <a:solidFill>
                  <a:srgbClr val="000000"/>
                </a:solidFill>
              </a:rPr>
              <a:t>CS511, Bing Liu, UIC</a:t>
            </a: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CAFEF37A-DED4-4A03-B936-6FF9BDB5F9C8}" type="slidenum">
              <a:rPr lang="en-US" alt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73592493"/>
      </p:ext>
    </p:extLst>
  </p:cSld>
  <p:clrMapOvr>
    <a:masterClrMapping/>
  </p:clrMapOvr>
  <p:transition/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IN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N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N"/>
          </a:p>
        </p:txBody>
      </p:sp>
      <p:sp>
        <p:nvSpPr>
          <p:cNvPr id="7" name="Rectangle 5"/>
          <p:cNvSpPr>
            <a:spLocks noGrp="1" noChangeArrowheads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>
                <a:solidFill>
                  <a:srgbClr val="000000"/>
                </a:solidFill>
              </a:rPr>
              <a:t>CS511, Bing Liu, UIC</a:t>
            </a:r>
          </a:p>
        </p:txBody>
      </p:sp>
      <p:sp>
        <p:nvSpPr>
          <p:cNvPr id="8" name="Rectangle 6"/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72689A43-FB61-48BD-BF45-B1E2C804186E}" type="slidenum">
              <a:rPr lang="en-US" alt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24698461"/>
      </p:ext>
    </p:extLst>
  </p:cSld>
  <p:clrMapOvr>
    <a:masterClrMapping/>
  </p:clrMapOvr>
  <p:transition/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IN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>
                <a:solidFill>
                  <a:srgbClr val="000000"/>
                </a:solidFill>
              </a:rPr>
              <a:t>CS511, Bing Liu, UIC</a:t>
            </a: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1C2265EB-9187-4253-BA67-40389D30363B}" type="slidenum">
              <a:rPr lang="en-US" alt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06763343"/>
      </p:ext>
    </p:extLst>
  </p:cSld>
  <p:clrMapOvr>
    <a:masterClrMapping/>
  </p:clrMapOvr>
  <p:transition/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5"/>
          <p:cNvSpPr>
            <a:spLocks noGrp="1" noChangeArrowheads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>
                <a:solidFill>
                  <a:srgbClr val="000000"/>
                </a:solidFill>
              </a:rPr>
              <a:t>CS511, Bing Liu, UIC</a:t>
            </a:r>
          </a:p>
        </p:txBody>
      </p:sp>
      <p:sp>
        <p:nvSpPr>
          <p:cNvPr id="3" name="Rectangle 6"/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DCCBAB86-2559-4979-BC5C-6624838BCC61}" type="slidenum">
              <a:rPr lang="en-US" alt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47967587"/>
      </p:ext>
    </p:extLst>
  </p:cSld>
  <p:clrMapOvr>
    <a:masterClrMapping/>
  </p:clrMapOvr>
  <p:transition/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IN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N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>
                <a:solidFill>
                  <a:srgbClr val="000000"/>
                </a:solidFill>
              </a:rPr>
              <a:t>CS511, Bing Liu, UIC</a:t>
            </a: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F66E5244-5893-4231-818B-AEC1CE7CDB01}" type="slidenum">
              <a:rPr lang="en-US" alt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05485723"/>
      </p:ext>
    </p:extLst>
  </p:cSld>
  <p:clrMapOvr>
    <a:masterClrMapping/>
  </p:clrMapOvr>
  <p:transition/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IN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IN" noProof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>
                <a:solidFill>
                  <a:srgbClr val="000000"/>
                </a:solidFill>
              </a:rPr>
              <a:t>CS511, Bing Liu, UIC</a:t>
            </a: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EAF86C8D-9235-4AB4-92FE-64BECED8BA76}" type="slidenum">
              <a:rPr lang="en-US" alt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71122964"/>
      </p:ext>
    </p:extLst>
  </p:cSld>
  <p:clrMapOvr>
    <a:masterClrMapping/>
  </p:clrMapOvr>
  <p:transition/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IN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N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>
                <a:solidFill>
                  <a:srgbClr val="000000"/>
                </a:solidFill>
              </a:rPr>
              <a:t>CS511, Bing Liu, UIC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16DF0F3C-951C-4970-9587-52F4CF2E7A74}" type="slidenum">
              <a:rPr lang="en-US" alt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42470736"/>
      </p:ext>
    </p:extLst>
  </p:cSld>
  <p:clrMapOvr>
    <a:masterClrMapping/>
  </p:clrMapOvr>
  <p:transition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IN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N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N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B258528B-294A-45E9-86EE-BDD36E99B980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745468287"/>
      </p:ext>
    </p:extLst>
  </p:cSld>
  <p:clrMapOvr>
    <a:masterClrMapping/>
  </p:clrMapOvr>
  <p:transition/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7813"/>
            <a:ext cx="2057400" cy="5853112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IN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7813"/>
            <a:ext cx="6019800" cy="5853112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N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>
                <a:solidFill>
                  <a:srgbClr val="000000"/>
                </a:solidFill>
              </a:rPr>
              <a:t>CS511, Bing Liu, UIC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7EE85C64-7142-4E8A-A23F-AA9A0778058F}" type="slidenum">
              <a:rPr lang="en-US" alt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19555450"/>
      </p:ext>
    </p:extLst>
  </p:cSld>
  <p:clrMapOvr>
    <a:masterClrMapping/>
  </p:clrMapOvr>
  <p:transition/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AndObj" preserve="1">
  <p:cSld name="Title, Text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7813"/>
            <a:ext cx="8229600" cy="11398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IN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457200" y="1600200"/>
            <a:ext cx="4038600" cy="453072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N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3072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N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>
                <a:solidFill>
                  <a:srgbClr val="000000"/>
                </a:solidFill>
              </a:rPr>
              <a:t>CS511, Bing Liu, UIC</a:t>
            </a: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1143EAE2-7D02-4D03-9FC4-395745BA1E04}" type="slidenum">
              <a:rPr lang="en-US" alt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10339016"/>
      </p:ext>
    </p:extLst>
  </p:cSld>
  <p:clrMapOvr>
    <a:masterClrMapping/>
  </p:clrMapOvr>
  <p:transition/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AndTwoObj" preserve="1">
  <p:cSld name="Title, Text, and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7813"/>
            <a:ext cx="8229600" cy="11398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IN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457200" y="1600200"/>
            <a:ext cx="4038600" cy="453072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N"/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4648200" y="1600200"/>
            <a:ext cx="4038600" cy="2189163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N"/>
          </a:p>
        </p:txBody>
      </p:sp>
      <p:sp>
        <p:nvSpPr>
          <p:cNvPr id="5" name="Content Placeholder 4"/>
          <p:cNvSpPr>
            <a:spLocks noGrp="1"/>
          </p:cNvSpPr>
          <p:nvPr>
            <p:ph sz="quarter" idx="3"/>
          </p:nvPr>
        </p:nvSpPr>
        <p:spPr>
          <a:xfrm>
            <a:off x="4648200" y="3941763"/>
            <a:ext cx="4038600" cy="2189162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N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>
                <a:solidFill>
                  <a:srgbClr val="000000"/>
                </a:solidFill>
              </a:rPr>
              <a:t>CS511, Bing Liu, UIC</a:t>
            </a: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9014ECF5-190B-4E6C-B633-072DB09CE96A}" type="slidenum">
              <a:rPr lang="en-US" alt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46068594"/>
      </p:ext>
    </p:extLst>
  </p:cSld>
  <p:clrMapOvr>
    <a:masterClrMapping/>
  </p:clrMapOvr>
  <p:transition/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fourObj" preserve="1">
  <p:cSld name="Title and 4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sz="quarter"/>
          </p:nvPr>
        </p:nvSpPr>
        <p:spPr>
          <a:xfrm>
            <a:off x="457200" y="277813"/>
            <a:ext cx="8229600" cy="11398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IN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"/>
          </p:nvPr>
        </p:nvSpPr>
        <p:spPr>
          <a:xfrm>
            <a:off x="457200" y="1600200"/>
            <a:ext cx="4038600" cy="2189163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N"/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4648200" y="1600200"/>
            <a:ext cx="4038600" cy="2189163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N"/>
          </a:p>
        </p:txBody>
      </p:sp>
      <p:sp>
        <p:nvSpPr>
          <p:cNvPr id="5" name="Content Placeholder 4"/>
          <p:cNvSpPr>
            <a:spLocks noGrp="1"/>
          </p:cNvSpPr>
          <p:nvPr>
            <p:ph sz="quarter" idx="3"/>
          </p:nvPr>
        </p:nvSpPr>
        <p:spPr>
          <a:xfrm>
            <a:off x="457200" y="3941763"/>
            <a:ext cx="4038600" cy="2189162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N"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8200" y="3941763"/>
            <a:ext cx="4038600" cy="2189162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N"/>
          </a:p>
        </p:txBody>
      </p:sp>
      <p:sp>
        <p:nvSpPr>
          <p:cNvPr id="7" name="Rectangle 5"/>
          <p:cNvSpPr>
            <a:spLocks noGrp="1" noChangeArrowheads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>
                <a:solidFill>
                  <a:srgbClr val="000000"/>
                </a:solidFill>
              </a:rPr>
              <a:t>CS511, Bing Liu, UIC</a:t>
            </a:r>
          </a:p>
        </p:txBody>
      </p:sp>
      <p:sp>
        <p:nvSpPr>
          <p:cNvPr id="8" name="Rectangle 6"/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0043C86C-71F0-47A6-92A2-8C8870A0D251}" type="slidenum">
              <a:rPr lang="en-US" alt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7088735"/>
      </p:ext>
    </p:extLst>
  </p:cSld>
  <p:clrMapOvr>
    <a:masterClrMapping/>
  </p:clrMapOvr>
  <p:transition/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bl" preserve="1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7813"/>
            <a:ext cx="8229600" cy="11398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IN"/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457200" y="1600200"/>
            <a:ext cx="8229600" cy="4530725"/>
          </a:xfrm>
        </p:spPr>
        <p:txBody>
          <a:bodyPr/>
          <a:lstStyle/>
          <a:p>
            <a:pPr lvl="0"/>
            <a:endParaRPr lang="en-IN" noProof="0" smtClean="0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>
                <a:solidFill>
                  <a:srgbClr val="000000"/>
                </a:solidFill>
              </a:rPr>
              <a:t>CS511, Bing Liu, UIC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D00D928E-5DB7-4617-AC9D-224027C0779B}" type="slidenum">
              <a:rPr lang="en-US" alt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37818568"/>
      </p:ext>
    </p:extLst>
  </p:cSld>
  <p:clrMapOvr>
    <a:masterClrMapping/>
  </p:clrMapOvr>
  <p:transition/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" type="title">
  <p:cSld name="Title slide"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Google Shape;10;p2"/>
          <p:cNvSpPr txBox="1">
            <a:spLocks noGrp="1"/>
          </p:cNvSpPr>
          <p:nvPr>
            <p:ph type="ctrTitle"/>
          </p:nvPr>
        </p:nvSpPr>
        <p:spPr>
          <a:xfrm>
            <a:off x="311708" y="992767"/>
            <a:ext cx="8520600" cy="2736800"/>
          </a:xfrm>
          <a:prstGeom prst="rect">
            <a:avLst/>
          </a:prstGeom>
        </p:spPr>
        <p:txBody>
          <a:bodyPr spcFirstLastPara="1" wrap="square" lIns="91425" tIns="91425" rIns="91425" bIns="91425" anchor="b" anchorCtr="0"/>
          <a:lstStyle>
            <a:lvl1pPr lvl="0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1pPr>
            <a:lvl2pPr lvl="1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2pPr>
            <a:lvl3pPr lvl="2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3pPr>
            <a:lvl4pPr lvl="3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4pPr>
            <a:lvl5pPr lvl="4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5pPr>
            <a:lvl6pPr lvl="5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6pPr>
            <a:lvl7pPr lvl="6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7pPr>
            <a:lvl8pPr lvl="7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8pPr>
            <a:lvl9pPr lvl="8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9pPr>
          </a:lstStyle>
          <a:p>
            <a:endParaRPr/>
          </a:p>
        </p:txBody>
      </p:sp>
      <p:sp>
        <p:nvSpPr>
          <p:cNvPr id="11" name="Google Shape;11;p2"/>
          <p:cNvSpPr txBox="1">
            <a:spLocks noGrp="1"/>
          </p:cNvSpPr>
          <p:nvPr>
            <p:ph type="subTitle" idx="1"/>
          </p:nvPr>
        </p:nvSpPr>
        <p:spPr>
          <a:xfrm>
            <a:off x="311700" y="3778833"/>
            <a:ext cx="8520600" cy="1056800"/>
          </a:xfrm>
          <a:prstGeom prst="rect">
            <a:avLst/>
          </a:prstGeom>
        </p:spPr>
        <p:txBody>
          <a:bodyPr spcFirstLastPara="1" wrap="square" lIns="91425" tIns="91425" rIns="91425" bIns="91425" anchor="t" anchorCtr="0"/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9pPr>
          </a:lstStyle>
          <a:p>
            <a:endParaRPr/>
          </a:p>
        </p:txBody>
      </p:sp>
      <p:sp>
        <p:nvSpPr>
          <p:cNvPr id="12" name="Google Shape;12;p2"/>
          <p:cNvSpPr txBox="1">
            <a:spLocks noGrp="1"/>
          </p:cNvSpPr>
          <p:nvPr>
            <p:ph type="sldNum" idx="12"/>
          </p:nvPr>
        </p:nvSpPr>
        <p:spPr>
          <a:xfrm>
            <a:off x="8472458" y="6217623"/>
            <a:ext cx="5487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00000000-1234-1234-1234-123412341234}" type="slidenum">
              <a:rPr lang="en">
                <a:solidFill>
                  <a:srgbClr val="595959"/>
                </a:solidFill>
              </a:rPr>
              <a:pPr/>
              <a:t>‹#›</a:t>
            </a:fld>
            <a:endParaRPr>
              <a:solidFill>
                <a:srgbClr val="59595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70334085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header" type="secHead">
  <p:cSld name="Section header">
    <p:spTree>
      <p:nvGrpSpPr>
        <p:cNvPr id="1" name="Shape 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Google Shape;14;p3"/>
          <p:cNvSpPr txBox="1">
            <a:spLocks noGrp="1"/>
          </p:cNvSpPr>
          <p:nvPr>
            <p:ph type="title"/>
          </p:nvPr>
        </p:nvSpPr>
        <p:spPr>
          <a:xfrm>
            <a:off x="311700" y="2867800"/>
            <a:ext cx="8520600" cy="1122400"/>
          </a:xfrm>
          <a:prstGeom prst="rect">
            <a:avLst/>
          </a:prstGeom>
        </p:spPr>
        <p:txBody>
          <a:bodyPr spcFirstLastPara="1" wrap="square" lIns="91425" tIns="91425" rIns="91425" bIns="91425" anchor="ctr" anchorCtr="0"/>
          <a:lstStyle>
            <a:lvl1pPr lvl="0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1pPr>
            <a:lvl2pPr lvl="1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2pPr>
            <a:lvl3pPr lvl="2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3pPr>
            <a:lvl4pPr lvl="3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4pPr>
            <a:lvl5pPr lvl="4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5pPr>
            <a:lvl6pPr lvl="5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6pPr>
            <a:lvl7pPr lvl="6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7pPr>
            <a:lvl8pPr lvl="7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8pPr>
            <a:lvl9pPr lvl="8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9pPr>
          </a:lstStyle>
          <a:p>
            <a:endParaRPr/>
          </a:p>
        </p:txBody>
      </p:sp>
      <p:sp>
        <p:nvSpPr>
          <p:cNvPr id="15" name="Google Shape;15;p3"/>
          <p:cNvSpPr txBox="1">
            <a:spLocks noGrp="1"/>
          </p:cNvSpPr>
          <p:nvPr>
            <p:ph type="sldNum" idx="12"/>
          </p:nvPr>
        </p:nvSpPr>
        <p:spPr>
          <a:xfrm>
            <a:off x="8472458" y="6217623"/>
            <a:ext cx="5487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00000000-1234-1234-1234-123412341234}" type="slidenum">
              <a:rPr lang="en">
                <a:solidFill>
                  <a:srgbClr val="595959"/>
                </a:solidFill>
              </a:rPr>
              <a:pPr/>
              <a:t>‹#›</a:t>
            </a:fld>
            <a:endParaRPr>
              <a:solidFill>
                <a:srgbClr val="59595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80701706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ody" type="tx">
  <p:cSld name="Title and body">
    <p:spTree>
      <p:nvGrpSpPr>
        <p:cNvPr id="1" name="Shape 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Google Shape;17;p4"/>
          <p:cNvSpPr txBox="1">
            <a:spLocks noGrp="1"/>
          </p:cNvSpPr>
          <p:nvPr>
            <p:ph type="title"/>
          </p:nvPr>
        </p:nvSpPr>
        <p:spPr>
          <a:xfrm>
            <a:off x="311700" y="593367"/>
            <a:ext cx="8520600" cy="763600"/>
          </a:xfrm>
          <a:prstGeom prst="rect">
            <a:avLst/>
          </a:prstGeom>
        </p:spPr>
        <p:txBody>
          <a:bodyPr spcFirstLastPara="1" wrap="square" lIns="91425" tIns="91425" rIns="91425" bIns="91425" anchor="t" anchorCtr="0"/>
          <a:lstStyle>
            <a:lvl1pPr lv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18" name="Google Shape;18;p4"/>
          <p:cNvSpPr txBox="1">
            <a:spLocks noGrp="1"/>
          </p:cNvSpPr>
          <p:nvPr>
            <p:ph type="body" idx="1"/>
          </p:nvPr>
        </p:nvSpPr>
        <p:spPr>
          <a:xfrm>
            <a:off x="311700" y="1536633"/>
            <a:ext cx="8520600" cy="4555200"/>
          </a:xfrm>
          <a:prstGeom prst="rect">
            <a:avLst/>
          </a:prstGeom>
        </p:spPr>
        <p:txBody>
          <a:bodyPr spcFirstLastPara="1" wrap="square" lIns="91425" tIns="91425" rIns="91425" bIns="91425" anchor="t" anchorCtr="0"/>
          <a:lstStyle>
            <a:lvl1pPr marL="457200" lvl="0" indent="-342900"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914400" lvl="1" indent="-317500">
              <a:spcBef>
                <a:spcPts val="160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>
              <a:spcBef>
                <a:spcPts val="160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>
              <a:spcBef>
                <a:spcPts val="160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>
              <a:spcBef>
                <a:spcPts val="160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>
              <a:spcBef>
                <a:spcPts val="160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>
              <a:spcBef>
                <a:spcPts val="160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>
              <a:spcBef>
                <a:spcPts val="160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>
              <a:spcBef>
                <a:spcPts val="1600"/>
              </a:spcBef>
              <a:spcAft>
                <a:spcPts val="160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19" name="Google Shape;19;p4"/>
          <p:cNvSpPr txBox="1">
            <a:spLocks noGrp="1"/>
          </p:cNvSpPr>
          <p:nvPr>
            <p:ph type="sldNum" idx="12"/>
          </p:nvPr>
        </p:nvSpPr>
        <p:spPr>
          <a:xfrm>
            <a:off x="8472458" y="6217623"/>
            <a:ext cx="5487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00000000-1234-1234-1234-123412341234}" type="slidenum">
              <a:rPr lang="en">
                <a:solidFill>
                  <a:srgbClr val="595959"/>
                </a:solidFill>
              </a:rPr>
              <a:pPr/>
              <a:t>‹#›</a:t>
            </a:fld>
            <a:endParaRPr>
              <a:solidFill>
                <a:srgbClr val="59595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42288983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wo columns" type="twoColTx">
  <p:cSld name="Title and two columns">
    <p:spTree>
      <p:nvGrpSpPr>
        <p:cNvPr id="1" name="Shape 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Google Shape;21;p5"/>
          <p:cNvSpPr txBox="1">
            <a:spLocks noGrp="1"/>
          </p:cNvSpPr>
          <p:nvPr>
            <p:ph type="title"/>
          </p:nvPr>
        </p:nvSpPr>
        <p:spPr>
          <a:xfrm>
            <a:off x="311700" y="593367"/>
            <a:ext cx="8520600" cy="763600"/>
          </a:xfrm>
          <a:prstGeom prst="rect">
            <a:avLst/>
          </a:prstGeom>
        </p:spPr>
        <p:txBody>
          <a:bodyPr spcFirstLastPara="1" wrap="square" lIns="91425" tIns="91425" rIns="91425" bIns="91425" anchor="t" anchorCtr="0"/>
          <a:lstStyle>
            <a:lvl1pPr lv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22" name="Google Shape;22;p5"/>
          <p:cNvSpPr txBox="1">
            <a:spLocks noGrp="1"/>
          </p:cNvSpPr>
          <p:nvPr>
            <p:ph type="body" idx="1"/>
          </p:nvPr>
        </p:nvSpPr>
        <p:spPr>
          <a:xfrm>
            <a:off x="311700" y="1536633"/>
            <a:ext cx="3999900" cy="4555200"/>
          </a:xfrm>
          <a:prstGeom prst="rect">
            <a:avLst/>
          </a:prstGeom>
        </p:spPr>
        <p:txBody>
          <a:bodyPr spcFirstLastPara="1" wrap="square" lIns="91425" tIns="91425" rIns="91425" bIns="91425" anchor="t" anchorCtr="0"/>
          <a:lstStyle>
            <a:lvl1pPr marL="457200" lvl="0" indent="-317500"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400"/>
            </a:lvl1pPr>
            <a:lvl2pPr marL="914400" lvl="1" indent="-304800">
              <a:spcBef>
                <a:spcPts val="1600"/>
              </a:spcBef>
              <a:spcAft>
                <a:spcPts val="0"/>
              </a:spcAft>
              <a:buSzPts val="1200"/>
              <a:buChar char="○"/>
              <a:defRPr sz="1200"/>
            </a:lvl2pPr>
            <a:lvl3pPr marL="1371600" lvl="2" indent="-304800">
              <a:spcBef>
                <a:spcPts val="1600"/>
              </a:spcBef>
              <a:spcAft>
                <a:spcPts val="0"/>
              </a:spcAft>
              <a:buSzPts val="1200"/>
              <a:buChar char="■"/>
              <a:defRPr sz="1200"/>
            </a:lvl3pPr>
            <a:lvl4pPr marL="1828800" lvl="3" indent="-304800">
              <a:spcBef>
                <a:spcPts val="1600"/>
              </a:spcBef>
              <a:spcAft>
                <a:spcPts val="0"/>
              </a:spcAft>
              <a:buSzPts val="1200"/>
              <a:buChar char="●"/>
              <a:defRPr sz="1200"/>
            </a:lvl4pPr>
            <a:lvl5pPr marL="2286000" lvl="4" indent="-304800">
              <a:spcBef>
                <a:spcPts val="1600"/>
              </a:spcBef>
              <a:spcAft>
                <a:spcPts val="0"/>
              </a:spcAft>
              <a:buSzPts val="1200"/>
              <a:buChar char="○"/>
              <a:defRPr sz="1200"/>
            </a:lvl5pPr>
            <a:lvl6pPr marL="2743200" lvl="5" indent="-304800">
              <a:spcBef>
                <a:spcPts val="1600"/>
              </a:spcBef>
              <a:spcAft>
                <a:spcPts val="0"/>
              </a:spcAft>
              <a:buSzPts val="1200"/>
              <a:buChar char="■"/>
              <a:defRPr sz="1200"/>
            </a:lvl6pPr>
            <a:lvl7pPr marL="3200400" lvl="6" indent="-304800">
              <a:spcBef>
                <a:spcPts val="1600"/>
              </a:spcBef>
              <a:spcAft>
                <a:spcPts val="0"/>
              </a:spcAft>
              <a:buSzPts val="1200"/>
              <a:buChar char="●"/>
              <a:defRPr sz="1200"/>
            </a:lvl7pPr>
            <a:lvl8pPr marL="3657600" lvl="7" indent="-304800">
              <a:spcBef>
                <a:spcPts val="1600"/>
              </a:spcBef>
              <a:spcAft>
                <a:spcPts val="0"/>
              </a:spcAft>
              <a:buSzPts val="1200"/>
              <a:buChar char="○"/>
              <a:defRPr sz="1200"/>
            </a:lvl8pPr>
            <a:lvl9pPr marL="4114800" lvl="8" indent="-304800">
              <a:spcBef>
                <a:spcPts val="1600"/>
              </a:spcBef>
              <a:spcAft>
                <a:spcPts val="1600"/>
              </a:spcAft>
              <a:buSzPts val="1200"/>
              <a:buChar char="■"/>
              <a:defRPr sz="1200"/>
            </a:lvl9pPr>
          </a:lstStyle>
          <a:p>
            <a:endParaRPr/>
          </a:p>
        </p:txBody>
      </p:sp>
      <p:sp>
        <p:nvSpPr>
          <p:cNvPr id="23" name="Google Shape;23;p5"/>
          <p:cNvSpPr txBox="1">
            <a:spLocks noGrp="1"/>
          </p:cNvSpPr>
          <p:nvPr>
            <p:ph type="body" idx="2"/>
          </p:nvPr>
        </p:nvSpPr>
        <p:spPr>
          <a:xfrm>
            <a:off x="4832400" y="1536633"/>
            <a:ext cx="3999900" cy="4555200"/>
          </a:xfrm>
          <a:prstGeom prst="rect">
            <a:avLst/>
          </a:prstGeom>
        </p:spPr>
        <p:txBody>
          <a:bodyPr spcFirstLastPara="1" wrap="square" lIns="91425" tIns="91425" rIns="91425" bIns="91425" anchor="t" anchorCtr="0"/>
          <a:lstStyle>
            <a:lvl1pPr marL="457200" lvl="0" indent="-317500"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400"/>
            </a:lvl1pPr>
            <a:lvl2pPr marL="914400" lvl="1" indent="-304800">
              <a:spcBef>
                <a:spcPts val="1600"/>
              </a:spcBef>
              <a:spcAft>
                <a:spcPts val="0"/>
              </a:spcAft>
              <a:buSzPts val="1200"/>
              <a:buChar char="○"/>
              <a:defRPr sz="1200"/>
            </a:lvl2pPr>
            <a:lvl3pPr marL="1371600" lvl="2" indent="-304800">
              <a:spcBef>
                <a:spcPts val="1600"/>
              </a:spcBef>
              <a:spcAft>
                <a:spcPts val="0"/>
              </a:spcAft>
              <a:buSzPts val="1200"/>
              <a:buChar char="■"/>
              <a:defRPr sz="1200"/>
            </a:lvl3pPr>
            <a:lvl4pPr marL="1828800" lvl="3" indent="-304800">
              <a:spcBef>
                <a:spcPts val="1600"/>
              </a:spcBef>
              <a:spcAft>
                <a:spcPts val="0"/>
              </a:spcAft>
              <a:buSzPts val="1200"/>
              <a:buChar char="●"/>
              <a:defRPr sz="1200"/>
            </a:lvl4pPr>
            <a:lvl5pPr marL="2286000" lvl="4" indent="-304800">
              <a:spcBef>
                <a:spcPts val="1600"/>
              </a:spcBef>
              <a:spcAft>
                <a:spcPts val="0"/>
              </a:spcAft>
              <a:buSzPts val="1200"/>
              <a:buChar char="○"/>
              <a:defRPr sz="1200"/>
            </a:lvl5pPr>
            <a:lvl6pPr marL="2743200" lvl="5" indent="-304800">
              <a:spcBef>
                <a:spcPts val="1600"/>
              </a:spcBef>
              <a:spcAft>
                <a:spcPts val="0"/>
              </a:spcAft>
              <a:buSzPts val="1200"/>
              <a:buChar char="■"/>
              <a:defRPr sz="1200"/>
            </a:lvl6pPr>
            <a:lvl7pPr marL="3200400" lvl="6" indent="-304800">
              <a:spcBef>
                <a:spcPts val="1600"/>
              </a:spcBef>
              <a:spcAft>
                <a:spcPts val="0"/>
              </a:spcAft>
              <a:buSzPts val="1200"/>
              <a:buChar char="●"/>
              <a:defRPr sz="1200"/>
            </a:lvl7pPr>
            <a:lvl8pPr marL="3657600" lvl="7" indent="-304800">
              <a:spcBef>
                <a:spcPts val="1600"/>
              </a:spcBef>
              <a:spcAft>
                <a:spcPts val="0"/>
              </a:spcAft>
              <a:buSzPts val="1200"/>
              <a:buChar char="○"/>
              <a:defRPr sz="1200"/>
            </a:lvl8pPr>
            <a:lvl9pPr marL="4114800" lvl="8" indent="-304800">
              <a:spcBef>
                <a:spcPts val="1600"/>
              </a:spcBef>
              <a:spcAft>
                <a:spcPts val="1600"/>
              </a:spcAft>
              <a:buSzPts val="1200"/>
              <a:buChar char="■"/>
              <a:defRPr sz="1200"/>
            </a:lvl9pPr>
          </a:lstStyle>
          <a:p>
            <a:endParaRPr/>
          </a:p>
        </p:txBody>
      </p:sp>
      <p:sp>
        <p:nvSpPr>
          <p:cNvPr id="24" name="Google Shape;24;p5"/>
          <p:cNvSpPr txBox="1">
            <a:spLocks noGrp="1"/>
          </p:cNvSpPr>
          <p:nvPr>
            <p:ph type="sldNum" idx="12"/>
          </p:nvPr>
        </p:nvSpPr>
        <p:spPr>
          <a:xfrm>
            <a:off x="8472458" y="6217623"/>
            <a:ext cx="5487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00000000-1234-1234-1234-123412341234}" type="slidenum">
              <a:rPr lang="en">
                <a:solidFill>
                  <a:srgbClr val="595959"/>
                </a:solidFill>
              </a:rPr>
              <a:pPr/>
              <a:t>‹#›</a:t>
            </a:fld>
            <a:endParaRPr>
              <a:solidFill>
                <a:srgbClr val="59595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55250539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type="titleOnly">
  <p:cSld name="Title only">
    <p:spTree>
      <p:nvGrpSpPr>
        <p:cNvPr id="1" name="Shape 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Google Shape;26;p6"/>
          <p:cNvSpPr txBox="1">
            <a:spLocks noGrp="1"/>
          </p:cNvSpPr>
          <p:nvPr>
            <p:ph type="title"/>
          </p:nvPr>
        </p:nvSpPr>
        <p:spPr>
          <a:xfrm>
            <a:off x="311700" y="593367"/>
            <a:ext cx="8520600" cy="763600"/>
          </a:xfrm>
          <a:prstGeom prst="rect">
            <a:avLst/>
          </a:prstGeom>
        </p:spPr>
        <p:txBody>
          <a:bodyPr spcFirstLastPara="1" wrap="square" lIns="91425" tIns="91425" rIns="91425" bIns="91425" anchor="t" anchorCtr="0"/>
          <a:lstStyle>
            <a:lvl1pPr lv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27" name="Google Shape;27;p6"/>
          <p:cNvSpPr txBox="1">
            <a:spLocks noGrp="1"/>
          </p:cNvSpPr>
          <p:nvPr>
            <p:ph type="sldNum" idx="12"/>
          </p:nvPr>
        </p:nvSpPr>
        <p:spPr>
          <a:xfrm>
            <a:off x="8472458" y="6217623"/>
            <a:ext cx="5487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00000000-1234-1234-1234-123412341234}" type="slidenum">
              <a:rPr lang="en">
                <a:solidFill>
                  <a:srgbClr val="595959"/>
                </a:solidFill>
              </a:rPr>
              <a:pPr/>
              <a:t>‹#›</a:t>
            </a:fld>
            <a:endParaRPr>
              <a:solidFill>
                <a:srgbClr val="59595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9000381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IN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N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N"/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9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CF6B9B51-87DA-45FD-92C3-A9E578A1A1D8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295447944"/>
      </p:ext>
    </p:extLst>
  </p:cSld>
  <p:clrMapOvr>
    <a:masterClrMapping/>
  </p:clrMapOvr>
  <p:transition/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column text">
  <p:cSld name="One column text">
    <p:spTree>
      <p:nvGrpSpPr>
        <p:cNvPr id="1" name="Shape 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Google Shape;29;p7"/>
          <p:cNvSpPr txBox="1">
            <a:spLocks noGrp="1"/>
          </p:cNvSpPr>
          <p:nvPr>
            <p:ph type="title"/>
          </p:nvPr>
        </p:nvSpPr>
        <p:spPr>
          <a:xfrm>
            <a:off x="311700" y="740800"/>
            <a:ext cx="2808000" cy="1007600"/>
          </a:xfrm>
          <a:prstGeom prst="rect">
            <a:avLst/>
          </a:prstGeom>
        </p:spPr>
        <p:txBody>
          <a:bodyPr spcFirstLastPara="1" wrap="square" lIns="91425" tIns="91425" rIns="91425" bIns="91425" anchor="b" anchorCtr="0"/>
          <a:lstStyle>
            <a:lvl1pPr lv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1pPr>
            <a:lvl2pPr lvl="1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2pPr>
            <a:lvl3pPr lvl="2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3pPr>
            <a:lvl4pPr lvl="3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4pPr>
            <a:lvl5pPr lvl="4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5pPr>
            <a:lvl6pPr lvl="5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6pPr>
            <a:lvl7pPr lvl="6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7pPr>
            <a:lvl8pPr lvl="7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8pPr>
            <a:lvl9pPr lvl="8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9pPr>
          </a:lstStyle>
          <a:p>
            <a:endParaRPr/>
          </a:p>
        </p:txBody>
      </p:sp>
      <p:sp>
        <p:nvSpPr>
          <p:cNvPr id="30" name="Google Shape;30;p7"/>
          <p:cNvSpPr txBox="1">
            <a:spLocks noGrp="1"/>
          </p:cNvSpPr>
          <p:nvPr>
            <p:ph type="body" idx="1"/>
          </p:nvPr>
        </p:nvSpPr>
        <p:spPr>
          <a:xfrm>
            <a:off x="311700" y="1852800"/>
            <a:ext cx="2808000" cy="4239200"/>
          </a:xfrm>
          <a:prstGeom prst="rect">
            <a:avLst/>
          </a:prstGeom>
        </p:spPr>
        <p:txBody>
          <a:bodyPr spcFirstLastPara="1" wrap="square" lIns="91425" tIns="91425" rIns="91425" bIns="91425" anchor="t" anchorCtr="0"/>
          <a:lstStyle>
            <a:lvl1pPr marL="457200" lvl="0" indent="-30480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200"/>
            </a:lvl1pPr>
            <a:lvl2pPr marL="914400" lvl="1" indent="-304800">
              <a:spcBef>
                <a:spcPts val="1600"/>
              </a:spcBef>
              <a:spcAft>
                <a:spcPts val="0"/>
              </a:spcAft>
              <a:buSzPts val="1200"/>
              <a:buChar char="○"/>
              <a:defRPr sz="1200"/>
            </a:lvl2pPr>
            <a:lvl3pPr marL="1371600" lvl="2" indent="-304800">
              <a:spcBef>
                <a:spcPts val="1600"/>
              </a:spcBef>
              <a:spcAft>
                <a:spcPts val="0"/>
              </a:spcAft>
              <a:buSzPts val="1200"/>
              <a:buChar char="■"/>
              <a:defRPr sz="1200"/>
            </a:lvl3pPr>
            <a:lvl4pPr marL="1828800" lvl="3" indent="-304800">
              <a:spcBef>
                <a:spcPts val="1600"/>
              </a:spcBef>
              <a:spcAft>
                <a:spcPts val="0"/>
              </a:spcAft>
              <a:buSzPts val="1200"/>
              <a:buChar char="●"/>
              <a:defRPr sz="1200"/>
            </a:lvl4pPr>
            <a:lvl5pPr marL="2286000" lvl="4" indent="-304800">
              <a:spcBef>
                <a:spcPts val="1600"/>
              </a:spcBef>
              <a:spcAft>
                <a:spcPts val="0"/>
              </a:spcAft>
              <a:buSzPts val="1200"/>
              <a:buChar char="○"/>
              <a:defRPr sz="1200"/>
            </a:lvl5pPr>
            <a:lvl6pPr marL="2743200" lvl="5" indent="-304800">
              <a:spcBef>
                <a:spcPts val="1600"/>
              </a:spcBef>
              <a:spcAft>
                <a:spcPts val="0"/>
              </a:spcAft>
              <a:buSzPts val="1200"/>
              <a:buChar char="■"/>
              <a:defRPr sz="1200"/>
            </a:lvl6pPr>
            <a:lvl7pPr marL="3200400" lvl="6" indent="-304800">
              <a:spcBef>
                <a:spcPts val="1600"/>
              </a:spcBef>
              <a:spcAft>
                <a:spcPts val="0"/>
              </a:spcAft>
              <a:buSzPts val="1200"/>
              <a:buChar char="●"/>
              <a:defRPr sz="1200"/>
            </a:lvl7pPr>
            <a:lvl8pPr marL="3657600" lvl="7" indent="-304800">
              <a:spcBef>
                <a:spcPts val="1600"/>
              </a:spcBef>
              <a:spcAft>
                <a:spcPts val="0"/>
              </a:spcAft>
              <a:buSzPts val="1200"/>
              <a:buChar char="○"/>
              <a:defRPr sz="1200"/>
            </a:lvl8pPr>
            <a:lvl9pPr marL="4114800" lvl="8" indent="-304800">
              <a:spcBef>
                <a:spcPts val="1600"/>
              </a:spcBef>
              <a:spcAft>
                <a:spcPts val="1600"/>
              </a:spcAft>
              <a:buSzPts val="1200"/>
              <a:buChar char="■"/>
              <a:defRPr sz="1200"/>
            </a:lvl9pPr>
          </a:lstStyle>
          <a:p>
            <a:endParaRPr/>
          </a:p>
        </p:txBody>
      </p:sp>
      <p:sp>
        <p:nvSpPr>
          <p:cNvPr id="31" name="Google Shape;31;p7"/>
          <p:cNvSpPr txBox="1">
            <a:spLocks noGrp="1"/>
          </p:cNvSpPr>
          <p:nvPr>
            <p:ph type="sldNum" idx="12"/>
          </p:nvPr>
        </p:nvSpPr>
        <p:spPr>
          <a:xfrm>
            <a:off x="8472458" y="6217623"/>
            <a:ext cx="5487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00000000-1234-1234-1234-123412341234}" type="slidenum">
              <a:rPr lang="en">
                <a:solidFill>
                  <a:srgbClr val="595959"/>
                </a:solidFill>
              </a:rPr>
              <a:pPr/>
              <a:t>‹#›</a:t>
            </a:fld>
            <a:endParaRPr>
              <a:solidFill>
                <a:srgbClr val="59595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32376233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Main point">
  <p:cSld name="Main point">
    <p:spTree>
      <p:nvGrpSpPr>
        <p:cNvPr id="1" name="Shape 3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Google Shape;33;p8"/>
          <p:cNvSpPr txBox="1">
            <a:spLocks noGrp="1"/>
          </p:cNvSpPr>
          <p:nvPr>
            <p:ph type="title"/>
          </p:nvPr>
        </p:nvSpPr>
        <p:spPr>
          <a:xfrm>
            <a:off x="490250" y="600200"/>
            <a:ext cx="6367800" cy="5454400"/>
          </a:xfrm>
          <a:prstGeom prst="rect">
            <a:avLst/>
          </a:prstGeom>
        </p:spPr>
        <p:txBody>
          <a:bodyPr spcFirstLastPara="1" wrap="square" lIns="91425" tIns="91425" rIns="91425" bIns="91425" anchor="ctr" anchorCtr="0"/>
          <a:lstStyle>
            <a:lvl1pPr lvl="0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1pPr>
            <a:lvl2pPr lvl="1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2pPr>
            <a:lvl3pPr lvl="2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3pPr>
            <a:lvl4pPr lvl="3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4pPr>
            <a:lvl5pPr lvl="4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5pPr>
            <a:lvl6pPr lvl="5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6pPr>
            <a:lvl7pPr lvl="6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7pPr>
            <a:lvl8pPr lvl="7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8pPr>
            <a:lvl9pPr lvl="8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9pPr>
          </a:lstStyle>
          <a:p>
            <a:endParaRPr/>
          </a:p>
        </p:txBody>
      </p:sp>
      <p:sp>
        <p:nvSpPr>
          <p:cNvPr id="34" name="Google Shape;34;p8"/>
          <p:cNvSpPr txBox="1">
            <a:spLocks noGrp="1"/>
          </p:cNvSpPr>
          <p:nvPr>
            <p:ph type="sldNum" idx="12"/>
          </p:nvPr>
        </p:nvSpPr>
        <p:spPr>
          <a:xfrm>
            <a:off x="8472458" y="6217623"/>
            <a:ext cx="5487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00000000-1234-1234-1234-123412341234}" type="slidenum">
              <a:rPr lang="en">
                <a:solidFill>
                  <a:srgbClr val="595959"/>
                </a:solidFill>
              </a:rPr>
              <a:pPr/>
              <a:t>‹#›</a:t>
            </a:fld>
            <a:endParaRPr>
              <a:solidFill>
                <a:srgbClr val="59595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84950007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title and description">
  <p:cSld name="Section title and description">
    <p:spTree>
      <p:nvGrpSpPr>
        <p:cNvPr id="1" name="Shape 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Google Shape;36;p9"/>
          <p:cNvSpPr/>
          <p:nvPr/>
        </p:nvSpPr>
        <p:spPr>
          <a:xfrm>
            <a:off x="4572000" y="-167"/>
            <a:ext cx="4572000" cy="68580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endParaRPr sz="1400" kern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37" name="Google Shape;37;p9"/>
          <p:cNvSpPr txBox="1">
            <a:spLocks noGrp="1"/>
          </p:cNvSpPr>
          <p:nvPr>
            <p:ph type="title"/>
          </p:nvPr>
        </p:nvSpPr>
        <p:spPr>
          <a:xfrm>
            <a:off x="265500" y="1644233"/>
            <a:ext cx="4045200" cy="1976400"/>
          </a:xfrm>
          <a:prstGeom prst="rect">
            <a:avLst/>
          </a:prstGeom>
        </p:spPr>
        <p:txBody>
          <a:bodyPr spcFirstLastPara="1" wrap="square" lIns="91425" tIns="91425" rIns="91425" bIns="91425" anchor="b" anchorCtr="0"/>
          <a:lstStyle>
            <a:lvl1pPr lvl="0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1pPr>
            <a:lvl2pPr lvl="1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2pPr>
            <a:lvl3pPr lvl="2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3pPr>
            <a:lvl4pPr lvl="3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4pPr>
            <a:lvl5pPr lvl="4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5pPr>
            <a:lvl6pPr lvl="5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6pPr>
            <a:lvl7pPr lvl="6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7pPr>
            <a:lvl8pPr lvl="7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8pPr>
            <a:lvl9pPr lvl="8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9pPr>
          </a:lstStyle>
          <a:p>
            <a:endParaRPr/>
          </a:p>
        </p:txBody>
      </p:sp>
      <p:sp>
        <p:nvSpPr>
          <p:cNvPr id="38" name="Google Shape;38;p9"/>
          <p:cNvSpPr txBox="1">
            <a:spLocks noGrp="1"/>
          </p:cNvSpPr>
          <p:nvPr>
            <p:ph type="subTitle" idx="1"/>
          </p:nvPr>
        </p:nvSpPr>
        <p:spPr>
          <a:xfrm>
            <a:off x="265500" y="3737433"/>
            <a:ext cx="4045200" cy="1646800"/>
          </a:xfrm>
          <a:prstGeom prst="rect">
            <a:avLst/>
          </a:prstGeom>
        </p:spPr>
        <p:txBody>
          <a:bodyPr spcFirstLastPara="1" wrap="square" lIns="91425" tIns="91425" rIns="91425" bIns="91425" anchor="t" anchorCtr="0"/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9pPr>
          </a:lstStyle>
          <a:p>
            <a:endParaRPr/>
          </a:p>
        </p:txBody>
      </p:sp>
      <p:sp>
        <p:nvSpPr>
          <p:cNvPr id="39" name="Google Shape;39;p9"/>
          <p:cNvSpPr txBox="1">
            <a:spLocks noGrp="1"/>
          </p:cNvSpPr>
          <p:nvPr>
            <p:ph type="body" idx="2"/>
          </p:nvPr>
        </p:nvSpPr>
        <p:spPr>
          <a:xfrm>
            <a:off x="4939500" y="965433"/>
            <a:ext cx="3837000" cy="4926800"/>
          </a:xfrm>
          <a:prstGeom prst="rect">
            <a:avLst/>
          </a:prstGeom>
        </p:spPr>
        <p:txBody>
          <a:bodyPr spcFirstLastPara="1" wrap="square" lIns="91425" tIns="91425" rIns="91425" bIns="91425" anchor="ctr" anchorCtr="0"/>
          <a:lstStyle>
            <a:lvl1pPr marL="457200" lvl="0" indent="-342900"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914400" lvl="1" indent="-317500">
              <a:spcBef>
                <a:spcPts val="160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>
              <a:spcBef>
                <a:spcPts val="160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>
              <a:spcBef>
                <a:spcPts val="160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>
              <a:spcBef>
                <a:spcPts val="160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>
              <a:spcBef>
                <a:spcPts val="160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>
              <a:spcBef>
                <a:spcPts val="160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>
              <a:spcBef>
                <a:spcPts val="160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>
              <a:spcBef>
                <a:spcPts val="1600"/>
              </a:spcBef>
              <a:spcAft>
                <a:spcPts val="160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40" name="Google Shape;40;p9"/>
          <p:cNvSpPr txBox="1">
            <a:spLocks noGrp="1"/>
          </p:cNvSpPr>
          <p:nvPr>
            <p:ph type="sldNum" idx="12"/>
          </p:nvPr>
        </p:nvSpPr>
        <p:spPr>
          <a:xfrm>
            <a:off x="8472458" y="6217623"/>
            <a:ext cx="5487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00000000-1234-1234-1234-123412341234}" type="slidenum">
              <a:rPr lang="en">
                <a:solidFill>
                  <a:srgbClr val="595959"/>
                </a:solidFill>
              </a:rPr>
              <a:pPr/>
              <a:t>‹#›</a:t>
            </a:fld>
            <a:endParaRPr>
              <a:solidFill>
                <a:srgbClr val="59595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57886858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aption">
  <p:cSld name="Caption">
    <p:spTree>
      <p:nvGrpSpPr>
        <p:cNvPr id="1" name="Shape 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Google Shape;42;p10"/>
          <p:cNvSpPr txBox="1">
            <a:spLocks noGrp="1"/>
          </p:cNvSpPr>
          <p:nvPr>
            <p:ph type="body" idx="1"/>
          </p:nvPr>
        </p:nvSpPr>
        <p:spPr>
          <a:xfrm>
            <a:off x="311700" y="5640767"/>
            <a:ext cx="5998800" cy="806800"/>
          </a:xfrm>
          <a:prstGeom prst="rect">
            <a:avLst/>
          </a:prstGeom>
        </p:spPr>
        <p:txBody>
          <a:bodyPr spcFirstLastPara="1" wrap="square" lIns="91425" tIns="91425" rIns="91425" bIns="91425" anchor="ctr" anchorCtr="0"/>
          <a:lstStyle>
            <a:lvl1pPr marL="457200" lvl="0" indent="-2286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1pPr>
          </a:lstStyle>
          <a:p>
            <a:endParaRPr/>
          </a:p>
        </p:txBody>
      </p:sp>
      <p:sp>
        <p:nvSpPr>
          <p:cNvPr id="43" name="Google Shape;43;p10"/>
          <p:cNvSpPr txBox="1">
            <a:spLocks noGrp="1"/>
          </p:cNvSpPr>
          <p:nvPr>
            <p:ph type="sldNum" idx="12"/>
          </p:nvPr>
        </p:nvSpPr>
        <p:spPr>
          <a:xfrm>
            <a:off x="8472458" y="6217623"/>
            <a:ext cx="5487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00000000-1234-1234-1234-123412341234}" type="slidenum">
              <a:rPr lang="en">
                <a:solidFill>
                  <a:srgbClr val="595959"/>
                </a:solidFill>
              </a:rPr>
              <a:pPr/>
              <a:t>‹#›</a:t>
            </a:fld>
            <a:endParaRPr>
              <a:solidFill>
                <a:srgbClr val="59595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88598442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ig number">
  <p:cSld name="Big number">
    <p:spTree>
      <p:nvGrpSpPr>
        <p:cNvPr id="1" name="Shape 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Google Shape;45;p11"/>
          <p:cNvSpPr txBox="1">
            <a:spLocks noGrp="1"/>
          </p:cNvSpPr>
          <p:nvPr>
            <p:ph type="title" hasCustomPrompt="1"/>
          </p:nvPr>
        </p:nvSpPr>
        <p:spPr>
          <a:xfrm>
            <a:off x="311700" y="1474833"/>
            <a:ext cx="8520600" cy="2618000"/>
          </a:xfrm>
          <a:prstGeom prst="rect">
            <a:avLst/>
          </a:prstGeom>
        </p:spPr>
        <p:txBody>
          <a:bodyPr spcFirstLastPara="1" wrap="square" lIns="91425" tIns="91425" rIns="91425" bIns="91425" anchor="b" anchorCtr="0"/>
          <a:lstStyle>
            <a:lvl1pPr lvl="0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1pPr>
            <a:lvl2pPr lvl="1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2pPr>
            <a:lvl3pPr lvl="2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3pPr>
            <a:lvl4pPr lvl="3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4pPr>
            <a:lvl5pPr lvl="4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5pPr>
            <a:lvl6pPr lvl="5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6pPr>
            <a:lvl7pPr lvl="6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7pPr>
            <a:lvl8pPr lvl="7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8pPr>
            <a:lvl9pPr lvl="8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9pPr>
          </a:lstStyle>
          <a:p>
            <a:r>
              <a:t>xx%</a:t>
            </a:r>
          </a:p>
        </p:txBody>
      </p:sp>
      <p:sp>
        <p:nvSpPr>
          <p:cNvPr id="46" name="Google Shape;46;p11"/>
          <p:cNvSpPr txBox="1">
            <a:spLocks noGrp="1"/>
          </p:cNvSpPr>
          <p:nvPr>
            <p:ph type="body" idx="1"/>
          </p:nvPr>
        </p:nvSpPr>
        <p:spPr>
          <a:xfrm>
            <a:off x="311700" y="4202967"/>
            <a:ext cx="8520600" cy="1734400"/>
          </a:xfrm>
          <a:prstGeom prst="rect">
            <a:avLst/>
          </a:prstGeom>
        </p:spPr>
        <p:txBody>
          <a:bodyPr spcFirstLastPara="1" wrap="square" lIns="91425" tIns="91425" rIns="91425" bIns="91425" anchor="t" anchorCtr="0"/>
          <a:lstStyle>
            <a:lvl1pPr marL="457200" lvl="0" indent="-342900" algn="ctr"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914400" lvl="1" indent="-317500" algn="ctr">
              <a:spcBef>
                <a:spcPts val="160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algn="ctr">
              <a:spcBef>
                <a:spcPts val="160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algn="ctr">
              <a:spcBef>
                <a:spcPts val="160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algn="ctr">
              <a:spcBef>
                <a:spcPts val="160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algn="ctr">
              <a:spcBef>
                <a:spcPts val="160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algn="ctr">
              <a:spcBef>
                <a:spcPts val="160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algn="ctr">
              <a:spcBef>
                <a:spcPts val="160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algn="ctr">
              <a:spcBef>
                <a:spcPts val="1600"/>
              </a:spcBef>
              <a:spcAft>
                <a:spcPts val="160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47" name="Google Shape;47;p11"/>
          <p:cNvSpPr txBox="1">
            <a:spLocks noGrp="1"/>
          </p:cNvSpPr>
          <p:nvPr>
            <p:ph type="sldNum" idx="12"/>
          </p:nvPr>
        </p:nvSpPr>
        <p:spPr>
          <a:xfrm>
            <a:off x="8472458" y="6217623"/>
            <a:ext cx="5487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00000000-1234-1234-1234-123412341234}" type="slidenum">
              <a:rPr lang="en">
                <a:solidFill>
                  <a:srgbClr val="595959"/>
                </a:solidFill>
              </a:rPr>
              <a:pPr/>
              <a:t>‹#›</a:t>
            </a:fld>
            <a:endParaRPr>
              <a:solidFill>
                <a:srgbClr val="59595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56519741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4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" name="Google Shape;49;p12"/>
          <p:cNvSpPr txBox="1">
            <a:spLocks noGrp="1"/>
          </p:cNvSpPr>
          <p:nvPr>
            <p:ph type="sldNum" idx="12"/>
          </p:nvPr>
        </p:nvSpPr>
        <p:spPr>
          <a:xfrm>
            <a:off x="8472458" y="6217623"/>
            <a:ext cx="5487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00000000-1234-1234-1234-123412341234}" type="slidenum">
              <a:rPr lang="en">
                <a:solidFill>
                  <a:srgbClr val="595959"/>
                </a:solidFill>
              </a:rPr>
              <a:pPr/>
              <a:t>‹#›</a:t>
            </a:fld>
            <a:endParaRPr>
              <a:solidFill>
                <a:srgbClr val="59595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17900546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IN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N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xfrm>
            <a:off x="457200" y="6248400"/>
            <a:ext cx="5562600" cy="4572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/>
              <a:t>CS511, Bing Liu, UIC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9D3AC3A4-A827-4FE8-9ABD-FFBE5D96B8FE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263006545"/>
      </p:ext>
    </p:extLst>
  </p:cSld>
  <p:clrMapOvr>
    <a:masterClrMapping/>
  </p:clrMapOvr>
  <p:transition/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bg>
      <p:bgPr>
        <a:blipFill dpi="0" rotWithShape="0">
          <a:blip r:embed="rId3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 bwMode="ltGray">
          <a:xfrm>
            <a:off x="0" y="0"/>
            <a:ext cx="9144000" cy="5135563"/>
          </a:xfrm>
          <a:prstGeom prst="rect">
            <a:avLst/>
          </a:prstGeom>
          <a:solidFill>
            <a:srgbClr val="000000"/>
          </a:solidFill>
          <a:ln w="48000" cap="flat" cmpd="thickThin" algn="ctr">
            <a:noFill/>
            <a:prstDash val="solid"/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9pPr>
          </a:lstStyle>
          <a:p>
            <a:pPr algn="ctr" eaLnBrk="1" hangingPunct="1"/>
            <a:endParaRPr lang="en-US" altLang="en-US" sz="1800">
              <a:solidFill>
                <a:srgbClr val="FFFFFF"/>
              </a:solidFill>
            </a:endParaRPr>
          </a:p>
        </p:txBody>
      </p:sp>
      <p:sp>
        <p:nvSpPr>
          <p:cNvPr id="5" name="Rectangle 4"/>
          <p:cNvSpPr/>
          <p:nvPr/>
        </p:nvSpPr>
        <p:spPr bwMode="invGray">
          <a:xfrm>
            <a:off x="0" y="5127625"/>
            <a:ext cx="9144000" cy="46038"/>
          </a:xfrm>
          <a:prstGeom prst="rect">
            <a:avLst/>
          </a:prstGeom>
          <a:solidFill>
            <a:srgbClr val="FFFFFF"/>
          </a:solidFill>
          <a:ln w="48000" cap="flat" cmpd="thickThin" algn="ctr">
            <a:noFill/>
            <a:prstDash val="solid"/>
          </a:ln>
          <a:effectLst>
            <a:outerShdw blurRad="31750" dist="10160" dir="5400000" algn="tl" rotWithShape="0">
              <a:srgbClr val="000000">
                <a:alpha val="60000"/>
              </a:srgbClr>
            </a:outerShdw>
          </a:effectLst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9pPr>
          </a:lstStyle>
          <a:p>
            <a:pPr algn="ctr" eaLnBrk="1" hangingPunct="1"/>
            <a:endParaRPr lang="en-US" altLang="en-US" sz="1800">
              <a:solidFill>
                <a:srgbClr val="FFFFF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3355848"/>
            <a:ext cx="8077200" cy="1673352"/>
          </a:xfrm>
        </p:spPr>
        <p:txBody>
          <a:bodyPr tIns="0" bIns="0" anchor="t">
            <a:normAutofit/>
          </a:bodyPr>
          <a:lstStyle>
            <a:lvl1pPr algn="l">
              <a:defRPr sz="4700" b="1"/>
            </a:lvl1pPr>
            <a:extLst/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85800" y="1828800"/>
            <a:ext cx="8077200" cy="1499616"/>
          </a:xfrm>
        </p:spPr>
        <p:txBody>
          <a:bodyPr lIns="118872" tIns="0" rIns="45720" bIns="0" anchor="b"/>
          <a:lstStyle>
            <a:lvl1pPr marL="0" indent="0" algn="l">
              <a:buNone/>
              <a:defRPr sz="2000">
                <a:solidFill>
                  <a:srgbClr val="FFFFFF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  <a:extLst/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sp>
        <p:nvSpPr>
          <p:cNvPr id="6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0C6F159D-1BB5-407B-BAC3-51E8C57F2AF4}" type="datetime1">
              <a:rPr lang="en-US" altLang="en-US"/>
              <a:pPr/>
              <a:t>2/26/2019</a:t>
            </a:fld>
            <a:endParaRPr lang="en-US" altLang="en-US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404790054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spcBef>
                <a:spcPts val="1200"/>
              </a:spcBef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600"/>
            </a:lvl5pPr>
            <a:extLst/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7" name="Title Placeholder 1"/>
          <p:cNvSpPr>
            <a:spLocks noGrp="1"/>
          </p:cNvSpPr>
          <p:nvPr>
            <p:ph type="title"/>
          </p:nvPr>
        </p:nvSpPr>
        <p:spPr>
          <a:xfrm>
            <a:off x="152400" y="0"/>
            <a:ext cx="8839200" cy="609600"/>
          </a:xfrm>
          <a:prstGeom prst="rect">
            <a:avLst/>
          </a:prstGeom>
        </p:spPr>
        <p:txBody>
          <a:bodyPr/>
          <a:lstStyle>
            <a:lvl1pPr>
              <a:defRPr sz="4000"/>
            </a:lvl1pPr>
            <a:extLst/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DA9A0C7D-6AC7-4D85-8E24-0F9456C5D2F2}" type="datetime1">
              <a:rPr lang="en-US" altLang="en-US"/>
              <a:pPr/>
              <a:t>2/26/2019</a:t>
            </a:fld>
            <a:endParaRPr lang="en-US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4A9C9827-7C55-42C3-B86C-1E7204BA9330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194055981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 bwMode="ltGray">
          <a:xfrm>
            <a:off x="0" y="0"/>
            <a:ext cx="9144000" cy="2601913"/>
          </a:xfrm>
          <a:prstGeom prst="rect">
            <a:avLst/>
          </a:prstGeom>
          <a:solidFill>
            <a:srgbClr val="000000"/>
          </a:solidFill>
          <a:ln w="48000" cap="flat" cmpd="thickThin" algn="ctr">
            <a:noFill/>
            <a:prstDash val="solid"/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9pPr>
          </a:lstStyle>
          <a:p>
            <a:pPr algn="ctr" eaLnBrk="1" hangingPunct="1"/>
            <a:endParaRPr lang="en-US" altLang="en-US" sz="1800">
              <a:solidFill>
                <a:srgbClr val="FFFFFF"/>
              </a:solidFill>
            </a:endParaRPr>
          </a:p>
        </p:txBody>
      </p:sp>
      <p:sp>
        <p:nvSpPr>
          <p:cNvPr id="5" name="Rectangle 4"/>
          <p:cNvSpPr/>
          <p:nvPr/>
        </p:nvSpPr>
        <p:spPr bwMode="invGray">
          <a:xfrm>
            <a:off x="0" y="2601913"/>
            <a:ext cx="9144000" cy="46037"/>
          </a:xfrm>
          <a:prstGeom prst="rect">
            <a:avLst/>
          </a:prstGeom>
          <a:solidFill>
            <a:srgbClr val="FFFFFF"/>
          </a:solidFill>
          <a:ln w="48000" cap="flat" cmpd="thickThin" algn="ctr">
            <a:noFill/>
            <a:prstDash val="solid"/>
          </a:ln>
          <a:effectLst>
            <a:outerShdw blurRad="31750" dist="10160" dir="5400000" algn="tl" rotWithShape="0">
              <a:srgbClr val="000000">
                <a:alpha val="60000"/>
              </a:srgbClr>
            </a:outerShdw>
          </a:effectLst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9pPr>
          </a:lstStyle>
          <a:p>
            <a:pPr algn="ctr" eaLnBrk="1" hangingPunct="1"/>
            <a:endParaRPr lang="en-US" altLang="en-US" sz="1800">
              <a:solidFill>
                <a:srgbClr val="FFFFF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49808" y="118872"/>
            <a:ext cx="8013192" cy="1636776"/>
          </a:xfrm>
        </p:spPr>
        <p:txBody>
          <a:bodyPr tIns="0" rIns="91440" bIns="0" anchor="b">
            <a:normAutofit/>
          </a:bodyPr>
          <a:lstStyle>
            <a:lvl1pPr algn="l">
              <a:defRPr sz="4700" b="1" cap="none" baseline="0"/>
            </a:lvl1pPr>
            <a:extLst/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40664" y="1828800"/>
            <a:ext cx="8022336" cy="685800"/>
          </a:xfrm>
        </p:spPr>
        <p:txBody>
          <a:bodyPr lIns="146304" tIns="0" rIns="45720" bIns="0"/>
          <a:lstStyle>
            <a:lvl1pPr marL="0" indent="0">
              <a:buNone/>
              <a:defRPr sz="2000">
                <a:solidFill>
                  <a:srgbClr val="FFFFFF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  <a:extLst/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4D3E264F-AFDF-4268-96E7-09AF1B8CE92A}" type="datetime1">
              <a:rPr lang="en-US" altLang="en-US"/>
              <a:pPr/>
              <a:t>2/26/2019</a:t>
            </a:fld>
            <a:endParaRPr lang="en-US" altLang="en-US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endParaRPr lang="en-US" altLang="en-US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37933414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IN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3EECB9FF-2DEA-4250-861D-161E01B22D0D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395090080"/>
      </p:ext>
    </p:extLst>
  </p:cSld>
  <p:clrMapOvr>
    <a:masterClrMapping/>
  </p:clrMapOvr>
  <p:transition/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extLst/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79D3833C-F2C7-430E-B22D-117577FEF579}" type="datetime1">
              <a:rPr lang="en-US" altLang="en-US"/>
              <a:pPr/>
              <a:t>2/26/2019</a:t>
            </a:fld>
            <a:endParaRPr lang="en-US" altLang="en-US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en-US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E86C110E-748E-4BF6-A486-CEC2A71F4CA2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753217898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47BFD323-4A4D-4D85-BCE2-B4D01D77E58C}" type="datetime1">
              <a:rPr lang="en-US" altLang="en-US"/>
              <a:pPr/>
              <a:t>2/26/2019</a:t>
            </a:fld>
            <a:endParaRPr lang="en-US" altLang="en-US"/>
          </a:p>
        </p:txBody>
      </p:sp>
      <p:sp>
        <p:nvSpPr>
          <p:cNvPr id="3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en-US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B5348124-A765-4943-8590-31757BD82C17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4028650373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 bwMode="invGray">
          <a:xfrm>
            <a:off x="2855913" y="0"/>
            <a:ext cx="46037" cy="1454150"/>
          </a:xfrm>
          <a:prstGeom prst="rect">
            <a:avLst/>
          </a:prstGeom>
          <a:solidFill>
            <a:srgbClr val="FFFFFF"/>
          </a:solidFill>
          <a:ln w="48000" cap="flat" cmpd="thickThin" algn="ctr">
            <a:noFill/>
            <a:prstDash val="solid"/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9pPr>
          </a:lstStyle>
          <a:p>
            <a:pPr algn="ctr" eaLnBrk="1" hangingPunct="1"/>
            <a:endParaRPr lang="en-US" altLang="en-US" sz="1800">
              <a:solidFill>
                <a:srgbClr val="FFFFFF"/>
              </a:solidFill>
            </a:endParaRPr>
          </a:p>
        </p:txBody>
      </p:sp>
      <p:sp>
        <p:nvSpPr>
          <p:cNvPr id="6" name="Rectangle 5"/>
          <p:cNvSpPr/>
          <p:nvPr/>
        </p:nvSpPr>
        <p:spPr bwMode="invGray">
          <a:xfrm>
            <a:off x="2855913" y="0"/>
            <a:ext cx="46037" cy="1454150"/>
          </a:xfrm>
          <a:prstGeom prst="rect">
            <a:avLst/>
          </a:prstGeom>
          <a:solidFill>
            <a:srgbClr val="FFFFFF"/>
          </a:solidFill>
          <a:ln w="48000" cap="flat" cmpd="thickThin" algn="ctr">
            <a:noFill/>
            <a:prstDash val="solid"/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9pPr>
          </a:lstStyle>
          <a:p>
            <a:pPr algn="ctr" eaLnBrk="1" hangingPunct="1"/>
            <a:endParaRPr lang="en-US" altLang="en-US" sz="1800">
              <a:solidFill>
                <a:srgbClr val="FFFFF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7838" y="152400"/>
            <a:ext cx="2523744" cy="978408"/>
          </a:xfrm>
        </p:spPr>
        <p:txBody>
          <a:bodyPr lIns="73152" bIns="0" anchor="b">
            <a:normAutofit/>
            <a:sp3d prstMaterial="matte"/>
          </a:bodyPr>
          <a:lstStyle>
            <a:lvl1pPr algn="l">
              <a:defRPr sz="2000" b="0"/>
            </a:lvl1pPr>
            <a:extLst/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019377" y="1743133"/>
            <a:ext cx="5920641" cy="455888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  <a:extLst/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67838" y="1730018"/>
            <a:ext cx="2468880" cy="4572000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  <a:extLst/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7814DC55-3EB3-457D-9E6F-23088899BB46}" type="datetime1">
              <a:rPr lang="en-US" altLang="en-US"/>
              <a:pPr/>
              <a:t>2/26/2019</a:t>
            </a:fld>
            <a:endParaRPr lang="en-US" altLang="en-US"/>
          </a:p>
        </p:txBody>
      </p:sp>
      <p:sp>
        <p:nvSpPr>
          <p:cNvPr id="8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en-US"/>
          </a:p>
        </p:txBody>
      </p:sp>
      <p:sp>
        <p:nvSpPr>
          <p:cNvPr id="9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6013F9BE-1E00-4012-9F6C-9FBA3D5696D4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666947266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2855913" y="0"/>
            <a:ext cx="46037" cy="6858000"/>
          </a:xfrm>
          <a:prstGeom prst="rect">
            <a:avLst/>
          </a:prstGeom>
          <a:solidFill>
            <a:srgbClr val="FFFFFF"/>
          </a:solidFill>
          <a:ln w="48000" cap="flat" cmpd="thickThin" algn="ctr">
            <a:noFill/>
            <a:prstDash val="solid"/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9pPr>
          </a:lstStyle>
          <a:p>
            <a:pPr algn="ctr" eaLnBrk="1" hangingPunct="1"/>
            <a:endParaRPr lang="en-US" altLang="en-US" sz="1800">
              <a:solidFill>
                <a:srgbClr val="FFFFFF"/>
              </a:solidFill>
            </a:endParaRPr>
          </a:p>
        </p:txBody>
      </p:sp>
      <p:sp>
        <p:nvSpPr>
          <p:cNvPr id="6" name="Rectangle 5"/>
          <p:cNvSpPr/>
          <p:nvPr/>
        </p:nvSpPr>
        <p:spPr bwMode="invGray">
          <a:xfrm>
            <a:off x="2855913" y="0"/>
            <a:ext cx="46037" cy="6858000"/>
          </a:xfrm>
          <a:prstGeom prst="rect">
            <a:avLst/>
          </a:prstGeom>
          <a:solidFill>
            <a:srgbClr val="FFFFFF"/>
          </a:solidFill>
          <a:ln w="48000" cap="flat" cmpd="thickThin" algn="ctr">
            <a:noFill/>
            <a:prstDash val="solid"/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9pPr>
          </a:lstStyle>
          <a:p>
            <a:pPr algn="ctr" eaLnBrk="1" hangingPunct="1"/>
            <a:endParaRPr lang="en-US" altLang="en-US" sz="1800">
              <a:solidFill>
                <a:srgbClr val="FFFFF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4592" y="155448"/>
            <a:ext cx="2525150" cy="978408"/>
          </a:xfrm>
        </p:spPr>
        <p:txBody>
          <a:bodyPr lIns="73152" bIns="0" anchor="b">
            <a:sp3d prstMaterial="matte"/>
          </a:bodyPr>
          <a:lstStyle>
            <a:lvl1pPr algn="l">
              <a:defRPr sz="2000" b="0"/>
            </a:lvl1pPr>
            <a:extLst/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903805" y="1484808"/>
            <a:ext cx="6247397" cy="5373192"/>
          </a:xfrm>
          <a:solidFill>
            <a:schemeClr val="bg2">
              <a:shade val="75000"/>
            </a:schemeClr>
          </a:solidFill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  <a:extLst/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64592" y="1728216"/>
            <a:ext cx="2468880" cy="4572000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  <a:extLst/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Date Placeholder 4"/>
          <p:cNvSpPr>
            <a:spLocks noGrp="1"/>
          </p:cNvSpPr>
          <p:nvPr>
            <p:ph type="dt" sz="half" idx="10"/>
          </p:nvPr>
        </p:nvSpPr>
        <p:spPr>
          <a:xfrm>
            <a:off x="165100" y="1169988"/>
            <a:ext cx="2522538" cy="201612"/>
          </a:xfrm>
        </p:spPr>
        <p:txBody>
          <a:bodyPr/>
          <a:lstStyle>
            <a:lvl1pPr>
              <a:defRPr/>
            </a:lvl1pPr>
          </a:lstStyle>
          <a:p>
            <a:fld id="{DEFC8EEB-04AB-4543-B47A-765E728838AB}" type="datetime1">
              <a:rPr lang="en-US" altLang="en-US"/>
              <a:pPr/>
              <a:t>2/26/2019</a:t>
            </a:fld>
            <a:endParaRPr lang="en-US" altLang="en-US"/>
          </a:p>
        </p:txBody>
      </p:sp>
      <p:sp>
        <p:nvSpPr>
          <p:cNvPr id="8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035300" y="1169988"/>
            <a:ext cx="5194300" cy="201612"/>
          </a:xfrm>
        </p:spPr>
        <p:txBody>
          <a:bodyPr/>
          <a:lstStyle>
            <a:lvl1pPr>
              <a:defRPr>
                <a:solidFill>
                  <a:srgbClr val="BCBCBC"/>
                </a:solidFill>
              </a:defRPr>
            </a:lvl1pPr>
          </a:lstStyle>
          <a:p>
            <a:endParaRPr lang="en-US" altLang="en-US"/>
          </a:p>
        </p:txBody>
      </p:sp>
      <p:sp>
        <p:nvSpPr>
          <p:cNvPr id="9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8339138" y="1169988"/>
            <a:ext cx="733425" cy="201612"/>
          </a:xfrm>
        </p:spPr>
        <p:txBody>
          <a:bodyPr/>
          <a:lstStyle>
            <a:lvl1pPr>
              <a:defRPr/>
            </a:lvl1pPr>
          </a:lstStyle>
          <a:p>
            <a:fld id="{F4124062-C07B-4A5F-8B46-E3C77AA1FCEB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41552896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extLst/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>
            <a:extLst/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6B3A6310-69F8-4F58-8D66-F1E0B315EE3C}" type="datetime1">
              <a:rPr lang="en-US" altLang="en-US"/>
              <a:pPr/>
              <a:t>2/26/2019</a:t>
            </a:fld>
            <a:endParaRPr lang="en-US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E836B339-C93A-4846-920B-B78A407D44D6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263673409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 bwMode="invGray">
          <a:xfrm>
            <a:off x="6599238" y="0"/>
            <a:ext cx="46037" cy="6858000"/>
          </a:xfrm>
          <a:prstGeom prst="rect">
            <a:avLst/>
          </a:prstGeom>
          <a:solidFill>
            <a:srgbClr val="FFFFFF"/>
          </a:solidFill>
          <a:ln w="48000" cap="flat" cmpd="thickThin" algn="ctr">
            <a:noFill/>
            <a:prstDash val="solid"/>
          </a:ln>
          <a:effectLst>
            <a:outerShdw blurRad="31750" dist="10160" dir="10800000" algn="tl" rotWithShape="0">
              <a:srgbClr val="000000">
                <a:alpha val="60000"/>
              </a:srgbClr>
            </a:outerShdw>
          </a:effectLst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9pPr>
          </a:lstStyle>
          <a:p>
            <a:pPr algn="ctr" eaLnBrk="1" hangingPunct="1"/>
            <a:endParaRPr lang="en-US" altLang="en-US" sz="1800">
              <a:solidFill>
                <a:srgbClr val="FFFFFF"/>
              </a:solidFill>
            </a:endParaRPr>
          </a:p>
        </p:txBody>
      </p:sp>
      <p:sp>
        <p:nvSpPr>
          <p:cNvPr id="5" name="Rectangle 4"/>
          <p:cNvSpPr/>
          <p:nvPr/>
        </p:nvSpPr>
        <p:spPr bwMode="ltGray">
          <a:xfrm>
            <a:off x="6648450" y="0"/>
            <a:ext cx="2514600" cy="6858000"/>
          </a:xfrm>
          <a:prstGeom prst="rect">
            <a:avLst/>
          </a:prstGeom>
          <a:solidFill>
            <a:srgbClr val="000000"/>
          </a:solidFill>
          <a:ln w="48000" cap="flat" cmpd="thickThin" algn="ctr">
            <a:noFill/>
            <a:prstDash val="solid"/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9pPr>
          </a:lstStyle>
          <a:p>
            <a:pPr algn="ctr" eaLnBrk="1" hangingPunct="1"/>
            <a:endParaRPr lang="en-US" altLang="en-US" sz="1800">
              <a:solidFill>
                <a:srgbClr val="FFFFFF"/>
              </a:solidFill>
            </a:endParaRPr>
          </a:p>
        </p:txBody>
      </p:sp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781800" y="274640"/>
            <a:ext cx="1905000" cy="5851525"/>
          </a:xfrm>
        </p:spPr>
        <p:txBody>
          <a:bodyPr vert="eaVert"/>
          <a:lstStyle>
            <a:extLst/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304800"/>
            <a:ext cx="6019800" cy="5851525"/>
          </a:xfrm>
        </p:spPr>
        <p:txBody>
          <a:bodyPr vert="eaVert"/>
          <a:lstStyle>
            <a:extLst/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89BD193E-FC6E-4C95-8045-29A06EE2FE75}" type="datetime1">
              <a:rPr lang="en-US" altLang="en-US"/>
              <a:pPr/>
              <a:t>2/26/2019</a:t>
            </a:fld>
            <a:endParaRPr lang="en-US" altLang="en-US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640013" y="6376988"/>
            <a:ext cx="3836987" cy="365125"/>
          </a:xfrm>
        </p:spPr>
        <p:txBody>
          <a:bodyPr/>
          <a:lstStyle>
            <a:lvl1pPr>
              <a:defRPr/>
            </a:lvl1pPr>
          </a:lstStyle>
          <a:p>
            <a:endParaRPr lang="en-US" altLang="en-US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9E1C18DD-9896-4ED6-BA00-52A1A3414F3B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303450141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C7C6C25D-22B8-428E-B313-D006AFF2848C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779738751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49E88C76-B3D0-4344-A0BF-AF1B28398846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954231635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C0D6C8C4-ED8F-4FFD-9A50-36AC29288EBE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056521692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816C0C18-2984-471E-AABB-9F8C613662BC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94267377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8F961929-A862-40F3-A344-465CA3C2097A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037212156"/>
      </p:ext>
    </p:extLst>
  </p:cSld>
  <p:clrMapOvr>
    <a:masterClrMapping/>
  </p:clrMapOvr>
  <p:transition/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9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ED05B72F-E77E-4487-A5BF-B47291FE1183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610871410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AF87BB79-98AE-4322-8DAB-B4EC319AC591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269252493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9F45806F-3CB6-4BEF-91E5-65ECB59AF9BE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720415398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896323AA-FA0D-460E-8CDE-C587B6B9FBCE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479663648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46F16436-B745-4ABF-B88D-7A6B1E65B4A2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180883410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C2DA33E5-2007-435D-B707-387EA56303EF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594296941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3D087F44-2F64-401F-B1D0-6B3DA827575B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957136327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type="objAndTwoObj" preserve="1">
  <p:cSld name="Title, Content, and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4648200" y="1600200"/>
            <a:ext cx="4038600" cy="21859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Content Placeholder 4"/>
          <p:cNvSpPr>
            <a:spLocks noGrp="1"/>
          </p:cNvSpPr>
          <p:nvPr>
            <p:ph sz="quarter" idx="3"/>
          </p:nvPr>
        </p:nvSpPr>
        <p:spPr>
          <a:xfrm>
            <a:off x="4648200" y="3938588"/>
            <a:ext cx="4038600" cy="218757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8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E6FDEAE7-C26A-4AB7-8C51-5CD3AD9CC604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063876057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type="fourObj" preserve="1">
  <p:cSld name="Title and 4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sz="quarter"/>
          </p:nvPr>
        </p:nvSpPr>
        <p:spPr>
          <a:xfrm>
            <a:off x="457200" y="274638"/>
            <a:ext cx="8229600" cy="11430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"/>
          </p:nvPr>
        </p:nvSpPr>
        <p:spPr>
          <a:xfrm>
            <a:off x="457200" y="1600200"/>
            <a:ext cx="4038600" cy="21859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4648200" y="1600200"/>
            <a:ext cx="4038600" cy="21859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Content Placeholder 4"/>
          <p:cNvSpPr>
            <a:spLocks noGrp="1"/>
          </p:cNvSpPr>
          <p:nvPr>
            <p:ph sz="quarter" idx="3"/>
          </p:nvPr>
        </p:nvSpPr>
        <p:spPr>
          <a:xfrm>
            <a:off x="457200" y="3938588"/>
            <a:ext cx="4038600" cy="218757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8200" y="3938588"/>
            <a:ext cx="4038600" cy="218757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9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7D17AE52-08BD-432B-AEC9-A614D79D81F5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373551813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600200"/>
            <a:ext cx="7772400" cy="1470025"/>
          </a:xfrm>
        </p:spPr>
        <p:txBody>
          <a:bodyPr>
            <a:normAutofit/>
          </a:bodyPr>
          <a:lstStyle>
            <a:lvl1pPr algn="ctr">
              <a:defRPr sz="40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355975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922D94B-67BE-4DCA-99F2-D8295CA971C1}" type="datetimeFigureOut">
              <a:rPr lang="en-US"/>
              <a:pPr>
                <a:defRPr/>
              </a:pPr>
              <a:t>2/26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5BEEA903-27F8-4E7F-87BD-A4946C1096ED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58614368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IN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N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EA2227D9-AE12-4265-A99E-37E2FCED1E66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733343064"/>
      </p:ext>
    </p:extLst>
  </p:cSld>
  <p:clrMapOvr>
    <a:masterClrMapping/>
  </p:clrMapOvr>
  <p:transition/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0"/>
            <a:ext cx="8229600" cy="914400"/>
          </a:xfrm>
        </p:spPr>
        <p:txBody>
          <a:bodyPr>
            <a:normAutofit/>
          </a:bodyPr>
          <a:lstStyle>
            <a:lvl1pPr algn="l">
              <a:defRPr sz="40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990600"/>
            <a:ext cx="8229600" cy="5135563"/>
          </a:xfrm>
        </p:spPr>
        <p:txBody>
          <a:bodyPr>
            <a:normAutofit/>
          </a:bodyPr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D0D84D8-F660-45EF-9873-F7CC84CDF5A8}" type="datetimeFigureOut">
              <a:rPr lang="en-US"/>
              <a:pPr>
                <a:defRPr/>
              </a:pPr>
              <a:t>2/26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3EFD9DF6-705D-49FB-B5F9-91421C67C3EE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262709480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C394F1E-883B-4992-AD00-4DA3F67B4C75}" type="datetimeFigureOut">
              <a:rPr lang="en-US"/>
              <a:pPr>
                <a:defRPr/>
              </a:pPr>
              <a:t>2/26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D053E948-423A-4915-8321-90FB5E93F5B8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707959465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CBECA38-5FDE-4ADF-A413-6486D749E052}" type="datetimeFigureOut">
              <a:rPr lang="en-US"/>
              <a:pPr>
                <a:defRPr/>
              </a:pPr>
              <a:t>2/26/2019</a:t>
            </a:fld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A93D3822-F373-47E4-8D5E-FA57BB37C0D9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4196721005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1EF0FA9-6F4D-4F5A-A5BD-0E65E84BF905}" type="datetimeFigureOut">
              <a:rPr lang="en-US"/>
              <a:pPr>
                <a:defRPr/>
              </a:pPr>
              <a:t>2/26/2019</a:t>
            </a:fld>
            <a:endParaRPr lang="en-US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C79C3FB7-D16B-432B-8CF0-E0162377D59B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577246713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2902141-F696-47C4-979B-D2DEA78C6E8C}" type="datetimeFigureOut">
              <a:rPr lang="en-US"/>
              <a:pPr>
                <a:defRPr/>
              </a:pPr>
              <a:t>2/26/2019</a:t>
            </a:fld>
            <a:endParaRPr lang="en-US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6F48C163-ADFB-4CA9-AE12-3FA82503C024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946606896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F52725C-7AD8-4818-9BAA-C34147B2AD19}" type="datetimeFigureOut">
              <a:rPr lang="en-US"/>
              <a:pPr>
                <a:defRPr/>
              </a:pPr>
              <a:t>2/26/2019</a:t>
            </a:fld>
            <a:endParaRPr lang="en-US"/>
          </a:p>
        </p:txBody>
      </p:sp>
      <p:sp>
        <p:nvSpPr>
          <p:cNvPr id="3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F35A4B48-A8B7-4993-A3A0-4D0A92CD0A89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897654095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C78E360-3DC8-4013-A88F-98FE01591CD1}" type="datetimeFigureOut">
              <a:rPr lang="en-US"/>
              <a:pPr>
                <a:defRPr/>
              </a:pPr>
              <a:t>2/26/2019</a:t>
            </a:fld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E56C3EA8-81E0-4279-9171-0EB5F44FE1EC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4226208188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25D09AB-AF9A-4960-8763-D31E428FE32A}" type="datetimeFigureOut">
              <a:rPr lang="en-US"/>
              <a:pPr>
                <a:defRPr/>
              </a:pPr>
              <a:t>2/26/2019</a:t>
            </a:fld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86E73B57-4726-4E62-A8B8-777B8B24BFB7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053236872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48CBEDF-42EE-4A19-A5DF-5420F6EC8123}" type="datetimeFigureOut">
              <a:rPr lang="en-US"/>
              <a:pPr>
                <a:defRPr/>
              </a:pPr>
              <a:t>2/26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E5571766-D592-4F50-9605-3176FA364516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627017774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C572F50-F6F0-4125-92B9-C155F6FC8D5F}" type="datetimeFigureOut">
              <a:rPr lang="en-US"/>
              <a:pPr>
                <a:defRPr/>
              </a:pPr>
              <a:t>2/26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40CB5B18-5B22-4CB0-AD42-DC7FF55A3ED1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76972375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IN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IN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44308FE8-5F3C-4EE0-A21F-E00DE3A6644F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969434170"/>
      </p:ext>
    </p:extLst>
  </p:cSld>
  <p:clrMapOvr>
    <a:masterClrMapping/>
  </p:clrMapOvr>
  <p:transition/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bg>
      <p:bgPr>
        <a:blipFill dpi="0" rotWithShape="0">
          <a:blip r:embed="rId3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 bwMode="ltGray">
          <a:xfrm>
            <a:off x="0" y="0"/>
            <a:ext cx="9144000" cy="5135563"/>
          </a:xfrm>
          <a:prstGeom prst="rect">
            <a:avLst/>
          </a:prstGeom>
          <a:solidFill>
            <a:srgbClr val="000000"/>
          </a:solidFill>
          <a:ln w="48000" cap="flat" cmpd="thickThin" algn="ctr">
            <a:noFill/>
            <a:prstDash val="solid"/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9pPr>
          </a:lstStyle>
          <a:p>
            <a:pPr algn="ctr" eaLnBrk="1" hangingPunct="1"/>
            <a:endParaRPr lang="en-US" altLang="en-US" sz="1800">
              <a:solidFill>
                <a:srgbClr val="FFFFFF"/>
              </a:solidFill>
            </a:endParaRPr>
          </a:p>
        </p:txBody>
      </p:sp>
      <p:sp>
        <p:nvSpPr>
          <p:cNvPr id="5" name="Rectangle 4"/>
          <p:cNvSpPr/>
          <p:nvPr/>
        </p:nvSpPr>
        <p:spPr bwMode="invGray">
          <a:xfrm>
            <a:off x="0" y="5127625"/>
            <a:ext cx="9144000" cy="46038"/>
          </a:xfrm>
          <a:prstGeom prst="rect">
            <a:avLst/>
          </a:prstGeom>
          <a:solidFill>
            <a:srgbClr val="FFFFFF"/>
          </a:solidFill>
          <a:ln w="48000" cap="flat" cmpd="thickThin" algn="ctr">
            <a:noFill/>
            <a:prstDash val="solid"/>
          </a:ln>
          <a:effectLst>
            <a:outerShdw blurRad="31750" dist="10160" dir="5400000" algn="tl" rotWithShape="0">
              <a:srgbClr val="000000">
                <a:alpha val="60000"/>
              </a:srgbClr>
            </a:outerShdw>
          </a:effectLst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9pPr>
          </a:lstStyle>
          <a:p>
            <a:pPr algn="ctr" eaLnBrk="1" hangingPunct="1"/>
            <a:endParaRPr lang="en-US" altLang="en-US" sz="1800">
              <a:solidFill>
                <a:srgbClr val="FFFFF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3355848"/>
            <a:ext cx="8077200" cy="1673352"/>
          </a:xfrm>
        </p:spPr>
        <p:txBody>
          <a:bodyPr tIns="0" bIns="0" anchor="t">
            <a:normAutofit/>
          </a:bodyPr>
          <a:lstStyle>
            <a:lvl1pPr algn="l">
              <a:defRPr sz="4700" b="1"/>
            </a:lvl1pPr>
            <a:extLst/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85800" y="1828800"/>
            <a:ext cx="8077200" cy="1499616"/>
          </a:xfrm>
        </p:spPr>
        <p:txBody>
          <a:bodyPr lIns="118872" tIns="0" rIns="45720" bIns="0" anchor="b"/>
          <a:lstStyle>
            <a:lvl1pPr marL="0" indent="0" algn="l">
              <a:buNone/>
              <a:defRPr sz="2000">
                <a:solidFill>
                  <a:srgbClr val="FFFFFF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  <a:extLst/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sp>
        <p:nvSpPr>
          <p:cNvPr id="6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0C6F159D-1BB5-407B-BAC3-51E8C57F2AF4}" type="datetime1">
              <a:rPr lang="en-US" altLang="en-US"/>
              <a:pPr/>
              <a:t>2/26/2019</a:t>
            </a:fld>
            <a:endParaRPr lang="en-US" altLang="en-US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87033856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spcBef>
                <a:spcPts val="1200"/>
              </a:spcBef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600"/>
            </a:lvl5pPr>
            <a:extLst/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7" name="Title Placeholder 1"/>
          <p:cNvSpPr>
            <a:spLocks noGrp="1"/>
          </p:cNvSpPr>
          <p:nvPr>
            <p:ph type="title"/>
          </p:nvPr>
        </p:nvSpPr>
        <p:spPr>
          <a:xfrm>
            <a:off x="152400" y="0"/>
            <a:ext cx="8839200" cy="609600"/>
          </a:xfrm>
          <a:prstGeom prst="rect">
            <a:avLst/>
          </a:prstGeom>
        </p:spPr>
        <p:txBody>
          <a:bodyPr/>
          <a:lstStyle>
            <a:lvl1pPr>
              <a:defRPr sz="4000"/>
            </a:lvl1pPr>
            <a:extLst/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DA9A0C7D-6AC7-4D85-8E24-0F9456C5D2F2}" type="datetime1">
              <a:rPr lang="en-US" altLang="en-US"/>
              <a:pPr/>
              <a:t>2/26/2019</a:t>
            </a:fld>
            <a:endParaRPr lang="en-US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4A9C9827-7C55-42C3-B86C-1E7204BA9330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04729230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 bwMode="ltGray">
          <a:xfrm>
            <a:off x="0" y="0"/>
            <a:ext cx="9144000" cy="2601913"/>
          </a:xfrm>
          <a:prstGeom prst="rect">
            <a:avLst/>
          </a:prstGeom>
          <a:solidFill>
            <a:srgbClr val="000000"/>
          </a:solidFill>
          <a:ln w="48000" cap="flat" cmpd="thickThin" algn="ctr">
            <a:noFill/>
            <a:prstDash val="solid"/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9pPr>
          </a:lstStyle>
          <a:p>
            <a:pPr algn="ctr" eaLnBrk="1" hangingPunct="1"/>
            <a:endParaRPr lang="en-US" altLang="en-US" sz="1800">
              <a:solidFill>
                <a:srgbClr val="FFFFFF"/>
              </a:solidFill>
            </a:endParaRPr>
          </a:p>
        </p:txBody>
      </p:sp>
      <p:sp>
        <p:nvSpPr>
          <p:cNvPr id="5" name="Rectangle 4"/>
          <p:cNvSpPr/>
          <p:nvPr/>
        </p:nvSpPr>
        <p:spPr bwMode="invGray">
          <a:xfrm>
            <a:off x="0" y="2601913"/>
            <a:ext cx="9144000" cy="46037"/>
          </a:xfrm>
          <a:prstGeom prst="rect">
            <a:avLst/>
          </a:prstGeom>
          <a:solidFill>
            <a:srgbClr val="FFFFFF"/>
          </a:solidFill>
          <a:ln w="48000" cap="flat" cmpd="thickThin" algn="ctr">
            <a:noFill/>
            <a:prstDash val="solid"/>
          </a:ln>
          <a:effectLst>
            <a:outerShdw blurRad="31750" dist="10160" dir="5400000" algn="tl" rotWithShape="0">
              <a:srgbClr val="000000">
                <a:alpha val="60000"/>
              </a:srgbClr>
            </a:outerShdw>
          </a:effectLst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9pPr>
          </a:lstStyle>
          <a:p>
            <a:pPr algn="ctr" eaLnBrk="1" hangingPunct="1"/>
            <a:endParaRPr lang="en-US" altLang="en-US" sz="1800">
              <a:solidFill>
                <a:srgbClr val="FFFFF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49808" y="118872"/>
            <a:ext cx="8013192" cy="1636776"/>
          </a:xfrm>
        </p:spPr>
        <p:txBody>
          <a:bodyPr tIns="0" rIns="91440" bIns="0" anchor="b">
            <a:normAutofit/>
          </a:bodyPr>
          <a:lstStyle>
            <a:lvl1pPr algn="l">
              <a:defRPr sz="4700" b="1" cap="none" baseline="0"/>
            </a:lvl1pPr>
            <a:extLst/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40664" y="1828800"/>
            <a:ext cx="8022336" cy="685800"/>
          </a:xfrm>
        </p:spPr>
        <p:txBody>
          <a:bodyPr lIns="146304" tIns="0" rIns="45720" bIns="0"/>
          <a:lstStyle>
            <a:lvl1pPr marL="0" indent="0">
              <a:buNone/>
              <a:defRPr sz="2000">
                <a:solidFill>
                  <a:srgbClr val="FFFFFF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  <a:extLst/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4D3E264F-AFDF-4268-96E7-09AF1B8CE92A}" type="datetime1">
              <a:rPr lang="en-US" altLang="en-US"/>
              <a:pPr/>
              <a:t>2/26/2019</a:t>
            </a:fld>
            <a:endParaRPr lang="en-US" altLang="en-US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endParaRPr lang="en-US" altLang="en-US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71375954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extLst/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79D3833C-F2C7-430E-B22D-117577FEF579}" type="datetime1">
              <a:rPr lang="en-US" altLang="en-US"/>
              <a:pPr/>
              <a:t>2/26/2019</a:t>
            </a:fld>
            <a:endParaRPr lang="en-US" altLang="en-US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en-US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E86C110E-748E-4BF6-A486-CEC2A71F4CA2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441488947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47BFD323-4A4D-4D85-BCE2-B4D01D77E58C}" type="datetime1">
              <a:rPr lang="en-US" altLang="en-US"/>
              <a:pPr/>
              <a:t>2/26/2019</a:t>
            </a:fld>
            <a:endParaRPr lang="en-US" altLang="en-US"/>
          </a:p>
        </p:txBody>
      </p:sp>
      <p:sp>
        <p:nvSpPr>
          <p:cNvPr id="3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en-US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B5348124-A765-4943-8590-31757BD82C17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030771200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 bwMode="invGray">
          <a:xfrm>
            <a:off x="2855913" y="0"/>
            <a:ext cx="46037" cy="1454150"/>
          </a:xfrm>
          <a:prstGeom prst="rect">
            <a:avLst/>
          </a:prstGeom>
          <a:solidFill>
            <a:srgbClr val="FFFFFF"/>
          </a:solidFill>
          <a:ln w="48000" cap="flat" cmpd="thickThin" algn="ctr">
            <a:noFill/>
            <a:prstDash val="solid"/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9pPr>
          </a:lstStyle>
          <a:p>
            <a:pPr algn="ctr" eaLnBrk="1" hangingPunct="1"/>
            <a:endParaRPr lang="en-US" altLang="en-US" sz="1800">
              <a:solidFill>
                <a:srgbClr val="FFFFFF"/>
              </a:solidFill>
            </a:endParaRPr>
          </a:p>
        </p:txBody>
      </p:sp>
      <p:sp>
        <p:nvSpPr>
          <p:cNvPr id="6" name="Rectangle 5"/>
          <p:cNvSpPr/>
          <p:nvPr/>
        </p:nvSpPr>
        <p:spPr bwMode="invGray">
          <a:xfrm>
            <a:off x="2855913" y="0"/>
            <a:ext cx="46037" cy="1454150"/>
          </a:xfrm>
          <a:prstGeom prst="rect">
            <a:avLst/>
          </a:prstGeom>
          <a:solidFill>
            <a:srgbClr val="FFFFFF"/>
          </a:solidFill>
          <a:ln w="48000" cap="flat" cmpd="thickThin" algn="ctr">
            <a:noFill/>
            <a:prstDash val="solid"/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9pPr>
          </a:lstStyle>
          <a:p>
            <a:pPr algn="ctr" eaLnBrk="1" hangingPunct="1"/>
            <a:endParaRPr lang="en-US" altLang="en-US" sz="1800">
              <a:solidFill>
                <a:srgbClr val="FFFFF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7838" y="152400"/>
            <a:ext cx="2523744" cy="978408"/>
          </a:xfrm>
        </p:spPr>
        <p:txBody>
          <a:bodyPr lIns="73152" bIns="0" anchor="b">
            <a:normAutofit/>
            <a:sp3d prstMaterial="matte"/>
          </a:bodyPr>
          <a:lstStyle>
            <a:lvl1pPr algn="l">
              <a:defRPr sz="2000" b="0"/>
            </a:lvl1pPr>
            <a:extLst/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019377" y="1743133"/>
            <a:ext cx="5920641" cy="455888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  <a:extLst/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67838" y="1730018"/>
            <a:ext cx="2468880" cy="4572000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  <a:extLst/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7814DC55-3EB3-457D-9E6F-23088899BB46}" type="datetime1">
              <a:rPr lang="en-US" altLang="en-US"/>
              <a:pPr/>
              <a:t>2/26/2019</a:t>
            </a:fld>
            <a:endParaRPr lang="en-US" altLang="en-US"/>
          </a:p>
        </p:txBody>
      </p:sp>
      <p:sp>
        <p:nvSpPr>
          <p:cNvPr id="8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en-US"/>
          </a:p>
        </p:txBody>
      </p:sp>
      <p:sp>
        <p:nvSpPr>
          <p:cNvPr id="9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6013F9BE-1E00-4012-9F6C-9FBA3D5696D4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848759760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2855913" y="0"/>
            <a:ext cx="46037" cy="6858000"/>
          </a:xfrm>
          <a:prstGeom prst="rect">
            <a:avLst/>
          </a:prstGeom>
          <a:solidFill>
            <a:srgbClr val="FFFFFF"/>
          </a:solidFill>
          <a:ln w="48000" cap="flat" cmpd="thickThin" algn="ctr">
            <a:noFill/>
            <a:prstDash val="solid"/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9pPr>
          </a:lstStyle>
          <a:p>
            <a:pPr algn="ctr" eaLnBrk="1" hangingPunct="1"/>
            <a:endParaRPr lang="en-US" altLang="en-US" sz="1800">
              <a:solidFill>
                <a:srgbClr val="FFFFFF"/>
              </a:solidFill>
            </a:endParaRPr>
          </a:p>
        </p:txBody>
      </p:sp>
      <p:sp>
        <p:nvSpPr>
          <p:cNvPr id="6" name="Rectangle 5"/>
          <p:cNvSpPr/>
          <p:nvPr/>
        </p:nvSpPr>
        <p:spPr bwMode="invGray">
          <a:xfrm>
            <a:off x="2855913" y="0"/>
            <a:ext cx="46037" cy="6858000"/>
          </a:xfrm>
          <a:prstGeom prst="rect">
            <a:avLst/>
          </a:prstGeom>
          <a:solidFill>
            <a:srgbClr val="FFFFFF"/>
          </a:solidFill>
          <a:ln w="48000" cap="flat" cmpd="thickThin" algn="ctr">
            <a:noFill/>
            <a:prstDash val="solid"/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9pPr>
          </a:lstStyle>
          <a:p>
            <a:pPr algn="ctr" eaLnBrk="1" hangingPunct="1"/>
            <a:endParaRPr lang="en-US" altLang="en-US" sz="1800">
              <a:solidFill>
                <a:srgbClr val="FFFFF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4592" y="155448"/>
            <a:ext cx="2525150" cy="978408"/>
          </a:xfrm>
        </p:spPr>
        <p:txBody>
          <a:bodyPr lIns="73152" bIns="0" anchor="b">
            <a:sp3d prstMaterial="matte"/>
          </a:bodyPr>
          <a:lstStyle>
            <a:lvl1pPr algn="l">
              <a:defRPr sz="2000" b="0"/>
            </a:lvl1pPr>
            <a:extLst/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903805" y="1484808"/>
            <a:ext cx="6247397" cy="5373192"/>
          </a:xfrm>
          <a:solidFill>
            <a:schemeClr val="bg2">
              <a:shade val="75000"/>
            </a:schemeClr>
          </a:solidFill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  <a:extLst/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64592" y="1728216"/>
            <a:ext cx="2468880" cy="4572000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  <a:extLst/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Date Placeholder 4"/>
          <p:cNvSpPr>
            <a:spLocks noGrp="1"/>
          </p:cNvSpPr>
          <p:nvPr>
            <p:ph type="dt" sz="half" idx="10"/>
          </p:nvPr>
        </p:nvSpPr>
        <p:spPr>
          <a:xfrm>
            <a:off x="165100" y="1169988"/>
            <a:ext cx="2522538" cy="201612"/>
          </a:xfrm>
        </p:spPr>
        <p:txBody>
          <a:bodyPr/>
          <a:lstStyle>
            <a:lvl1pPr>
              <a:defRPr/>
            </a:lvl1pPr>
          </a:lstStyle>
          <a:p>
            <a:fld id="{DEFC8EEB-04AB-4543-B47A-765E728838AB}" type="datetime1">
              <a:rPr lang="en-US" altLang="en-US"/>
              <a:pPr/>
              <a:t>2/26/2019</a:t>
            </a:fld>
            <a:endParaRPr lang="en-US" altLang="en-US"/>
          </a:p>
        </p:txBody>
      </p:sp>
      <p:sp>
        <p:nvSpPr>
          <p:cNvPr id="8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035300" y="1169988"/>
            <a:ext cx="5194300" cy="201612"/>
          </a:xfrm>
        </p:spPr>
        <p:txBody>
          <a:bodyPr/>
          <a:lstStyle>
            <a:lvl1pPr>
              <a:defRPr>
                <a:solidFill>
                  <a:srgbClr val="BCBCBC"/>
                </a:solidFill>
              </a:defRPr>
            </a:lvl1pPr>
          </a:lstStyle>
          <a:p>
            <a:endParaRPr lang="en-US" altLang="en-US"/>
          </a:p>
        </p:txBody>
      </p:sp>
      <p:sp>
        <p:nvSpPr>
          <p:cNvPr id="9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8339138" y="1169988"/>
            <a:ext cx="733425" cy="201612"/>
          </a:xfrm>
        </p:spPr>
        <p:txBody>
          <a:bodyPr/>
          <a:lstStyle>
            <a:lvl1pPr>
              <a:defRPr/>
            </a:lvl1pPr>
          </a:lstStyle>
          <a:p>
            <a:fld id="{F4124062-C07B-4A5F-8B46-E3C77AA1FCEB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1691388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extLst/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>
            <a:extLst/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6B3A6310-69F8-4F58-8D66-F1E0B315EE3C}" type="datetime1">
              <a:rPr lang="en-US" altLang="en-US"/>
              <a:pPr/>
              <a:t>2/26/2019</a:t>
            </a:fld>
            <a:endParaRPr lang="en-US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E836B339-C93A-4846-920B-B78A407D44D6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916090206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 bwMode="invGray">
          <a:xfrm>
            <a:off x="6599238" y="0"/>
            <a:ext cx="46037" cy="6858000"/>
          </a:xfrm>
          <a:prstGeom prst="rect">
            <a:avLst/>
          </a:prstGeom>
          <a:solidFill>
            <a:srgbClr val="FFFFFF"/>
          </a:solidFill>
          <a:ln w="48000" cap="flat" cmpd="thickThin" algn="ctr">
            <a:noFill/>
            <a:prstDash val="solid"/>
          </a:ln>
          <a:effectLst>
            <a:outerShdw blurRad="31750" dist="10160" dir="10800000" algn="tl" rotWithShape="0">
              <a:srgbClr val="000000">
                <a:alpha val="60000"/>
              </a:srgbClr>
            </a:outerShdw>
          </a:effectLst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9pPr>
          </a:lstStyle>
          <a:p>
            <a:pPr algn="ctr" eaLnBrk="1" hangingPunct="1"/>
            <a:endParaRPr lang="en-US" altLang="en-US" sz="1800">
              <a:solidFill>
                <a:srgbClr val="FFFFFF"/>
              </a:solidFill>
            </a:endParaRPr>
          </a:p>
        </p:txBody>
      </p:sp>
      <p:sp>
        <p:nvSpPr>
          <p:cNvPr id="5" name="Rectangle 4"/>
          <p:cNvSpPr/>
          <p:nvPr/>
        </p:nvSpPr>
        <p:spPr bwMode="ltGray">
          <a:xfrm>
            <a:off x="6648450" y="0"/>
            <a:ext cx="2514600" cy="6858000"/>
          </a:xfrm>
          <a:prstGeom prst="rect">
            <a:avLst/>
          </a:prstGeom>
          <a:solidFill>
            <a:srgbClr val="000000"/>
          </a:solidFill>
          <a:ln w="48000" cap="flat" cmpd="thickThin" algn="ctr">
            <a:noFill/>
            <a:prstDash val="solid"/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9pPr>
          </a:lstStyle>
          <a:p>
            <a:pPr algn="ctr" eaLnBrk="1" hangingPunct="1"/>
            <a:endParaRPr lang="en-US" altLang="en-US" sz="1800">
              <a:solidFill>
                <a:srgbClr val="FFFFFF"/>
              </a:solidFill>
            </a:endParaRPr>
          </a:p>
        </p:txBody>
      </p:sp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781800" y="274640"/>
            <a:ext cx="1905000" cy="5851525"/>
          </a:xfrm>
        </p:spPr>
        <p:txBody>
          <a:bodyPr vert="eaVert"/>
          <a:lstStyle>
            <a:extLst/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304800"/>
            <a:ext cx="6019800" cy="5851525"/>
          </a:xfrm>
        </p:spPr>
        <p:txBody>
          <a:bodyPr vert="eaVert"/>
          <a:lstStyle>
            <a:extLst/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89BD193E-FC6E-4C95-8045-29A06EE2FE75}" type="datetime1">
              <a:rPr lang="en-US" altLang="en-US"/>
              <a:pPr/>
              <a:t>2/26/2019</a:t>
            </a:fld>
            <a:endParaRPr lang="en-US" altLang="en-US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640013" y="6376988"/>
            <a:ext cx="3836987" cy="365125"/>
          </a:xfrm>
        </p:spPr>
        <p:txBody>
          <a:bodyPr/>
          <a:lstStyle>
            <a:lvl1pPr>
              <a:defRPr/>
            </a:lvl1pPr>
          </a:lstStyle>
          <a:p>
            <a:endParaRPr lang="en-US" altLang="en-US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9E1C18DD-9896-4ED6-BA00-52A1A3414F3B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675805630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bg>
      <p:bgPr>
        <a:blipFill dpi="0" rotWithShape="0">
          <a:blip r:embed="rId3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 bwMode="ltGray">
          <a:xfrm>
            <a:off x="0" y="0"/>
            <a:ext cx="9144000" cy="5135563"/>
          </a:xfrm>
          <a:prstGeom prst="rect">
            <a:avLst/>
          </a:prstGeom>
          <a:solidFill>
            <a:srgbClr val="000000"/>
          </a:solidFill>
          <a:ln w="48000" cap="flat" cmpd="thickThin" algn="ctr">
            <a:noFill/>
            <a:prstDash val="solid"/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9pPr>
          </a:lstStyle>
          <a:p>
            <a:pPr algn="ctr" eaLnBrk="1" hangingPunct="1"/>
            <a:endParaRPr lang="en-US" altLang="en-US" sz="1800">
              <a:solidFill>
                <a:srgbClr val="FFFFFF"/>
              </a:solidFill>
            </a:endParaRPr>
          </a:p>
        </p:txBody>
      </p:sp>
      <p:sp>
        <p:nvSpPr>
          <p:cNvPr id="5" name="Rectangle 4"/>
          <p:cNvSpPr/>
          <p:nvPr/>
        </p:nvSpPr>
        <p:spPr bwMode="invGray">
          <a:xfrm>
            <a:off x="0" y="5127625"/>
            <a:ext cx="9144000" cy="46038"/>
          </a:xfrm>
          <a:prstGeom prst="rect">
            <a:avLst/>
          </a:prstGeom>
          <a:solidFill>
            <a:srgbClr val="FFFFFF"/>
          </a:solidFill>
          <a:ln w="48000" cap="flat" cmpd="thickThin" algn="ctr">
            <a:noFill/>
            <a:prstDash val="solid"/>
          </a:ln>
          <a:effectLst>
            <a:outerShdw blurRad="31750" dist="10160" dir="5400000" algn="tl" rotWithShape="0">
              <a:srgbClr val="000000">
                <a:alpha val="60000"/>
              </a:srgbClr>
            </a:outerShdw>
          </a:effectLst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9pPr>
          </a:lstStyle>
          <a:p>
            <a:pPr algn="ctr" eaLnBrk="1" hangingPunct="1"/>
            <a:endParaRPr lang="en-US" altLang="en-US" sz="1800">
              <a:solidFill>
                <a:srgbClr val="FFFFF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3355848"/>
            <a:ext cx="8077200" cy="1673352"/>
          </a:xfrm>
        </p:spPr>
        <p:txBody>
          <a:bodyPr tIns="0" bIns="0" anchor="t">
            <a:normAutofit/>
          </a:bodyPr>
          <a:lstStyle>
            <a:lvl1pPr algn="l">
              <a:defRPr sz="4700" b="1"/>
            </a:lvl1pPr>
            <a:extLst/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85800" y="1828800"/>
            <a:ext cx="8077200" cy="1499616"/>
          </a:xfrm>
        </p:spPr>
        <p:txBody>
          <a:bodyPr lIns="118872" tIns="0" rIns="45720" bIns="0" anchor="b"/>
          <a:lstStyle>
            <a:lvl1pPr marL="0" indent="0" algn="l">
              <a:buNone/>
              <a:defRPr sz="2000">
                <a:solidFill>
                  <a:srgbClr val="FFFFFF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  <a:extLst/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sp>
        <p:nvSpPr>
          <p:cNvPr id="6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0C6F159D-1BB5-407B-BAC3-51E8C57F2AF4}" type="datetime1">
              <a:rPr lang="en-US" altLang="en-US"/>
              <a:pPr/>
              <a:t>2/26/2019</a:t>
            </a:fld>
            <a:endParaRPr lang="en-US" altLang="en-US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04308446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6.xml"/><Relationship Id="rId3" Type="http://schemas.openxmlformats.org/officeDocument/2006/relationships/slideLayout" Target="../slideLayouts/slideLayout101.xml"/><Relationship Id="rId7" Type="http://schemas.openxmlformats.org/officeDocument/2006/relationships/slideLayout" Target="../slideLayouts/slideLayout105.xml"/><Relationship Id="rId2" Type="http://schemas.openxmlformats.org/officeDocument/2006/relationships/slideLayout" Target="../slideLayouts/slideLayout100.xml"/><Relationship Id="rId1" Type="http://schemas.openxmlformats.org/officeDocument/2006/relationships/slideLayout" Target="../slideLayouts/slideLayout99.xml"/><Relationship Id="rId6" Type="http://schemas.openxmlformats.org/officeDocument/2006/relationships/slideLayout" Target="../slideLayouts/slideLayout104.xml"/><Relationship Id="rId5" Type="http://schemas.openxmlformats.org/officeDocument/2006/relationships/slideLayout" Target="../slideLayouts/slideLayout103.xml"/><Relationship Id="rId10" Type="http://schemas.openxmlformats.org/officeDocument/2006/relationships/theme" Target="../theme/theme10.xml"/><Relationship Id="rId4" Type="http://schemas.openxmlformats.org/officeDocument/2006/relationships/slideLayout" Target="../slideLayouts/slideLayout102.xml"/><Relationship Id="rId9" Type="http://schemas.openxmlformats.org/officeDocument/2006/relationships/slideLayout" Target="../slideLayouts/slideLayout107.xml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5.xml"/><Relationship Id="rId3" Type="http://schemas.openxmlformats.org/officeDocument/2006/relationships/slideLayout" Target="../slideLayouts/slideLayout110.xml"/><Relationship Id="rId7" Type="http://schemas.openxmlformats.org/officeDocument/2006/relationships/slideLayout" Target="../slideLayouts/slideLayout114.xml"/><Relationship Id="rId12" Type="http://schemas.openxmlformats.org/officeDocument/2006/relationships/theme" Target="../theme/theme11.xml"/><Relationship Id="rId2" Type="http://schemas.openxmlformats.org/officeDocument/2006/relationships/slideLayout" Target="../slideLayouts/slideLayout109.xml"/><Relationship Id="rId1" Type="http://schemas.openxmlformats.org/officeDocument/2006/relationships/slideLayout" Target="../slideLayouts/slideLayout108.xml"/><Relationship Id="rId6" Type="http://schemas.openxmlformats.org/officeDocument/2006/relationships/slideLayout" Target="../slideLayouts/slideLayout113.xml"/><Relationship Id="rId11" Type="http://schemas.openxmlformats.org/officeDocument/2006/relationships/slideLayout" Target="../slideLayouts/slideLayout118.xml"/><Relationship Id="rId5" Type="http://schemas.openxmlformats.org/officeDocument/2006/relationships/slideLayout" Target="../slideLayouts/slideLayout112.xml"/><Relationship Id="rId10" Type="http://schemas.openxmlformats.org/officeDocument/2006/relationships/slideLayout" Target="../slideLayouts/slideLayout117.xml"/><Relationship Id="rId4" Type="http://schemas.openxmlformats.org/officeDocument/2006/relationships/slideLayout" Target="../slideLayouts/slideLayout111.xml"/><Relationship Id="rId9" Type="http://schemas.openxmlformats.org/officeDocument/2006/relationships/slideLayout" Target="../slideLayouts/slideLayout116.xml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6.xml"/><Relationship Id="rId3" Type="http://schemas.openxmlformats.org/officeDocument/2006/relationships/slideLayout" Target="../slideLayouts/slideLayout121.xml"/><Relationship Id="rId7" Type="http://schemas.openxmlformats.org/officeDocument/2006/relationships/slideLayout" Target="../slideLayouts/slideLayout125.xml"/><Relationship Id="rId12" Type="http://schemas.openxmlformats.org/officeDocument/2006/relationships/image" Target="../media/image3.emf"/><Relationship Id="rId2" Type="http://schemas.openxmlformats.org/officeDocument/2006/relationships/slideLayout" Target="../slideLayouts/slideLayout120.xml"/><Relationship Id="rId1" Type="http://schemas.openxmlformats.org/officeDocument/2006/relationships/slideLayout" Target="../slideLayouts/slideLayout119.xml"/><Relationship Id="rId6" Type="http://schemas.openxmlformats.org/officeDocument/2006/relationships/slideLayout" Target="../slideLayouts/slideLayout124.xml"/><Relationship Id="rId11" Type="http://schemas.openxmlformats.org/officeDocument/2006/relationships/theme" Target="../theme/theme12.xml"/><Relationship Id="rId5" Type="http://schemas.openxmlformats.org/officeDocument/2006/relationships/slideLayout" Target="../slideLayouts/slideLayout123.xml"/><Relationship Id="rId10" Type="http://schemas.openxmlformats.org/officeDocument/2006/relationships/slideLayout" Target="../slideLayouts/slideLayout128.xml"/><Relationship Id="rId4" Type="http://schemas.openxmlformats.org/officeDocument/2006/relationships/slideLayout" Target="../slideLayouts/slideLayout122.xml"/><Relationship Id="rId9" Type="http://schemas.openxmlformats.org/officeDocument/2006/relationships/slideLayout" Target="../slideLayouts/slideLayout127.xml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6.xml"/><Relationship Id="rId13" Type="http://schemas.openxmlformats.org/officeDocument/2006/relationships/slideLayout" Target="../slideLayouts/slideLayout141.xml"/><Relationship Id="rId3" Type="http://schemas.openxmlformats.org/officeDocument/2006/relationships/slideLayout" Target="../slideLayouts/slideLayout131.xml"/><Relationship Id="rId7" Type="http://schemas.openxmlformats.org/officeDocument/2006/relationships/slideLayout" Target="../slideLayouts/slideLayout135.xml"/><Relationship Id="rId12" Type="http://schemas.openxmlformats.org/officeDocument/2006/relationships/slideLayout" Target="../slideLayouts/slideLayout140.xml"/><Relationship Id="rId2" Type="http://schemas.openxmlformats.org/officeDocument/2006/relationships/slideLayout" Target="../slideLayouts/slideLayout130.xml"/><Relationship Id="rId16" Type="http://schemas.openxmlformats.org/officeDocument/2006/relationships/theme" Target="../theme/theme13.xml"/><Relationship Id="rId1" Type="http://schemas.openxmlformats.org/officeDocument/2006/relationships/slideLayout" Target="../slideLayouts/slideLayout129.xml"/><Relationship Id="rId6" Type="http://schemas.openxmlformats.org/officeDocument/2006/relationships/slideLayout" Target="../slideLayouts/slideLayout134.xml"/><Relationship Id="rId11" Type="http://schemas.openxmlformats.org/officeDocument/2006/relationships/slideLayout" Target="../slideLayouts/slideLayout139.xml"/><Relationship Id="rId5" Type="http://schemas.openxmlformats.org/officeDocument/2006/relationships/slideLayout" Target="../slideLayouts/slideLayout133.xml"/><Relationship Id="rId15" Type="http://schemas.openxmlformats.org/officeDocument/2006/relationships/slideLayout" Target="../slideLayouts/slideLayout143.xml"/><Relationship Id="rId10" Type="http://schemas.openxmlformats.org/officeDocument/2006/relationships/slideLayout" Target="../slideLayouts/slideLayout138.xml"/><Relationship Id="rId4" Type="http://schemas.openxmlformats.org/officeDocument/2006/relationships/slideLayout" Target="../slideLayouts/slideLayout132.xml"/><Relationship Id="rId9" Type="http://schemas.openxmlformats.org/officeDocument/2006/relationships/slideLayout" Target="../slideLayouts/slideLayout137.xml"/><Relationship Id="rId14" Type="http://schemas.openxmlformats.org/officeDocument/2006/relationships/slideLayout" Target="../slideLayouts/slideLayout142.xml"/></Relationships>
</file>

<file path=ppt/slideMasters/_rels/slideMaster1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1.xml"/><Relationship Id="rId13" Type="http://schemas.openxmlformats.org/officeDocument/2006/relationships/slideLayout" Target="../slideLayouts/slideLayout156.xml"/><Relationship Id="rId3" Type="http://schemas.openxmlformats.org/officeDocument/2006/relationships/slideLayout" Target="../slideLayouts/slideLayout146.xml"/><Relationship Id="rId7" Type="http://schemas.openxmlformats.org/officeDocument/2006/relationships/slideLayout" Target="../slideLayouts/slideLayout150.xml"/><Relationship Id="rId12" Type="http://schemas.openxmlformats.org/officeDocument/2006/relationships/slideLayout" Target="../slideLayouts/slideLayout155.xml"/><Relationship Id="rId2" Type="http://schemas.openxmlformats.org/officeDocument/2006/relationships/slideLayout" Target="../slideLayouts/slideLayout145.xml"/><Relationship Id="rId16" Type="http://schemas.openxmlformats.org/officeDocument/2006/relationships/theme" Target="../theme/theme14.xml"/><Relationship Id="rId1" Type="http://schemas.openxmlformats.org/officeDocument/2006/relationships/slideLayout" Target="../slideLayouts/slideLayout144.xml"/><Relationship Id="rId6" Type="http://schemas.openxmlformats.org/officeDocument/2006/relationships/slideLayout" Target="../slideLayouts/slideLayout149.xml"/><Relationship Id="rId11" Type="http://schemas.openxmlformats.org/officeDocument/2006/relationships/slideLayout" Target="../slideLayouts/slideLayout154.xml"/><Relationship Id="rId5" Type="http://schemas.openxmlformats.org/officeDocument/2006/relationships/slideLayout" Target="../slideLayouts/slideLayout148.xml"/><Relationship Id="rId15" Type="http://schemas.openxmlformats.org/officeDocument/2006/relationships/slideLayout" Target="../slideLayouts/slideLayout158.xml"/><Relationship Id="rId10" Type="http://schemas.openxmlformats.org/officeDocument/2006/relationships/slideLayout" Target="../slideLayouts/slideLayout153.xml"/><Relationship Id="rId4" Type="http://schemas.openxmlformats.org/officeDocument/2006/relationships/slideLayout" Target="../slideLayouts/slideLayout147.xml"/><Relationship Id="rId9" Type="http://schemas.openxmlformats.org/officeDocument/2006/relationships/slideLayout" Target="../slideLayouts/slideLayout152.xml"/><Relationship Id="rId14" Type="http://schemas.openxmlformats.org/officeDocument/2006/relationships/slideLayout" Target="../slideLayouts/slideLayout157.xml"/></Relationships>
</file>

<file path=ppt/slideMasters/_rels/slideMaster1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6.xml"/><Relationship Id="rId13" Type="http://schemas.openxmlformats.org/officeDocument/2006/relationships/slideLayout" Target="../slideLayouts/slideLayout171.xml"/><Relationship Id="rId3" Type="http://schemas.openxmlformats.org/officeDocument/2006/relationships/slideLayout" Target="../slideLayouts/slideLayout161.xml"/><Relationship Id="rId7" Type="http://schemas.openxmlformats.org/officeDocument/2006/relationships/slideLayout" Target="../slideLayouts/slideLayout165.xml"/><Relationship Id="rId12" Type="http://schemas.openxmlformats.org/officeDocument/2006/relationships/slideLayout" Target="../slideLayouts/slideLayout170.xml"/><Relationship Id="rId2" Type="http://schemas.openxmlformats.org/officeDocument/2006/relationships/slideLayout" Target="../slideLayouts/slideLayout160.xml"/><Relationship Id="rId16" Type="http://schemas.openxmlformats.org/officeDocument/2006/relationships/theme" Target="../theme/theme15.xml"/><Relationship Id="rId1" Type="http://schemas.openxmlformats.org/officeDocument/2006/relationships/slideLayout" Target="../slideLayouts/slideLayout159.xml"/><Relationship Id="rId6" Type="http://schemas.openxmlformats.org/officeDocument/2006/relationships/slideLayout" Target="../slideLayouts/slideLayout164.xml"/><Relationship Id="rId11" Type="http://schemas.openxmlformats.org/officeDocument/2006/relationships/slideLayout" Target="../slideLayouts/slideLayout169.xml"/><Relationship Id="rId5" Type="http://schemas.openxmlformats.org/officeDocument/2006/relationships/slideLayout" Target="../slideLayouts/slideLayout163.xml"/><Relationship Id="rId15" Type="http://schemas.openxmlformats.org/officeDocument/2006/relationships/slideLayout" Target="../slideLayouts/slideLayout173.xml"/><Relationship Id="rId10" Type="http://schemas.openxmlformats.org/officeDocument/2006/relationships/slideLayout" Target="../slideLayouts/slideLayout168.xml"/><Relationship Id="rId4" Type="http://schemas.openxmlformats.org/officeDocument/2006/relationships/slideLayout" Target="../slideLayouts/slideLayout162.xml"/><Relationship Id="rId9" Type="http://schemas.openxmlformats.org/officeDocument/2006/relationships/slideLayout" Target="../slideLayouts/slideLayout167.xml"/><Relationship Id="rId14" Type="http://schemas.openxmlformats.org/officeDocument/2006/relationships/slideLayout" Target="../slideLayouts/slideLayout172.xml"/></Relationships>
</file>

<file path=ppt/slideMasters/_rels/slideMaster1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81.xml"/><Relationship Id="rId13" Type="http://schemas.openxmlformats.org/officeDocument/2006/relationships/theme" Target="../theme/theme16.xml"/><Relationship Id="rId3" Type="http://schemas.openxmlformats.org/officeDocument/2006/relationships/slideLayout" Target="../slideLayouts/slideLayout176.xml"/><Relationship Id="rId7" Type="http://schemas.openxmlformats.org/officeDocument/2006/relationships/slideLayout" Target="../slideLayouts/slideLayout180.xml"/><Relationship Id="rId12" Type="http://schemas.openxmlformats.org/officeDocument/2006/relationships/slideLayout" Target="../slideLayouts/slideLayout185.xml"/><Relationship Id="rId2" Type="http://schemas.openxmlformats.org/officeDocument/2006/relationships/slideLayout" Target="../slideLayouts/slideLayout175.xml"/><Relationship Id="rId1" Type="http://schemas.openxmlformats.org/officeDocument/2006/relationships/slideLayout" Target="../slideLayouts/slideLayout174.xml"/><Relationship Id="rId6" Type="http://schemas.openxmlformats.org/officeDocument/2006/relationships/slideLayout" Target="../slideLayouts/slideLayout179.xml"/><Relationship Id="rId11" Type="http://schemas.openxmlformats.org/officeDocument/2006/relationships/slideLayout" Target="../slideLayouts/slideLayout184.xml"/><Relationship Id="rId5" Type="http://schemas.openxmlformats.org/officeDocument/2006/relationships/slideLayout" Target="../slideLayouts/slideLayout178.xml"/><Relationship Id="rId10" Type="http://schemas.openxmlformats.org/officeDocument/2006/relationships/slideLayout" Target="../slideLayouts/slideLayout183.xml"/><Relationship Id="rId4" Type="http://schemas.openxmlformats.org/officeDocument/2006/relationships/slideLayout" Target="../slideLayouts/slideLayout177.xml"/><Relationship Id="rId9" Type="http://schemas.openxmlformats.org/officeDocument/2006/relationships/slideLayout" Target="../slideLayouts/slideLayout182.xml"/></Relationships>
</file>

<file path=ppt/slideMasters/_rels/slideMaster1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3.xml"/><Relationship Id="rId13" Type="http://schemas.openxmlformats.org/officeDocument/2006/relationships/slideLayout" Target="../slideLayouts/slideLayout198.xml"/><Relationship Id="rId3" Type="http://schemas.openxmlformats.org/officeDocument/2006/relationships/slideLayout" Target="../slideLayouts/slideLayout188.xml"/><Relationship Id="rId7" Type="http://schemas.openxmlformats.org/officeDocument/2006/relationships/slideLayout" Target="../slideLayouts/slideLayout192.xml"/><Relationship Id="rId12" Type="http://schemas.openxmlformats.org/officeDocument/2006/relationships/slideLayout" Target="../slideLayouts/slideLayout197.xml"/><Relationship Id="rId2" Type="http://schemas.openxmlformats.org/officeDocument/2006/relationships/slideLayout" Target="../slideLayouts/slideLayout187.xml"/><Relationship Id="rId16" Type="http://schemas.openxmlformats.org/officeDocument/2006/relationships/theme" Target="../theme/theme17.xml"/><Relationship Id="rId1" Type="http://schemas.openxmlformats.org/officeDocument/2006/relationships/slideLayout" Target="../slideLayouts/slideLayout186.xml"/><Relationship Id="rId6" Type="http://schemas.openxmlformats.org/officeDocument/2006/relationships/slideLayout" Target="../slideLayouts/slideLayout191.xml"/><Relationship Id="rId11" Type="http://schemas.openxmlformats.org/officeDocument/2006/relationships/slideLayout" Target="../slideLayouts/slideLayout196.xml"/><Relationship Id="rId5" Type="http://schemas.openxmlformats.org/officeDocument/2006/relationships/slideLayout" Target="../slideLayouts/slideLayout190.xml"/><Relationship Id="rId15" Type="http://schemas.openxmlformats.org/officeDocument/2006/relationships/slideLayout" Target="../slideLayouts/slideLayout200.xml"/><Relationship Id="rId10" Type="http://schemas.openxmlformats.org/officeDocument/2006/relationships/slideLayout" Target="../slideLayouts/slideLayout195.xml"/><Relationship Id="rId4" Type="http://schemas.openxmlformats.org/officeDocument/2006/relationships/slideLayout" Target="../slideLayouts/slideLayout189.xml"/><Relationship Id="rId9" Type="http://schemas.openxmlformats.org/officeDocument/2006/relationships/slideLayout" Target="../slideLayouts/slideLayout194.xml"/><Relationship Id="rId14" Type="http://schemas.openxmlformats.org/officeDocument/2006/relationships/slideLayout" Target="../slideLayouts/slideLayout199.xml"/></Relationships>
</file>

<file path=ppt/slideMasters/_rels/slideMaster1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8.xml"/><Relationship Id="rId13" Type="http://schemas.openxmlformats.org/officeDocument/2006/relationships/theme" Target="../theme/theme18.xml"/><Relationship Id="rId3" Type="http://schemas.openxmlformats.org/officeDocument/2006/relationships/slideLayout" Target="../slideLayouts/slideLayout203.xml"/><Relationship Id="rId7" Type="http://schemas.openxmlformats.org/officeDocument/2006/relationships/slideLayout" Target="../slideLayouts/slideLayout207.xml"/><Relationship Id="rId12" Type="http://schemas.openxmlformats.org/officeDocument/2006/relationships/slideLayout" Target="../slideLayouts/slideLayout212.xml"/><Relationship Id="rId2" Type="http://schemas.openxmlformats.org/officeDocument/2006/relationships/slideLayout" Target="../slideLayouts/slideLayout202.xml"/><Relationship Id="rId1" Type="http://schemas.openxmlformats.org/officeDocument/2006/relationships/slideLayout" Target="../slideLayouts/slideLayout201.xml"/><Relationship Id="rId6" Type="http://schemas.openxmlformats.org/officeDocument/2006/relationships/slideLayout" Target="../slideLayouts/slideLayout206.xml"/><Relationship Id="rId11" Type="http://schemas.openxmlformats.org/officeDocument/2006/relationships/slideLayout" Target="../slideLayouts/slideLayout211.xml"/><Relationship Id="rId5" Type="http://schemas.openxmlformats.org/officeDocument/2006/relationships/slideLayout" Target="../slideLayouts/slideLayout205.xml"/><Relationship Id="rId10" Type="http://schemas.openxmlformats.org/officeDocument/2006/relationships/slideLayout" Target="../slideLayouts/slideLayout210.xml"/><Relationship Id="rId4" Type="http://schemas.openxmlformats.org/officeDocument/2006/relationships/slideLayout" Target="../slideLayouts/slideLayout204.xml"/><Relationship Id="rId9" Type="http://schemas.openxmlformats.org/officeDocument/2006/relationships/slideLayout" Target="../slideLayouts/slideLayout209.xml"/></Relationships>
</file>

<file path=ppt/slideMasters/_rels/slideMaster1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20.xml"/><Relationship Id="rId13" Type="http://schemas.openxmlformats.org/officeDocument/2006/relationships/slideLayout" Target="../slideLayouts/slideLayout225.xml"/><Relationship Id="rId3" Type="http://schemas.openxmlformats.org/officeDocument/2006/relationships/slideLayout" Target="../slideLayouts/slideLayout215.xml"/><Relationship Id="rId7" Type="http://schemas.openxmlformats.org/officeDocument/2006/relationships/slideLayout" Target="../slideLayouts/slideLayout219.xml"/><Relationship Id="rId12" Type="http://schemas.openxmlformats.org/officeDocument/2006/relationships/slideLayout" Target="../slideLayouts/slideLayout224.xml"/><Relationship Id="rId2" Type="http://schemas.openxmlformats.org/officeDocument/2006/relationships/slideLayout" Target="../slideLayouts/slideLayout214.xml"/><Relationship Id="rId16" Type="http://schemas.openxmlformats.org/officeDocument/2006/relationships/image" Target="../media/image7.wmf"/><Relationship Id="rId1" Type="http://schemas.openxmlformats.org/officeDocument/2006/relationships/slideLayout" Target="../slideLayouts/slideLayout213.xml"/><Relationship Id="rId6" Type="http://schemas.openxmlformats.org/officeDocument/2006/relationships/slideLayout" Target="../slideLayouts/slideLayout218.xml"/><Relationship Id="rId11" Type="http://schemas.openxmlformats.org/officeDocument/2006/relationships/slideLayout" Target="../slideLayouts/slideLayout223.xml"/><Relationship Id="rId5" Type="http://schemas.openxmlformats.org/officeDocument/2006/relationships/slideLayout" Target="../slideLayouts/slideLayout217.xml"/><Relationship Id="rId15" Type="http://schemas.openxmlformats.org/officeDocument/2006/relationships/image" Target="../media/image6.jpeg"/><Relationship Id="rId10" Type="http://schemas.openxmlformats.org/officeDocument/2006/relationships/slideLayout" Target="../slideLayouts/slideLayout222.xml"/><Relationship Id="rId4" Type="http://schemas.openxmlformats.org/officeDocument/2006/relationships/slideLayout" Target="../slideLayouts/slideLayout216.xml"/><Relationship Id="rId9" Type="http://schemas.openxmlformats.org/officeDocument/2006/relationships/slideLayout" Target="../slideLayouts/slideLayout221.xml"/><Relationship Id="rId14" Type="http://schemas.openxmlformats.org/officeDocument/2006/relationships/theme" Target="../theme/theme19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4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4" Type="http://schemas.openxmlformats.org/officeDocument/2006/relationships/theme" Target="../theme/theme2.xml"/></Relationships>
</file>

<file path=ppt/slideMasters/_rels/slideMaster2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3.xml"/><Relationship Id="rId13" Type="http://schemas.openxmlformats.org/officeDocument/2006/relationships/slideLayout" Target="../slideLayouts/slideLayout238.xml"/><Relationship Id="rId3" Type="http://schemas.openxmlformats.org/officeDocument/2006/relationships/slideLayout" Target="../slideLayouts/slideLayout228.xml"/><Relationship Id="rId7" Type="http://schemas.openxmlformats.org/officeDocument/2006/relationships/slideLayout" Target="../slideLayouts/slideLayout232.xml"/><Relationship Id="rId12" Type="http://schemas.openxmlformats.org/officeDocument/2006/relationships/slideLayout" Target="../slideLayouts/slideLayout237.xml"/><Relationship Id="rId2" Type="http://schemas.openxmlformats.org/officeDocument/2006/relationships/slideLayout" Target="../slideLayouts/slideLayout227.xml"/><Relationship Id="rId1" Type="http://schemas.openxmlformats.org/officeDocument/2006/relationships/slideLayout" Target="../slideLayouts/slideLayout226.xml"/><Relationship Id="rId6" Type="http://schemas.openxmlformats.org/officeDocument/2006/relationships/slideLayout" Target="../slideLayouts/slideLayout231.xml"/><Relationship Id="rId11" Type="http://schemas.openxmlformats.org/officeDocument/2006/relationships/slideLayout" Target="../slideLayouts/slideLayout236.xml"/><Relationship Id="rId5" Type="http://schemas.openxmlformats.org/officeDocument/2006/relationships/slideLayout" Target="../slideLayouts/slideLayout230.xml"/><Relationship Id="rId10" Type="http://schemas.openxmlformats.org/officeDocument/2006/relationships/slideLayout" Target="../slideLayouts/slideLayout235.xml"/><Relationship Id="rId4" Type="http://schemas.openxmlformats.org/officeDocument/2006/relationships/slideLayout" Target="../slideLayouts/slideLayout229.xml"/><Relationship Id="rId9" Type="http://schemas.openxmlformats.org/officeDocument/2006/relationships/slideLayout" Target="../slideLayouts/slideLayout234.xml"/><Relationship Id="rId14" Type="http://schemas.openxmlformats.org/officeDocument/2006/relationships/theme" Target="../theme/theme20.xml"/></Relationships>
</file>

<file path=ppt/slideMasters/_rels/slideMaster2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46.xml"/><Relationship Id="rId13" Type="http://schemas.openxmlformats.org/officeDocument/2006/relationships/theme" Target="../theme/theme21.xml"/><Relationship Id="rId3" Type="http://schemas.openxmlformats.org/officeDocument/2006/relationships/slideLayout" Target="../slideLayouts/slideLayout241.xml"/><Relationship Id="rId7" Type="http://schemas.openxmlformats.org/officeDocument/2006/relationships/slideLayout" Target="../slideLayouts/slideLayout245.xml"/><Relationship Id="rId12" Type="http://schemas.openxmlformats.org/officeDocument/2006/relationships/slideLayout" Target="../slideLayouts/slideLayout250.xml"/><Relationship Id="rId2" Type="http://schemas.openxmlformats.org/officeDocument/2006/relationships/slideLayout" Target="../slideLayouts/slideLayout240.xml"/><Relationship Id="rId1" Type="http://schemas.openxmlformats.org/officeDocument/2006/relationships/slideLayout" Target="../slideLayouts/slideLayout239.xml"/><Relationship Id="rId6" Type="http://schemas.openxmlformats.org/officeDocument/2006/relationships/slideLayout" Target="../slideLayouts/slideLayout244.xml"/><Relationship Id="rId11" Type="http://schemas.openxmlformats.org/officeDocument/2006/relationships/slideLayout" Target="../slideLayouts/slideLayout249.xml"/><Relationship Id="rId5" Type="http://schemas.openxmlformats.org/officeDocument/2006/relationships/slideLayout" Target="../slideLayouts/slideLayout243.xml"/><Relationship Id="rId10" Type="http://schemas.openxmlformats.org/officeDocument/2006/relationships/slideLayout" Target="../slideLayouts/slideLayout248.xml"/><Relationship Id="rId4" Type="http://schemas.openxmlformats.org/officeDocument/2006/relationships/slideLayout" Target="../slideLayouts/slideLayout242.xml"/><Relationship Id="rId9" Type="http://schemas.openxmlformats.org/officeDocument/2006/relationships/slideLayout" Target="../slideLayouts/slideLayout247.xml"/></Relationships>
</file>

<file path=ppt/slideMasters/_rels/slideMaster2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58.xml"/><Relationship Id="rId13" Type="http://schemas.openxmlformats.org/officeDocument/2006/relationships/theme" Target="../theme/theme22.xml"/><Relationship Id="rId3" Type="http://schemas.openxmlformats.org/officeDocument/2006/relationships/slideLayout" Target="../slideLayouts/slideLayout253.xml"/><Relationship Id="rId7" Type="http://schemas.openxmlformats.org/officeDocument/2006/relationships/slideLayout" Target="../slideLayouts/slideLayout257.xml"/><Relationship Id="rId12" Type="http://schemas.openxmlformats.org/officeDocument/2006/relationships/slideLayout" Target="../slideLayouts/slideLayout262.xml"/><Relationship Id="rId2" Type="http://schemas.openxmlformats.org/officeDocument/2006/relationships/slideLayout" Target="../slideLayouts/slideLayout252.xml"/><Relationship Id="rId1" Type="http://schemas.openxmlformats.org/officeDocument/2006/relationships/slideLayout" Target="../slideLayouts/slideLayout251.xml"/><Relationship Id="rId6" Type="http://schemas.openxmlformats.org/officeDocument/2006/relationships/slideLayout" Target="../slideLayouts/slideLayout256.xml"/><Relationship Id="rId11" Type="http://schemas.openxmlformats.org/officeDocument/2006/relationships/slideLayout" Target="../slideLayouts/slideLayout261.xml"/><Relationship Id="rId5" Type="http://schemas.openxmlformats.org/officeDocument/2006/relationships/slideLayout" Target="../slideLayouts/slideLayout255.xml"/><Relationship Id="rId10" Type="http://schemas.openxmlformats.org/officeDocument/2006/relationships/slideLayout" Target="../slideLayouts/slideLayout260.xml"/><Relationship Id="rId4" Type="http://schemas.openxmlformats.org/officeDocument/2006/relationships/slideLayout" Target="../slideLayouts/slideLayout254.xml"/><Relationship Id="rId9" Type="http://schemas.openxmlformats.org/officeDocument/2006/relationships/slideLayout" Target="../slideLayouts/slideLayout259.xml"/></Relationships>
</file>

<file path=ppt/slideMasters/_rels/slideMaster2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70.xml"/><Relationship Id="rId3" Type="http://schemas.openxmlformats.org/officeDocument/2006/relationships/slideLayout" Target="../slideLayouts/slideLayout265.xml"/><Relationship Id="rId7" Type="http://schemas.openxmlformats.org/officeDocument/2006/relationships/slideLayout" Target="../slideLayouts/slideLayout269.xml"/><Relationship Id="rId12" Type="http://schemas.openxmlformats.org/officeDocument/2006/relationships/theme" Target="../theme/theme23.xml"/><Relationship Id="rId2" Type="http://schemas.openxmlformats.org/officeDocument/2006/relationships/slideLayout" Target="../slideLayouts/slideLayout264.xml"/><Relationship Id="rId1" Type="http://schemas.openxmlformats.org/officeDocument/2006/relationships/slideLayout" Target="../slideLayouts/slideLayout263.xml"/><Relationship Id="rId6" Type="http://schemas.openxmlformats.org/officeDocument/2006/relationships/slideLayout" Target="../slideLayouts/slideLayout268.xml"/><Relationship Id="rId11" Type="http://schemas.openxmlformats.org/officeDocument/2006/relationships/slideLayout" Target="../slideLayouts/slideLayout273.xml"/><Relationship Id="rId5" Type="http://schemas.openxmlformats.org/officeDocument/2006/relationships/slideLayout" Target="../slideLayouts/slideLayout267.xml"/><Relationship Id="rId10" Type="http://schemas.openxmlformats.org/officeDocument/2006/relationships/slideLayout" Target="../slideLayouts/slideLayout272.xml"/><Relationship Id="rId4" Type="http://schemas.openxmlformats.org/officeDocument/2006/relationships/slideLayout" Target="../slideLayouts/slideLayout266.xml"/><Relationship Id="rId9" Type="http://schemas.openxmlformats.org/officeDocument/2006/relationships/slideLayout" Target="../slideLayouts/slideLayout271.xml"/></Relationships>
</file>

<file path=ppt/slideMasters/_rels/slideMaster2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81.xml"/><Relationship Id="rId13" Type="http://schemas.openxmlformats.org/officeDocument/2006/relationships/slideLayout" Target="../slideLayouts/slideLayout286.xml"/><Relationship Id="rId3" Type="http://schemas.openxmlformats.org/officeDocument/2006/relationships/slideLayout" Target="../slideLayouts/slideLayout276.xml"/><Relationship Id="rId7" Type="http://schemas.openxmlformats.org/officeDocument/2006/relationships/slideLayout" Target="../slideLayouts/slideLayout280.xml"/><Relationship Id="rId12" Type="http://schemas.openxmlformats.org/officeDocument/2006/relationships/slideLayout" Target="../slideLayouts/slideLayout285.xml"/><Relationship Id="rId2" Type="http://schemas.openxmlformats.org/officeDocument/2006/relationships/slideLayout" Target="../slideLayouts/slideLayout275.xml"/><Relationship Id="rId16" Type="http://schemas.openxmlformats.org/officeDocument/2006/relationships/theme" Target="../theme/theme24.xml"/><Relationship Id="rId1" Type="http://schemas.openxmlformats.org/officeDocument/2006/relationships/slideLayout" Target="../slideLayouts/slideLayout274.xml"/><Relationship Id="rId6" Type="http://schemas.openxmlformats.org/officeDocument/2006/relationships/slideLayout" Target="../slideLayouts/slideLayout279.xml"/><Relationship Id="rId11" Type="http://schemas.openxmlformats.org/officeDocument/2006/relationships/slideLayout" Target="../slideLayouts/slideLayout284.xml"/><Relationship Id="rId5" Type="http://schemas.openxmlformats.org/officeDocument/2006/relationships/slideLayout" Target="../slideLayouts/slideLayout278.xml"/><Relationship Id="rId15" Type="http://schemas.openxmlformats.org/officeDocument/2006/relationships/slideLayout" Target="../slideLayouts/slideLayout288.xml"/><Relationship Id="rId10" Type="http://schemas.openxmlformats.org/officeDocument/2006/relationships/slideLayout" Target="../slideLayouts/slideLayout283.xml"/><Relationship Id="rId4" Type="http://schemas.openxmlformats.org/officeDocument/2006/relationships/slideLayout" Target="../slideLayouts/slideLayout277.xml"/><Relationship Id="rId9" Type="http://schemas.openxmlformats.org/officeDocument/2006/relationships/slideLayout" Target="../slideLayouts/slideLayout282.xml"/><Relationship Id="rId14" Type="http://schemas.openxmlformats.org/officeDocument/2006/relationships/slideLayout" Target="../slideLayouts/slideLayout287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2.xml"/><Relationship Id="rId13" Type="http://schemas.openxmlformats.org/officeDocument/2006/relationships/slideLayout" Target="../slideLayouts/slideLayout27.xml"/><Relationship Id="rId3" Type="http://schemas.openxmlformats.org/officeDocument/2006/relationships/slideLayout" Target="../slideLayouts/slideLayout17.xml"/><Relationship Id="rId7" Type="http://schemas.openxmlformats.org/officeDocument/2006/relationships/slideLayout" Target="../slideLayouts/slideLayout21.xml"/><Relationship Id="rId12" Type="http://schemas.openxmlformats.org/officeDocument/2006/relationships/slideLayout" Target="../slideLayouts/slideLayout26.xml"/><Relationship Id="rId2" Type="http://schemas.openxmlformats.org/officeDocument/2006/relationships/slideLayout" Target="../slideLayouts/slideLayout16.xml"/><Relationship Id="rId16" Type="http://schemas.openxmlformats.org/officeDocument/2006/relationships/theme" Target="../theme/theme3.xml"/><Relationship Id="rId1" Type="http://schemas.openxmlformats.org/officeDocument/2006/relationships/slideLayout" Target="../slideLayouts/slideLayout15.xml"/><Relationship Id="rId6" Type="http://schemas.openxmlformats.org/officeDocument/2006/relationships/slideLayout" Target="../slideLayouts/slideLayout20.xml"/><Relationship Id="rId11" Type="http://schemas.openxmlformats.org/officeDocument/2006/relationships/slideLayout" Target="../slideLayouts/slideLayout25.xml"/><Relationship Id="rId5" Type="http://schemas.openxmlformats.org/officeDocument/2006/relationships/slideLayout" Target="../slideLayouts/slideLayout19.xml"/><Relationship Id="rId15" Type="http://schemas.openxmlformats.org/officeDocument/2006/relationships/slideLayout" Target="../slideLayouts/slideLayout29.xml"/><Relationship Id="rId10" Type="http://schemas.openxmlformats.org/officeDocument/2006/relationships/slideLayout" Target="../slideLayouts/slideLayout24.xml"/><Relationship Id="rId4" Type="http://schemas.openxmlformats.org/officeDocument/2006/relationships/slideLayout" Target="../slideLayouts/slideLayout18.xml"/><Relationship Id="rId9" Type="http://schemas.openxmlformats.org/officeDocument/2006/relationships/slideLayout" Target="../slideLayouts/slideLayout23.xml"/><Relationship Id="rId14" Type="http://schemas.openxmlformats.org/officeDocument/2006/relationships/slideLayout" Target="../slideLayouts/slideLayout28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7.xml"/><Relationship Id="rId13" Type="http://schemas.openxmlformats.org/officeDocument/2006/relationships/slideLayout" Target="../slideLayouts/slideLayout42.xml"/><Relationship Id="rId3" Type="http://schemas.openxmlformats.org/officeDocument/2006/relationships/slideLayout" Target="../slideLayouts/slideLayout32.xml"/><Relationship Id="rId7" Type="http://schemas.openxmlformats.org/officeDocument/2006/relationships/slideLayout" Target="../slideLayouts/slideLayout36.xml"/><Relationship Id="rId12" Type="http://schemas.openxmlformats.org/officeDocument/2006/relationships/slideLayout" Target="../slideLayouts/slideLayout41.xml"/><Relationship Id="rId2" Type="http://schemas.openxmlformats.org/officeDocument/2006/relationships/slideLayout" Target="../slideLayouts/slideLayout31.xml"/><Relationship Id="rId16" Type="http://schemas.openxmlformats.org/officeDocument/2006/relationships/theme" Target="../theme/theme4.xml"/><Relationship Id="rId1" Type="http://schemas.openxmlformats.org/officeDocument/2006/relationships/slideLayout" Target="../slideLayouts/slideLayout30.xml"/><Relationship Id="rId6" Type="http://schemas.openxmlformats.org/officeDocument/2006/relationships/slideLayout" Target="../slideLayouts/slideLayout35.xml"/><Relationship Id="rId11" Type="http://schemas.openxmlformats.org/officeDocument/2006/relationships/slideLayout" Target="../slideLayouts/slideLayout40.xml"/><Relationship Id="rId5" Type="http://schemas.openxmlformats.org/officeDocument/2006/relationships/slideLayout" Target="../slideLayouts/slideLayout34.xml"/><Relationship Id="rId15" Type="http://schemas.openxmlformats.org/officeDocument/2006/relationships/slideLayout" Target="../slideLayouts/slideLayout44.xml"/><Relationship Id="rId10" Type="http://schemas.openxmlformats.org/officeDocument/2006/relationships/slideLayout" Target="../slideLayouts/slideLayout39.xml"/><Relationship Id="rId4" Type="http://schemas.openxmlformats.org/officeDocument/2006/relationships/slideLayout" Target="../slideLayouts/slideLayout33.xml"/><Relationship Id="rId9" Type="http://schemas.openxmlformats.org/officeDocument/2006/relationships/slideLayout" Target="../slideLayouts/slideLayout38.xml"/><Relationship Id="rId14" Type="http://schemas.openxmlformats.org/officeDocument/2006/relationships/slideLayout" Target="../slideLayouts/slideLayout43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2.xml"/><Relationship Id="rId13" Type="http://schemas.openxmlformats.org/officeDocument/2006/relationships/theme" Target="../theme/theme5.xml"/><Relationship Id="rId3" Type="http://schemas.openxmlformats.org/officeDocument/2006/relationships/slideLayout" Target="../slideLayouts/slideLayout47.xml"/><Relationship Id="rId7" Type="http://schemas.openxmlformats.org/officeDocument/2006/relationships/slideLayout" Target="../slideLayouts/slideLayout51.xml"/><Relationship Id="rId12" Type="http://schemas.openxmlformats.org/officeDocument/2006/relationships/slideLayout" Target="../slideLayouts/slideLayout56.xml"/><Relationship Id="rId2" Type="http://schemas.openxmlformats.org/officeDocument/2006/relationships/slideLayout" Target="../slideLayouts/slideLayout46.xml"/><Relationship Id="rId1" Type="http://schemas.openxmlformats.org/officeDocument/2006/relationships/slideLayout" Target="../slideLayouts/slideLayout45.xml"/><Relationship Id="rId6" Type="http://schemas.openxmlformats.org/officeDocument/2006/relationships/slideLayout" Target="../slideLayouts/slideLayout50.xml"/><Relationship Id="rId11" Type="http://schemas.openxmlformats.org/officeDocument/2006/relationships/slideLayout" Target="../slideLayouts/slideLayout55.xml"/><Relationship Id="rId5" Type="http://schemas.openxmlformats.org/officeDocument/2006/relationships/slideLayout" Target="../slideLayouts/slideLayout49.xml"/><Relationship Id="rId10" Type="http://schemas.openxmlformats.org/officeDocument/2006/relationships/slideLayout" Target="../slideLayouts/slideLayout54.xml"/><Relationship Id="rId4" Type="http://schemas.openxmlformats.org/officeDocument/2006/relationships/slideLayout" Target="../slideLayouts/slideLayout48.xml"/><Relationship Id="rId9" Type="http://schemas.openxmlformats.org/officeDocument/2006/relationships/slideLayout" Target="../slideLayouts/slideLayout53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4.xml"/><Relationship Id="rId3" Type="http://schemas.openxmlformats.org/officeDocument/2006/relationships/slideLayout" Target="../slideLayouts/slideLayout59.xml"/><Relationship Id="rId7" Type="http://schemas.openxmlformats.org/officeDocument/2006/relationships/slideLayout" Target="../slideLayouts/slideLayout63.xml"/><Relationship Id="rId2" Type="http://schemas.openxmlformats.org/officeDocument/2006/relationships/slideLayout" Target="../slideLayouts/slideLayout58.xml"/><Relationship Id="rId1" Type="http://schemas.openxmlformats.org/officeDocument/2006/relationships/slideLayout" Target="../slideLayouts/slideLayout57.xml"/><Relationship Id="rId6" Type="http://schemas.openxmlformats.org/officeDocument/2006/relationships/slideLayout" Target="../slideLayouts/slideLayout62.xml"/><Relationship Id="rId5" Type="http://schemas.openxmlformats.org/officeDocument/2006/relationships/slideLayout" Target="../slideLayouts/slideLayout61.xml"/><Relationship Id="rId10" Type="http://schemas.openxmlformats.org/officeDocument/2006/relationships/theme" Target="../theme/theme6.xml"/><Relationship Id="rId4" Type="http://schemas.openxmlformats.org/officeDocument/2006/relationships/slideLayout" Target="../slideLayouts/slideLayout60.xml"/><Relationship Id="rId9" Type="http://schemas.openxmlformats.org/officeDocument/2006/relationships/slideLayout" Target="../slideLayouts/slideLayout65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3.xml"/><Relationship Id="rId13" Type="http://schemas.openxmlformats.org/officeDocument/2006/relationships/slideLayout" Target="../slideLayouts/slideLayout78.xml"/><Relationship Id="rId3" Type="http://schemas.openxmlformats.org/officeDocument/2006/relationships/slideLayout" Target="../slideLayouts/slideLayout68.xml"/><Relationship Id="rId7" Type="http://schemas.openxmlformats.org/officeDocument/2006/relationships/slideLayout" Target="../slideLayouts/slideLayout72.xml"/><Relationship Id="rId12" Type="http://schemas.openxmlformats.org/officeDocument/2006/relationships/slideLayout" Target="../slideLayouts/slideLayout77.xml"/><Relationship Id="rId2" Type="http://schemas.openxmlformats.org/officeDocument/2006/relationships/slideLayout" Target="../slideLayouts/slideLayout67.xml"/><Relationship Id="rId1" Type="http://schemas.openxmlformats.org/officeDocument/2006/relationships/slideLayout" Target="../slideLayouts/slideLayout66.xml"/><Relationship Id="rId6" Type="http://schemas.openxmlformats.org/officeDocument/2006/relationships/slideLayout" Target="../slideLayouts/slideLayout71.xml"/><Relationship Id="rId11" Type="http://schemas.openxmlformats.org/officeDocument/2006/relationships/slideLayout" Target="../slideLayouts/slideLayout76.xml"/><Relationship Id="rId5" Type="http://schemas.openxmlformats.org/officeDocument/2006/relationships/slideLayout" Target="../slideLayouts/slideLayout70.xml"/><Relationship Id="rId10" Type="http://schemas.openxmlformats.org/officeDocument/2006/relationships/slideLayout" Target="../slideLayouts/slideLayout75.xml"/><Relationship Id="rId4" Type="http://schemas.openxmlformats.org/officeDocument/2006/relationships/slideLayout" Target="../slideLayouts/slideLayout69.xml"/><Relationship Id="rId9" Type="http://schemas.openxmlformats.org/officeDocument/2006/relationships/slideLayout" Target="../slideLayouts/slideLayout74.xml"/><Relationship Id="rId14" Type="http://schemas.openxmlformats.org/officeDocument/2006/relationships/theme" Target="../theme/theme7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6.xml"/><Relationship Id="rId3" Type="http://schemas.openxmlformats.org/officeDocument/2006/relationships/slideLayout" Target="../slideLayouts/slideLayout81.xml"/><Relationship Id="rId7" Type="http://schemas.openxmlformats.org/officeDocument/2006/relationships/slideLayout" Target="../slideLayouts/slideLayout85.xml"/><Relationship Id="rId12" Type="http://schemas.openxmlformats.org/officeDocument/2006/relationships/theme" Target="../theme/theme8.xml"/><Relationship Id="rId2" Type="http://schemas.openxmlformats.org/officeDocument/2006/relationships/slideLayout" Target="../slideLayouts/slideLayout80.xml"/><Relationship Id="rId1" Type="http://schemas.openxmlformats.org/officeDocument/2006/relationships/slideLayout" Target="../slideLayouts/slideLayout79.xml"/><Relationship Id="rId6" Type="http://schemas.openxmlformats.org/officeDocument/2006/relationships/slideLayout" Target="../slideLayouts/slideLayout84.xml"/><Relationship Id="rId11" Type="http://schemas.openxmlformats.org/officeDocument/2006/relationships/slideLayout" Target="../slideLayouts/slideLayout89.xml"/><Relationship Id="rId5" Type="http://schemas.openxmlformats.org/officeDocument/2006/relationships/slideLayout" Target="../slideLayouts/slideLayout83.xml"/><Relationship Id="rId10" Type="http://schemas.openxmlformats.org/officeDocument/2006/relationships/slideLayout" Target="../slideLayouts/slideLayout88.xml"/><Relationship Id="rId4" Type="http://schemas.openxmlformats.org/officeDocument/2006/relationships/slideLayout" Target="../slideLayouts/slideLayout82.xml"/><Relationship Id="rId9" Type="http://schemas.openxmlformats.org/officeDocument/2006/relationships/slideLayout" Target="../slideLayouts/slideLayout87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7.xml"/><Relationship Id="rId3" Type="http://schemas.openxmlformats.org/officeDocument/2006/relationships/slideLayout" Target="../slideLayouts/slideLayout92.xml"/><Relationship Id="rId7" Type="http://schemas.openxmlformats.org/officeDocument/2006/relationships/slideLayout" Target="../slideLayouts/slideLayout96.xml"/><Relationship Id="rId2" Type="http://schemas.openxmlformats.org/officeDocument/2006/relationships/slideLayout" Target="../slideLayouts/slideLayout91.xml"/><Relationship Id="rId1" Type="http://schemas.openxmlformats.org/officeDocument/2006/relationships/slideLayout" Target="../slideLayouts/slideLayout90.xml"/><Relationship Id="rId6" Type="http://schemas.openxmlformats.org/officeDocument/2006/relationships/slideLayout" Target="../slideLayouts/slideLayout95.xml"/><Relationship Id="rId5" Type="http://schemas.openxmlformats.org/officeDocument/2006/relationships/slideLayout" Target="../slideLayouts/slideLayout94.xml"/><Relationship Id="rId10" Type="http://schemas.openxmlformats.org/officeDocument/2006/relationships/theme" Target="../theme/theme9.xml"/><Relationship Id="rId4" Type="http://schemas.openxmlformats.org/officeDocument/2006/relationships/slideLayout" Target="../slideLayouts/slideLayout93.xml"/><Relationship Id="rId9" Type="http://schemas.openxmlformats.org/officeDocument/2006/relationships/slideLayout" Target="../slideLayouts/slideLayout9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9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Click to edit Master title style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Click to edit Master text styles</a:t>
            </a:r>
          </a:p>
          <a:p>
            <a:pPr lvl="1"/>
            <a:r>
              <a:rPr lang="en-US" altLang="en-US" smtClean="0"/>
              <a:t>Second level</a:t>
            </a:r>
          </a:p>
          <a:p>
            <a:pPr lvl="2"/>
            <a:r>
              <a:rPr lang="en-US" altLang="en-US" smtClean="0"/>
              <a:t>Third level</a:t>
            </a:r>
          </a:p>
          <a:p>
            <a:pPr lvl="3"/>
            <a:r>
              <a:rPr lang="en-US" altLang="en-US" smtClean="0"/>
              <a:t>Fourth level</a:t>
            </a:r>
          </a:p>
          <a:p>
            <a:pPr lvl="4"/>
            <a:r>
              <a:rPr lang="en-US" altLang="en-US" smtClean="0"/>
              <a:t>Fifth level</a:t>
            </a:r>
          </a:p>
        </p:txBody>
      </p:sp>
      <p:sp>
        <p:nvSpPr>
          <p:cNvPr id="59396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57200" y="6245225"/>
            <a:ext cx="21336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spcBef>
                <a:spcPct val="20000"/>
              </a:spcBef>
              <a:buClr>
                <a:schemeClr val="accent1"/>
              </a:buClr>
              <a:buSzPct val="65000"/>
              <a:buFont typeface="Wingdings" panose="05000000000000000000" pitchFamily="2" charset="2"/>
              <a:buChar char="n"/>
              <a:defRPr sz="1400">
                <a:latin typeface="Arial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9397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124200" y="6245225"/>
            <a:ext cx="28956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 eaLnBrk="1" hangingPunct="1">
              <a:spcBef>
                <a:spcPct val="20000"/>
              </a:spcBef>
              <a:buClr>
                <a:schemeClr val="accent1"/>
              </a:buClr>
              <a:buSzPct val="65000"/>
              <a:buFont typeface="Wingdings" panose="05000000000000000000" pitchFamily="2" charset="2"/>
              <a:buChar char="n"/>
              <a:defRPr sz="1400">
                <a:latin typeface="Arial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9398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553200" y="6245225"/>
            <a:ext cx="21336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 eaLnBrk="1" hangingPunct="1">
              <a:spcBef>
                <a:spcPct val="20000"/>
              </a:spcBef>
              <a:buClr>
                <a:schemeClr val="accent1"/>
              </a:buClr>
              <a:buSzPct val="65000"/>
              <a:buFont typeface="Wingdings" panose="05000000000000000000" pitchFamily="2" charset="2"/>
              <a:buChar char="n"/>
              <a:defRPr sz="1400" smtClean="0"/>
            </a:lvl1pPr>
          </a:lstStyle>
          <a:p>
            <a:pPr>
              <a:defRPr/>
            </a:pPr>
            <a:fld id="{7EEDF929-40DE-4829-8CAF-A45C4CDBE876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885" r:id="rId1"/>
    <p:sldLayoutId id="2147483886" r:id="rId2"/>
    <p:sldLayoutId id="2147483887" r:id="rId3"/>
    <p:sldLayoutId id="2147483888" r:id="rId4"/>
    <p:sldLayoutId id="2147483889" r:id="rId5"/>
    <p:sldLayoutId id="2147483890" r:id="rId6"/>
    <p:sldLayoutId id="2147483891" r:id="rId7"/>
    <p:sldLayoutId id="2147483892" r:id="rId8"/>
    <p:sldLayoutId id="2147483893" r:id="rId9"/>
    <p:sldLayoutId id="2147483894" r:id="rId10"/>
    <p:sldLayoutId id="2147483895" r:id="rId11"/>
  </p:sldLayoutIdLst>
  <p:transition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 bwMode="ltGray">
          <a:xfrm>
            <a:off x="0" y="0"/>
            <a:ext cx="9144000" cy="609600"/>
          </a:xfrm>
          <a:prstGeom prst="rect">
            <a:avLst/>
          </a:prstGeom>
          <a:solidFill>
            <a:srgbClr val="000000"/>
          </a:solidFill>
          <a:ln w="48000" cap="flat" cmpd="thickThin" algn="ctr">
            <a:noFill/>
            <a:prstDash val="solid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9pPr>
          </a:lstStyle>
          <a:p>
            <a:pPr algn="ctr" eaLnBrk="1" hangingPunct="1"/>
            <a:endParaRPr lang="en-US" altLang="en-US" sz="1800">
              <a:solidFill>
                <a:srgbClr val="FFFFFF"/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52400" y="0"/>
            <a:ext cx="8839200" cy="609600"/>
          </a:xfrm>
          <a:prstGeom prst="rect">
            <a:avLst/>
          </a:prstGeom>
        </p:spPr>
        <p:txBody>
          <a:bodyPr vert="horz" lIns="91440" rIns="45720" rtlCol="0" anchor="ctr">
            <a:noAutofit/>
            <a:scene3d>
              <a:camera prst="orthographicFront"/>
              <a:lightRig rig="threePt" dir="t">
                <a:rot lat="0" lon="0" rev="4800000"/>
              </a:lightRig>
            </a:scene3d>
            <a:sp3d prstMaterial="matte">
              <a:bevelT w="50800" h="10160"/>
            </a:sp3d>
          </a:bodyPr>
          <a:lstStyle>
            <a:extLst/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1028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152400" y="685800"/>
            <a:ext cx="8839200" cy="609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54864" tIns="9144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Click to edit Master text styles</a:t>
            </a:r>
          </a:p>
          <a:p>
            <a:pPr lvl="1"/>
            <a:r>
              <a:rPr lang="en-US" altLang="en-US" smtClean="0"/>
              <a:t>Second level</a:t>
            </a:r>
          </a:p>
          <a:p>
            <a:pPr lvl="2"/>
            <a:r>
              <a:rPr lang="en-US" altLang="en-US" smtClean="0"/>
              <a:t>Third level</a:t>
            </a:r>
          </a:p>
          <a:p>
            <a:pPr lvl="3"/>
            <a:r>
              <a:rPr lang="en-US" altLang="en-US" smtClean="0"/>
              <a:t>Fourth level</a:t>
            </a:r>
          </a:p>
          <a:p>
            <a:pPr lvl="4"/>
            <a:r>
              <a:rPr lang="en-US" altLang="en-US" smtClean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52400" y="6553200"/>
            <a:ext cx="2133600" cy="274638"/>
          </a:xfrm>
          <a:prstGeom prst="rect">
            <a:avLst/>
          </a:prstGeom>
        </p:spPr>
        <p:txBody>
          <a:bodyPr vert="horz" wrap="square" lIns="109728" tIns="45720" rIns="45720" bIns="0" numCol="1" anchor="b" anchorCtr="0" compatLnSpc="1">
            <a:prstTxWarp prst="textNoShape">
              <a:avLst/>
            </a:prstTxWarp>
          </a:bodyPr>
          <a:lstStyle>
            <a:lvl1pPr>
              <a:defRPr sz="1200">
                <a:solidFill>
                  <a:srgbClr val="3F3F3F"/>
                </a:solidFill>
                <a:latin typeface="Corbel" panose="020B0503020204020204" pitchFamily="34" charset="0"/>
              </a:defRPr>
            </a:lvl1pPr>
          </a:lstStyle>
          <a:p>
            <a:pPr eaLnBrk="1" hangingPunct="1"/>
            <a:fld id="{BFF70EC6-2EB6-4869-BF86-5B6F89633D27}" type="datetime1">
              <a:rPr lang="en-US" altLang="en-US">
                <a:cs typeface="Arial" panose="020B0604020202020204" pitchFamily="34" charset="0"/>
              </a:rPr>
              <a:pPr eaLnBrk="1" hangingPunct="1"/>
              <a:t>2/26/2019</a:t>
            </a:fld>
            <a:endParaRPr lang="en-US" altLang="en-US">
              <a:cs typeface="Arial" panose="020B0604020202020204" pitchFamily="34" charset="0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362200" y="6553200"/>
            <a:ext cx="6019800" cy="274638"/>
          </a:xfrm>
          <a:prstGeom prst="rect">
            <a:avLst/>
          </a:prstGeom>
        </p:spPr>
        <p:txBody>
          <a:bodyPr vert="horz" wrap="square" lIns="45720" tIns="45720" rIns="45720" bIns="0" numCol="1" anchor="b" anchorCtr="0" compatLnSpc="1">
            <a:prstTxWarp prst="textNoShape">
              <a:avLst/>
            </a:prstTxWarp>
          </a:bodyPr>
          <a:lstStyle>
            <a:lvl1pPr>
              <a:defRPr sz="1200">
                <a:solidFill>
                  <a:srgbClr val="3F3F3F"/>
                </a:solidFill>
                <a:latin typeface="Corbel" panose="020B0503020204020204" pitchFamily="34" charset="0"/>
              </a:defRPr>
            </a:lvl1pPr>
          </a:lstStyle>
          <a:p>
            <a:pPr eaLnBrk="1" hangingPunct="1"/>
            <a:endParaRPr lang="en-US" altLang="en-US">
              <a:cs typeface="Arial" panose="020B0604020202020204" pitchFamily="34" charset="0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458200" y="6553200"/>
            <a:ext cx="685800" cy="274638"/>
          </a:xfrm>
          <a:prstGeom prst="rect">
            <a:avLst/>
          </a:prstGeom>
        </p:spPr>
        <p:txBody>
          <a:bodyPr vert="horz" wrap="square" lIns="91440" tIns="45720" rIns="91440" bIns="0" numCol="1" anchor="b" anchorCtr="0" compatLnSpc="1">
            <a:prstTxWarp prst="textNoShape">
              <a:avLst/>
            </a:prstTxWarp>
          </a:bodyPr>
          <a:lstStyle>
            <a:lvl1pPr algn="r">
              <a:defRPr sz="1200">
                <a:solidFill>
                  <a:srgbClr val="3F3F3F"/>
                </a:solidFill>
                <a:latin typeface="Corbel" panose="020B0503020204020204" pitchFamily="34" charset="0"/>
              </a:defRPr>
            </a:lvl1pPr>
          </a:lstStyle>
          <a:p>
            <a:pPr eaLnBrk="1" hangingPunct="1"/>
            <a:fld id="{925E923A-4321-410A-8B62-594982172D97}" type="slidenum">
              <a:rPr lang="en-US" altLang="en-US">
                <a:cs typeface="Arial" panose="020B0604020202020204" pitchFamily="34" charset="0"/>
              </a:rPr>
              <a:pPr eaLnBrk="1" hangingPunct="1"/>
              <a:t>‹#›</a:t>
            </a:fld>
            <a:endParaRPr lang="en-US" altLang="en-US"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443846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91" r:id="rId1"/>
    <p:sldLayoutId id="2147483992" r:id="rId2"/>
    <p:sldLayoutId id="2147483993" r:id="rId3"/>
    <p:sldLayoutId id="2147483994" r:id="rId4"/>
    <p:sldLayoutId id="2147483995" r:id="rId5"/>
    <p:sldLayoutId id="2147483996" r:id="rId6"/>
    <p:sldLayoutId id="2147483997" r:id="rId7"/>
    <p:sldLayoutId id="2147483998" r:id="rId8"/>
    <p:sldLayoutId id="2147483999" r:id="rId9"/>
  </p:sldLayoutIdLst>
  <p:hf hdr="0" ftr="0" dt="0"/>
  <p:txStyles>
    <p:titleStyle>
      <a:lvl1pPr algn="l" rtl="0" fontAlgn="base">
        <a:spcBef>
          <a:spcPct val="0"/>
        </a:spcBef>
        <a:spcAft>
          <a:spcPct val="0"/>
        </a:spcAft>
        <a:defRPr sz="4400" b="1" kern="1200">
          <a:solidFill>
            <a:srgbClr val="FFC800"/>
          </a:solidFill>
          <a:latin typeface="+mj-lt"/>
          <a:ea typeface="+mj-ea"/>
          <a:cs typeface="+mj-cs"/>
        </a:defRPr>
      </a:lvl1pPr>
      <a:lvl2pPr algn="l" rtl="0" fontAlgn="base">
        <a:spcBef>
          <a:spcPct val="0"/>
        </a:spcBef>
        <a:spcAft>
          <a:spcPct val="0"/>
        </a:spcAft>
        <a:defRPr sz="4400" b="1">
          <a:solidFill>
            <a:srgbClr val="FFC800"/>
          </a:solidFill>
          <a:latin typeface="Corbel" panose="020B0503020204020204" pitchFamily="34" charset="0"/>
        </a:defRPr>
      </a:lvl2pPr>
      <a:lvl3pPr algn="l" rtl="0" fontAlgn="base">
        <a:spcBef>
          <a:spcPct val="0"/>
        </a:spcBef>
        <a:spcAft>
          <a:spcPct val="0"/>
        </a:spcAft>
        <a:defRPr sz="4400" b="1">
          <a:solidFill>
            <a:srgbClr val="FFC800"/>
          </a:solidFill>
          <a:latin typeface="Corbel" panose="020B0503020204020204" pitchFamily="34" charset="0"/>
        </a:defRPr>
      </a:lvl3pPr>
      <a:lvl4pPr algn="l" rtl="0" fontAlgn="base">
        <a:spcBef>
          <a:spcPct val="0"/>
        </a:spcBef>
        <a:spcAft>
          <a:spcPct val="0"/>
        </a:spcAft>
        <a:defRPr sz="4400" b="1">
          <a:solidFill>
            <a:srgbClr val="FFC800"/>
          </a:solidFill>
          <a:latin typeface="Corbel" panose="020B0503020204020204" pitchFamily="34" charset="0"/>
        </a:defRPr>
      </a:lvl4pPr>
      <a:lvl5pPr algn="l" rtl="0" fontAlgn="base">
        <a:spcBef>
          <a:spcPct val="0"/>
        </a:spcBef>
        <a:spcAft>
          <a:spcPct val="0"/>
        </a:spcAft>
        <a:defRPr sz="4400" b="1">
          <a:solidFill>
            <a:srgbClr val="FFC800"/>
          </a:solidFill>
          <a:latin typeface="Corbel" panose="020B0503020204020204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4400" b="1">
          <a:solidFill>
            <a:srgbClr val="FFC800"/>
          </a:solidFill>
          <a:latin typeface="Corbel" panose="020B0503020204020204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4400" b="1">
          <a:solidFill>
            <a:srgbClr val="FFC800"/>
          </a:solidFill>
          <a:latin typeface="Corbel" panose="020B0503020204020204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4400" b="1">
          <a:solidFill>
            <a:srgbClr val="FFC800"/>
          </a:solidFill>
          <a:latin typeface="Corbel" panose="020B0503020204020204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4400" b="1">
          <a:solidFill>
            <a:srgbClr val="FFC800"/>
          </a:solidFill>
          <a:latin typeface="Corbel" panose="020B0503020204020204" pitchFamily="34" charset="0"/>
        </a:defRPr>
      </a:lvl9pPr>
      <a:extLst/>
    </p:titleStyle>
    <p:bodyStyle>
      <a:lvl1pPr marL="438150" indent="-319088" algn="l" rtl="0" fontAlgn="base">
        <a:spcBef>
          <a:spcPct val="0"/>
        </a:spcBef>
        <a:spcAft>
          <a:spcPct val="0"/>
        </a:spcAft>
        <a:buClr>
          <a:schemeClr val="accent1"/>
        </a:buClr>
        <a:buSzPct val="80000"/>
        <a:buFont typeface="Wingdings 2" panose="05020102010507070707" pitchFamily="18" charset="2"/>
        <a:buChar char="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30250" indent="-273050" algn="l" rtl="0" fontAlgn="base">
        <a:spcBef>
          <a:spcPct val="20000"/>
        </a:spcBef>
        <a:spcAft>
          <a:spcPct val="0"/>
        </a:spcAft>
        <a:buClr>
          <a:schemeClr val="accent2"/>
        </a:buClr>
        <a:buSzPct val="90000"/>
        <a:buFont typeface="Wingdings" panose="05000000000000000000" pitchFamily="2" charset="2"/>
        <a:buChar char="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995363" indent="-228600" algn="l" rtl="0" fontAlgn="base">
        <a:spcBef>
          <a:spcPct val="20000"/>
        </a:spcBef>
        <a:spcAft>
          <a:spcPct val="0"/>
        </a:spcAft>
        <a:buClr>
          <a:srgbClr val="E66C7D"/>
        </a:buClr>
        <a:buFont typeface="Arial" panose="020B0604020202020204" pitchFamily="34" charset="0"/>
        <a:buChar char="▪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216025" indent="-182563" algn="l" rtl="0" fontAlgn="base">
        <a:spcBef>
          <a:spcPct val="20000"/>
        </a:spcBef>
        <a:spcAft>
          <a:spcPct val="0"/>
        </a:spcAft>
        <a:buClr>
          <a:srgbClr val="6BB76D"/>
        </a:buClr>
        <a:buFont typeface="Arial" panose="020B0604020202020204" pitchFamily="34" charset="0"/>
        <a:buChar char="▪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425575" indent="-182563" algn="l" rtl="0" fontAlgn="base">
        <a:spcBef>
          <a:spcPct val="20000"/>
        </a:spcBef>
        <a:spcAft>
          <a:spcPct val="0"/>
        </a:spcAft>
        <a:buClr>
          <a:srgbClr val="E88651"/>
        </a:buClr>
        <a:buFont typeface="Wingdings 3" panose="05040102010807070707" pitchFamily="18" charset="2"/>
        <a:buChar char=""/>
        <a:defRPr lang="en-US"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1627632" indent="-182880" algn="l" rtl="0" eaLnBrk="1" latinLnBrk="0" hangingPunct="1">
        <a:spcBef>
          <a:spcPct val="20000"/>
        </a:spcBef>
        <a:buClr>
          <a:schemeClr val="accent6"/>
        </a:buClr>
        <a:buSzPct val="100000"/>
        <a:buFont typeface="Wingdings 2"/>
        <a:buChar char=""/>
        <a:defRPr kumimoji="0"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1828800" indent="-182880" algn="l" rtl="0" eaLnBrk="1" latinLnBrk="0" hangingPunct="1">
        <a:spcBef>
          <a:spcPct val="20000"/>
        </a:spcBef>
        <a:buClr>
          <a:schemeClr val="accent1"/>
        </a:buClr>
        <a:buSzPct val="100000"/>
        <a:buFont typeface="Wingdings 2"/>
        <a:buChar char=""/>
        <a:defRPr kumimoji="0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2029968" indent="-182880" algn="l" rtl="0" eaLnBrk="1" latinLnBrk="0" hangingPunct="1">
        <a:spcBef>
          <a:spcPct val="20000"/>
        </a:spcBef>
        <a:buClr>
          <a:schemeClr val="accent2"/>
        </a:buClr>
        <a:buFont typeface="Wingdings 2" pitchFamily="18" charset="2"/>
        <a:buChar char=""/>
        <a:defRPr kumimoji="0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2231136" indent="-182880" algn="l" rtl="0" eaLnBrk="1" latinLnBrk="0" hangingPunct="1">
        <a:spcBef>
          <a:spcPct val="20000"/>
        </a:spcBef>
        <a:buClr>
          <a:schemeClr val="accent3"/>
        </a:buClr>
        <a:buFont typeface="Wingdings 2" pitchFamily="18" charset="2"/>
        <a:buChar char=""/>
        <a:defRPr kumimoji="0" sz="1800" kern="1200" baseline="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invGray">
      <p:bgPr>
        <a:gradFill rotWithShape="0">
          <a:gsLst>
            <a:gs pos="0">
              <a:schemeClr val="bg2"/>
            </a:gs>
            <a:gs pos="100000">
              <a:schemeClr val="bg1"/>
            </a:gs>
          </a:gsLst>
          <a:lin ang="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986" name="Rectangle 2"/>
          <p:cNvSpPr>
            <a:spLocks noChangeArrowheads="1"/>
          </p:cNvSpPr>
          <p:nvPr/>
        </p:nvSpPr>
        <p:spPr bwMode="invGray">
          <a:xfrm>
            <a:off x="8809038" y="0"/>
            <a:ext cx="334962" cy="6858000"/>
          </a:xfrm>
          <a:prstGeom prst="rect">
            <a:avLst/>
          </a:prstGeom>
          <a:gradFill rotWithShape="0">
            <a:gsLst>
              <a:gs pos="0">
                <a:schemeClr val="accent2"/>
              </a:gs>
              <a:gs pos="50000">
                <a:schemeClr val="hlink"/>
              </a:gs>
              <a:gs pos="100000">
                <a:schemeClr val="accent2"/>
              </a:gs>
            </a:gsLst>
            <a:lin ang="0" scaled="1"/>
          </a:gra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800">
              <a:solidFill>
                <a:srgbClr val="99CCFF"/>
              </a:solidFill>
              <a:latin typeface="Times New Roman"/>
            </a:endParaRPr>
          </a:p>
        </p:txBody>
      </p:sp>
      <p:sp>
        <p:nvSpPr>
          <p:cNvPr id="41987" name="Freeform 3"/>
          <p:cNvSpPr>
            <a:spLocks/>
          </p:cNvSpPr>
          <p:nvPr/>
        </p:nvSpPr>
        <p:spPr bwMode="white">
          <a:xfrm>
            <a:off x="-9525" y="4489450"/>
            <a:ext cx="5754688" cy="2368550"/>
          </a:xfrm>
          <a:custGeom>
            <a:avLst/>
            <a:gdLst/>
            <a:ahLst/>
            <a:cxnLst>
              <a:cxn ang="0">
                <a:pos x="0" y="1491"/>
              </a:cxn>
              <a:cxn ang="0">
                <a:pos x="0" y="0"/>
              </a:cxn>
              <a:cxn ang="0">
                <a:pos x="171" y="3"/>
              </a:cxn>
              <a:cxn ang="0">
                <a:pos x="355" y="9"/>
              </a:cxn>
              <a:cxn ang="0">
                <a:pos x="499" y="21"/>
              </a:cxn>
              <a:cxn ang="0">
                <a:pos x="650" y="36"/>
              </a:cxn>
              <a:cxn ang="0">
                <a:pos x="809" y="54"/>
              </a:cxn>
              <a:cxn ang="0">
                <a:pos x="957" y="78"/>
              </a:cxn>
              <a:cxn ang="0">
                <a:pos x="1119" y="105"/>
              </a:cxn>
              <a:cxn ang="0">
                <a:pos x="1261" y="133"/>
              </a:cxn>
              <a:cxn ang="0">
                <a:pos x="1441" y="175"/>
              </a:cxn>
              <a:cxn ang="0">
                <a:pos x="1598" y="217"/>
              </a:cxn>
              <a:cxn ang="0">
                <a:pos x="1763" y="269"/>
              </a:cxn>
              <a:cxn ang="0">
                <a:pos x="1887" y="308"/>
              </a:cxn>
              <a:cxn ang="0">
                <a:pos x="2085" y="384"/>
              </a:cxn>
              <a:cxn ang="0">
                <a:pos x="2230" y="444"/>
              </a:cxn>
              <a:cxn ang="0">
                <a:pos x="2456" y="547"/>
              </a:cxn>
              <a:cxn ang="0">
                <a:pos x="2666" y="662"/>
              </a:cxn>
              <a:cxn ang="0">
                <a:pos x="2859" y="786"/>
              </a:cxn>
              <a:cxn ang="0">
                <a:pos x="3046" y="920"/>
              </a:cxn>
              <a:cxn ang="0">
                <a:pos x="3193" y="1038"/>
              </a:cxn>
              <a:cxn ang="0">
                <a:pos x="3332" y="1168"/>
              </a:cxn>
              <a:cxn ang="0">
                <a:pos x="3440" y="1280"/>
              </a:cxn>
              <a:cxn ang="0">
                <a:pos x="3524" y="1380"/>
              </a:cxn>
              <a:cxn ang="0">
                <a:pos x="3624" y="1491"/>
              </a:cxn>
              <a:cxn ang="0">
                <a:pos x="3608" y="1491"/>
              </a:cxn>
              <a:cxn ang="0">
                <a:pos x="0" y="1491"/>
              </a:cxn>
            </a:cxnLst>
            <a:rect l="0" t="0" r="r" b="b"/>
            <a:pathLst>
              <a:path w="3625" h="1492">
                <a:moveTo>
                  <a:pt x="0" y="1491"/>
                </a:moveTo>
                <a:lnTo>
                  <a:pt x="0" y="0"/>
                </a:lnTo>
                <a:lnTo>
                  <a:pt x="171" y="3"/>
                </a:lnTo>
                <a:lnTo>
                  <a:pt x="355" y="9"/>
                </a:lnTo>
                <a:lnTo>
                  <a:pt x="499" y="21"/>
                </a:lnTo>
                <a:lnTo>
                  <a:pt x="650" y="36"/>
                </a:lnTo>
                <a:lnTo>
                  <a:pt x="809" y="54"/>
                </a:lnTo>
                <a:lnTo>
                  <a:pt x="957" y="78"/>
                </a:lnTo>
                <a:lnTo>
                  <a:pt x="1119" y="105"/>
                </a:lnTo>
                <a:lnTo>
                  <a:pt x="1261" y="133"/>
                </a:lnTo>
                <a:lnTo>
                  <a:pt x="1441" y="175"/>
                </a:lnTo>
                <a:lnTo>
                  <a:pt x="1598" y="217"/>
                </a:lnTo>
                <a:lnTo>
                  <a:pt x="1763" y="269"/>
                </a:lnTo>
                <a:lnTo>
                  <a:pt x="1887" y="308"/>
                </a:lnTo>
                <a:lnTo>
                  <a:pt x="2085" y="384"/>
                </a:lnTo>
                <a:lnTo>
                  <a:pt x="2230" y="444"/>
                </a:lnTo>
                <a:lnTo>
                  <a:pt x="2456" y="547"/>
                </a:lnTo>
                <a:lnTo>
                  <a:pt x="2666" y="662"/>
                </a:lnTo>
                <a:lnTo>
                  <a:pt x="2859" y="786"/>
                </a:lnTo>
                <a:lnTo>
                  <a:pt x="3046" y="920"/>
                </a:lnTo>
                <a:lnTo>
                  <a:pt x="3193" y="1038"/>
                </a:lnTo>
                <a:lnTo>
                  <a:pt x="3332" y="1168"/>
                </a:lnTo>
                <a:lnTo>
                  <a:pt x="3440" y="1280"/>
                </a:lnTo>
                <a:lnTo>
                  <a:pt x="3524" y="1380"/>
                </a:lnTo>
                <a:lnTo>
                  <a:pt x="3624" y="1491"/>
                </a:lnTo>
                <a:lnTo>
                  <a:pt x="3608" y="1491"/>
                </a:lnTo>
                <a:lnTo>
                  <a:pt x="0" y="1491"/>
                </a:lnTo>
              </a:path>
            </a:pathLst>
          </a:custGeom>
          <a:gradFill rotWithShape="0">
            <a:gsLst>
              <a:gs pos="0">
                <a:schemeClr val="bg2"/>
              </a:gs>
              <a:gs pos="100000">
                <a:schemeClr val="bg1"/>
              </a:gs>
            </a:gsLst>
            <a:lin ang="5400000" scaled="1"/>
          </a:gradFill>
          <a:ln w="9525" cap="flat" cmpd="sng">
            <a:noFill/>
            <a:prstDash val="solid"/>
            <a:miter lim="800000"/>
            <a:headEnd type="none" w="sm" len="sm"/>
            <a:tailEnd type="none" w="sm" len="sm"/>
          </a:ln>
          <a:effectLst/>
        </p:spPr>
        <p:txBody>
          <a:bodyPr wrap="none" anchor="ctr"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800">
              <a:solidFill>
                <a:srgbClr val="99CCFF"/>
              </a:solidFill>
              <a:latin typeface="Times New Roman"/>
            </a:endParaRPr>
          </a:p>
        </p:txBody>
      </p:sp>
      <p:sp>
        <p:nvSpPr>
          <p:cNvPr id="41988" name="Freeform 4"/>
          <p:cNvSpPr>
            <a:spLocks/>
          </p:cNvSpPr>
          <p:nvPr/>
        </p:nvSpPr>
        <p:spPr bwMode="white">
          <a:xfrm>
            <a:off x="0" y="3817938"/>
            <a:ext cx="8164513" cy="3019425"/>
          </a:xfrm>
          <a:custGeom>
            <a:avLst/>
            <a:gdLst/>
            <a:ahLst/>
            <a:cxnLst>
              <a:cxn ang="0">
                <a:pos x="2718" y="405"/>
              </a:cxn>
              <a:cxn ang="0">
                <a:pos x="2466" y="333"/>
              </a:cxn>
              <a:cxn ang="0">
                <a:pos x="2202" y="261"/>
              </a:cxn>
              <a:cxn ang="0">
                <a:pos x="1929" y="198"/>
              </a:cxn>
              <a:cxn ang="0">
                <a:pos x="1695" y="153"/>
              </a:cxn>
              <a:cxn ang="0">
                <a:pos x="1434" y="111"/>
              </a:cxn>
              <a:cxn ang="0">
                <a:pos x="1188" y="75"/>
              </a:cxn>
              <a:cxn ang="0">
                <a:pos x="957" y="48"/>
              </a:cxn>
              <a:cxn ang="0">
                <a:pos x="747" y="30"/>
              </a:cxn>
              <a:cxn ang="0">
                <a:pos x="501" y="15"/>
              </a:cxn>
              <a:cxn ang="0">
                <a:pos x="246" y="3"/>
              </a:cxn>
              <a:cxn ang="0">
                <a:pos x="0" y="0"/>
              </a:cxn>
              <a:cxn ang="0">
                <a:pos x="0" y="275"/>
              </a:cxn>
              <a:cxn ang="0">
                <a:pos x="0" y="345"/>
              </a:cxn>
              <a:cxn ang="0">
                <a:pos x="0" y="275"/>
              </a:cxn>
              <a:cxn ang="0">
                <a:pos x="0" y="342"/>
              </a:cxn>
              <a:cxn ang="0">
                <a:pos x="339" y="351"/>
              </a:cxn>
              <a:cxn ang="0">
                <a:pos x="606" y="372"/>
              </a:cxn>
              <a:cxn ang="0">
                <a:pos x="852" y="399"/>
              </a:cxn>
              <a:cxn ang="0">
                <a:pos x="1068" y="435"/>
              </a:cxn>
              <a:cxn ang="0">
                <a:pos x="1275" y="474"/>
              </a:cxn>
              <a:cxn ang="0">
                <a:pos x="1545" y="540"/>
              </a:cxn>
              <a:cxn ang="0">
                <a:pos x="1761" y="603"/>
              </a:cxn>
              <a:cxn ang="0">
                <a:pos x="1971" y="678"/>
              </a:cxn>
              <a:cxn ang="0">
                <a:pos x="2166" y="747"/>
              </a:cxn>
              <a:cxn ang="0">
                <a:pos x="2397" y="852"/>
              </a:cxn>
              <a:cxn ang="0">
                <a:pos x="2613" y="960"/>
              </a:cxn>
              <a:cxn ang="0">
                <a:pos x="2832" y="1095"/>
              </a:cxn>
              <a:cxn ang="0">
                <a:pos x="3012" y="1212"/>
              </a:cxn>
              <a:cxn ang="0">
                <a:pos x="3186" y="1347"/>
              </a:cxn>
              <a:cxn ang="0">
                <a:pos x="3351" y="1497"/>
              </a:cxn>
              <a:cxn ang="0">
                <a:pos x="3480" y="1629"/>
              </a:cxn>
              <a:cxn ang="0">
                <a:pos x="3612" y="1785"/>
              </a:cxn>
              <a:cxn ang="0">
                <a:pos x="3699" y="1901"/>
              </a:cxn>
              <a:cxn ang="0">
                <a:pos x="5142" y="1901"/>
              </a:cxn>
              <a:cxn ang="0">
                <a:pos x="5076" y="1827"/>
              </a:cxn>
              <a:cxn ang="0">
                <a:pos x="4968" y="1707"/>
              </a:cxn>
              <a:cxn ang="0">
                <a:pos x="4797" y="1539"/>
              </a:cxn>
              <a:cxn ang="0">
                <a:pos x="4617" y="1383"/>
              </a:cxn>
              <a:cxn ang="0">
                <a:pos x="4410" y="1221"/>
              </a:cxn>
              <a:cxn ang="0">
                <a:pos x="4185" y="1071"/>
              </a:cxn>
              <a:cxn ang="0">
                <a:pos x="3960" y="939"/>
              </a:cxn>
              <a:cxn ang="0">
                <a:pos x="3708" y="801"/>
              </a:cxn>
              <a:cxn ang="0">
                <a:pos x="3492" y="702"/>
              </a:cxn>
              <a:cxn ang="0">
                <a:pos x="3231" y="588"/>
              </a:cxn>
              <a:cxn ang="0">
                <a:pos x="2964" y="489"/>
              </a:cxn>
              <a:cxn ang="0">
                <a:pos x="2718" y="405"/>
              </a:cxn>
            </a:cxnLst>
            <a:rect l="0" t="0" r="r" b="b"/>
            <a:pathLst>
              <a:path w="5143" h="1902">
                <a:moveTo>
                  <a:pt x="2718" y="405"/>
                </a:moveTo>
                <a:lnTo>
                  <a:pt x="2466" y="333"/>
                </a:lnTo>
                <a:lnTo>
                  <a:pt x="2202" y="261"/>
                </a:lnTo>
                <a:lnTo>
                  <a:pt x="1929" y="198"/>
                </a:lnTo>
                <a:lnTo>
                  <a:pt x="1695" y="153"/>
                </a:lnTo>
                <a:lnTo>
                  <a:pt x="1434" y="111"/>
                </a:lnTo>
                <a:lnTo>
                  <a:pt x="1188" y="75"/>
                </a:lnTo>
                <a:lnTo>
                  <a:pt x="957" y="48"/>
                </a:lnTo>
                <a:lnTo>
                  <a:pt x="747" y="30"/>
                </a:lnTo>
                <a:lnTo>
                  <a:pt x="501" y="15"/>
                </a:lnTo>
                <a:lnTo>
                  <a:pt x="246" y="3"/>
                </a:lnTo>
                <a:lnTo>
                  <a:pt x="0" y="0"/>
                </a:lnTo>
                <a:lnTo>
                  <a:pt x="0" y="275"/>
                </a:lnTo>
                <a:lnTo>
                  <a:pt x="0" y="345"/>
                </a:lnTo>
                <a:lnTo>
                  <a:pt x="0" y="275"/>
                </a:lnTo>
                <a:lnTo>
                  <a:pt x="0" y="342"/>
                </a:lnTo>
                <a:lnTo>
                  <a:pt x="339" y="351"/>
                </a:lnTo>
                <a:lnTo>
                  <a:pt x="606" y="372"/>
                </a:lnTo>
                <a:lnTo>
                  <a:pt x="852" y="399"/>
                </a:lnTo>
                <a:lnTo>
                  <a:pt x="1068" y="435"/>
                </a:lnTo>
                <a:lnTo>
                  <a:pt x="1275" y="474"/>
                </a:lnTo>
                <a:lnTo>
                  <a:pt x="1545" y="540"/>
                </a:lnTo>
                <a:lnTo>
                  <a:pt x="1761" y="603"/>
                </a:lnTo>
                <a:lnTo>
                  <a:pt x="1971" y="678"/>
                </a:lnTo>
                <a:lnTo>
                  <a:pt x="2166" y="747"/>
                </a:lnTo>
                <a:lnTo>
                  <a:pt x="2397" y="852"/>
                </a:lnTo>
                <a:lnTo>
                  <a:pt x="2613" y="960"/>
                </a:lnTo>
                <a:lnTo>
                  <a:pt x="2832" y="1095"/>
                </a:lnTo>
                <a:lnTo>
                  <a:pt x="3012" y="1212"/>
                </a:lnTo>
                <a:lnTo>
                  <a:pt x="3186" y="1347"/>
                </a:lnTo>
                <a:lnTo>
                  <a:pt x="3351" y="1497"/>
                </a:lnTo>
                <a:lnTo>
                  <a:pt x="3480" y="1629"/>
                </a:lnTo>
                <a:lnTo>
                  <a:pt x="3612" y="1785"/>
                </a:lnTo>
                <a:lnTo>
                  <a:pt x="3699" y="1901"/>
                </a:lnTo>
                <a:lnTo>
                  <a:pt x="5142" y="1901"/>
                </a:lnTo>
                <a:lnTo>
                  <a:pt x="5076" y="1827"/>
                </a:lnTo>
                <a:lnTo>
                  <a:pt x="4968" y="1707"/>
                </a:lnTo>
                <a:lnTo>
                  <a:pt x="4797" y="1539"/>
                </a:lnTo>
                <a:lnTo>
                  <a:pt x="4617" y="1383"/>
                </a:lnTo>
                <a:lnTo>
                  <a:pt x="4410" y="1221"/>
                </a:lnTo>
                <a:lnTo>
                  <a:pt x="4185" y="1071"/>
                </a:lnTo>
                <a:lnTo>
                  <a:pt x="3960" y="939"/>
                </a:lnTo>
                <a:lnTo>
                  <a:pt x="3708" y="801"/>
                </a:lnTo>
                <a:lnTo>
                  <a:pt x="3492" y="702"/>
                </a:lnTo>
                <a:lnTo>
                  <a:pt x="3231" y="588"/>
                </a:lnTo>
                <a:lnTo>
                  <a:pt x="2964" y="489"/>
                </a:lnTo>
                <a:lnTo>
                  <a:pt x="2718" y="405"/>
                </a:lnTo>
              </a:path>
            </a:pathLst>
          </a:custGeom>
          <a:gradFill rotWithShape="0">
            <a:gsLst>
              <a:gs pos="0">
                <a:schemeClr val="accent2"/>
              </a:gs>
              <a:gs pos="100000">
                <a:schemeClr val="bg1"/>
              </a:gs>
            </a:gsLst>
            <a:lin ang="0" scaled="1"/>
          </a:gradFill>
          <a:ln w="9525" cap="flat" cmpd="sng">
            <a:noFill/>
            <a:prstDash val="solid"/>
            <a:round/>
            <a:headEnd type="none" w="sm" len="sm"/>
            <a:tailEnd type="none" w="sm" len="sm"/>
          </a:ln>
          <a:effectLst/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800">
              <a:solidFill>
                <a:srgbClr val="99CCFF"/>
              </a:solidFill>
              <a:latin typeface="Times New Roman"/>
            </a:endParaRPr>
          </a:p>
        </p:txBody>
      </p:sp>
      <p:sp>
        <p:nvSpPr>
          <p:cNvPr id="41989" name="Freeform 5"/>
          <p:cNvSpPr>
            <a:spLocks/>
          </p:cNvSpPr>
          <p:nvPr/>
        </p:nvSpPr>
        <p:spPr bwMode="white">
          <a:xfrm>
            <a:off x="0" y="3146425"/>
            <a:ext cx="9144000" cy="3690938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339"/>
              </a:cxn>
              <a:cxn ang="0">
                <a:pos x="558" y="357"/>
              </a:cxn>
              <a:cxn ang="0">
                <a:pos x="807" y="375"/>
              </a:cxn>
              <a:cxn ang="0">
                <a:pos x="1056" y="399"/>
              </a:cxn>
              <a:cxn ang="0">
                <a:pos x="1272" y="426"/>
              </a:cxn>
              <a:cxn ang="0">
                <a:pos x="1539" y="465"/>
              </a:cxn>
              <a:cxn ang="0">
                <a:pos x="1791" y="510"/>
              </a:cxn>
              <a:cxn ang="0">
                <a:pos x="2076" y="570"/>
              </a:cxn>
              <a:cxn ang="0">
                <a:pos x="2334" y="630"/>
              </a:cxn>
              <a:cxn ang="0">
                <a:pos x="2544" y="687"/>
              </a:cxn>
              <a:cxn ang="0">
                <a:pos x="2775" y="759"/>
              </a:cxn>
              <a:cxn ang="0">
                <a:pos x="3003" y="837"/>
              </a:cxn>
              <a:cxn ang="0">
                <a:pos x="3231" y="924"/>
              </a:cxn>
              <a:cxn ang="0">
                <a:pos x="3438" y="1005"/>
              </a:cxn>
              <a:cxn ang="0">
                <a:pos x="3663" y="1110"/>
              </a:cxn>
              <a:cxn ang="0">
                <a:pos x="3903" y="1233"/>
              </a:cxn>
              <a:cxn ang="0">
                <a:pos x="4149" y="1374"/>
              </a:cxn>
              <a:cxn ang="0">
                <a:pos x="4353" y="1506"/>
              </a:cxn>
              <a:cxn ang="0">
                <a:pos x="4491" y="1602"/>
              </a:cxn>
              <a:cxn ang="0">
                <a:pos x="4668" y="1740"/>
              </a:cxn>
              <a:cxn ang="0">
                <a:pos x="4824" y="1875"/>
              </a:cxn>
              <a:cxn ang="0">
                <a:pos x="4968" y="2016"/>
              </a:cxn>
              <a:cxn ang="0">
                <a:pos x="5100" y="2154"/>
              </a:cxn>
              <a:cxn ang="0">
                <a:pos x="5238" y="2324"/>
              </a:cxn>
              <a:cxn ang="0">
                <a:pos x="5759" y="2324"/>
              </a:cxn>
              <a:cxn ang="0">
                <a:pos x="5759" y="1245"/>
              </a:cxn>
              <a:cxn ang="0">
                <a:pos x="5580" y="1119"/>
              </a:cxn>
              <a:cxn ang="0">
                <a:pos x="5400" y="1020"/>
              </a:cxn>
              <a:cxn ang="0">
                <a:pos x="5205" y="918"/>
              </a:cxn>
              <a:cxn ang="0">
                <a:pos x="5031" y="837"/>
              </a:cxn>
              <a:cxn ang="0">
                <a:pos x="4866" y="771"/>
              </a:cxn>
              <a:cxn ang="0">
                <a:pos x="4710" y="711"/>
              </a:cxn>
              <a:cxn ang="0">
                <a:pos x="4545" y="651"/>
              </a:cxn>
              <a:cxn ang="0">
                <a:pos x="4386" y="600"/>
              </a:cxn>
              <a:cxn ang="0">
                <a:pos x="4248" y="552"/>
              </a:cxn>
              <a:cxn ang="0">
                <a:pos x="3993" y="483"/>
              </a:cxn>
              <a:cxn ang="0">
                <a:pos x="3777" y="423"/>
              </a:cxn>
              <a:cxn ang="0">
                <a:pos x="3564" y="375"/>
              </a:cxn>
              <a:cxn ang="0">
                <a:pos x="3282" y="312"/>
              </a:cxn>
              <a:cxn ang="0">
                <a:pos x="3003" y="261"/>
              </a:cxn>
              <a:cxn ang="0">
                <a:pos x="2733" y="213"/>
              </a:cxn>
              <a:cxn ang="0">
                <a:pos x="2451" y="171"/>
              </a:cxn>
              <a:cxn ang="0">
                <a:pos x="2211" y="138"/>
              </a:cxn>
              <a:cxn ang="0">
                <a:pos x="1974" y="108"/>
              </a:cxn>
              <a:cxn ang="0">
                <a:pos x="1665" y="81"/>
              </a:cxn>
              <a:cxn ang="0">
                <a:pos x="1437" y="60"/>
              </a:cxn>
              <a:cxn ang="0">
                <a:pos x="1125" y="36"/>
              </a:cxn>
              <a:cxn ang="0">
                <a:pos x="828" y="21"/>
              </a:cxn>
              <a:cxn ang="0">
                <a:pos x="558" y="12"/>
              </a:cxn>
              <a:cxn ang="0">
                <a:pos x="282" y="3"/>
              </a:cxn>
              <a:cxn ang="0">
                <a:pos x="0" y="0"/>
              </a:cxn>
            </a:cxnLst>
            <a:rect l="0" t="0" r="r" b="b"/>
            <a:pathLst>
              <a:path w="5760" h="2325">
                <a:moveTo>
                  <a:pt x="0" y="0"/>
                </a:moveTo>
                <a:lnTo>
                  <a:pt x="0" y="339"/>
                </a:lnTo>
                <a:lnTo>
                  <a:pt x="558" y="357"/>
                </a:lnTo>
                <a:lnTo>
                  <a:pt x="807" y="375"/>
                </a:lnTo>
                <a:lnTo>
                  <a:pt x="1056" y="399"/>
                </a:lnTo>
                <a:lnTo>
                  <a:pt x="1272" y="426"/>
                </a:lnTo>
                <a:lnTo>
                  <a:pt x="1539" y="465"/>
                </a:lnTo>
                <a:lnTo>
                  <a:pt x="1791" y="510"/>
                </a:lnTo>
                <a:lnTo>
                  <a:pt x="2076" y="570"/>
                </a:lnTo>
                <a:lnTo>
                  <a:pt x="2334" y="630"/>
                </a:lnTo>
                <a:lnTo>
                  <a:pt x="2544" y="687"/>
                </a:lnTo>
                <a:lnTo>
                  <a:pt x="2775" y="759"/>
                </a:lnTo>
                <a:lnTo>
                  <a:pt x="3003" y="837"/>
                </a:lnTo>
                <a:lnTo>
                  <a:pt x="3231" y="924"/>
                </a:lnTo>
                <a:lnTo>
                  <a:pt x="3438" y="1005"/>
                </a:lnTo>
                <a:lnTo>
                  <a:pt x="3663" y="1110"/>
                </a:lnTo>
                <a:lnTo>
                  <a:pt x="3903" y="1233"/>
                </a:lnTo>
                <a:lnTo>
                  <a:pt x="4149" y="1374"/>
                </a:lnTo>
                <a:lnTo>
                  <a:pt x="4353" y="1506"/>
                </a:lnTo>
                <a:lnTo>
                  <a:pt x="4491" y="1602"/>
                </a:lnTo>
                <a:lnTo>
                  <a:pt x="4668" y="1740"/>
                </a:lnTo>
                <a:lnTo>
                  <a:pt x="4824" y="1875"/>
                </a:lnTo>
                <a:lnTo>
                  <a:pt x="4968" y="2016"/>
                </a:lnTo>
                <a:lnTo>
                  <a:pt x="5100" y="2154"/>
                </a:lnTo>
                <a:lnTo>
                  <a:pt x="5238" y="2324"/>
                </a:lnTo>
                <a:lnTo>
                  <a:pt x="5759" y="2324"/>
                </a:lnTo>
                <a:lnTo>
                  <a:pt x="5759" y="1245"/>
                </a:lnTo>
                <a:lnTo>
                  <a:pt x="5580" y="1119"/>
                </a:lnTo>
                <a:lnTo>
                  <a:pt x="5400" y="1020"/>
                </a:lnTo>
                <a:lnTo>
                  <a:pt x="5205" y="918"/>
                </a:lnTo>
                <a:lnTo>
                  <a:pt x="5031" y="837"/>
                </a:lnTo>
                <a:lnTo>
                  <a:pt x="4866" y="771"/>
                </a:lnTo>
                <a:lnTo>
                  <a:pt x="4710" y="711"/>
                </a:lnTo>
                <a:lnTo>
                  <a:pt x="4545" y="651"/>
                </a:lnTo>
                <a:lnTo>
                  <a:pt x="4386" y="600"/>
                </a:lnTo>
                <a:lnTo>
                  <a:pt x="4248" y="552"/>
                </a:lnTo>
                <a:lnTo>
                  <a:pt x="3993" y="483"/>
                </a:lnTo>
                <a:lnTo>
                  <a:pt x="3777" y="423"/>
                </a:lnTo>
                <a:lnTo>
                  <a:pt x="3564" y="375"/>
                </a:lnTo>
                <a:lnTo>
                  <a:pt x="3282" y="312"/>
                </a:lnTo>
                <a:lnTo>
                  <a:pt x="3003" y="261"/>
                </a:lnTo>
                <a:lnTo>
                  <a:pt x="2733" y="213"/>
                </a:lnTo>
                <a:lnTo>
                  <a:pt x="2451" y="171"/>
                </a:lnTo>
                <a:lnTo>
                  <a:pt x="2211" y="138"/>
                </a:lnTo>
                <a:lnTo>
                  <a:pt x="1974" y="108"/>
                </a:lnTo>
                <a:lnTo>
                  <a:pt x="1665" y="81"/>
                </a:lnTo>
                <a:lnTo>
                  <a:pt x="1437" y="60"/>
                </a:lnTo>
                <a:lnTo>
                  <a:pt x="1125" y="36"/>
                </a:lnTo>
                <a:lnTo>
                  <a:pt x="828" y="21"/>
                </a:lnTo>
                <a:lnTo>
                  <a:pt x="558" y="12"/>
                </a:lnTo>
                <a:lnTo>
                  <a:pt x="282" y="3"/>
                </a:lnTo>
                <a:lnTo>
                  <a:pt x="0" y="0"/>
                </a:lnTo>
              </a:path>
            </a:pathLst>
          </a:custGeom>
          <a:gradFill rotWithShape="0">
            <a:gsLst>
              <a:gs pos="0">
                <a:schemeClr val="accent2"/>
              </a:gs>
              <a:gs pos="100000">
                <a:schemeClr val="bg1"/>
              </a:gs>
            </a:gsLst>
            <a:lin ang="0" scaled="1"/>
          </a:gradFill>
          <a:ln w="9525" cap="flat" cmpd="sng">
            <a:noFill/>
            <a:prstDash val="solid"/>
            <a:round/>
            <a:headEnd type="none" w="sm" len="sm"/>
            <a:tailEnd type="none" w="sm" len="sm"/>
          </a:ln>
          <a:effectLst/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800">
              <a:solidFill>
                <a:srgbClr val="99CCFF"/>
              </a:solidFill>
              <a:latin typeface="Times New Roman"/>
            </a:endParaRPr>
          </a:p>
        </p:txBody>
      </p:sp>
      <p:sp>
        <p:nvSpPr>
          <p:cNvPr id="41990" name="Freeform 6"/>
          <p:cNvSpPr>
            <a:spLocks/>
          </p:cNvSpPr>
          <p:nvPr/>
        </p:nvSpPr>
        <p:spPr bwMode="white">
          <a:xfrm>
            <a:off x="0" y="2460625"/>
            <a:ext cx="9144000" cy="2497138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351"/>
              </a:cxn>
              <a:cxn ang="0">
                <a:pos x="282" y="357"/>
              </a:cxn>
              <a:cxn ang="0">
                <a:pos x="627" y="363"/>
              </a:cxn>
              <a:cxn ang="0">
                <a:pos x="960" y="375"/>
              </a:cxn>
              <a:cxn ang="0">
                <a:pos x="1218" y="393"/>
              </a:cxn>
              <a:cxn ang="0">
                <a:pos x="1470" y="411"/>
              </a:cxn>
              <a:cxn ang="0">
                <a:pos x="1746" y="435"/>
              </a:cxn>
              <a:cxn ang="0">
                <a:pos x="2022" y="462"/>
              </a:cxn>
              <a:cxn ang="0">
                <a:pos x="2340" y="504"/>
              </a:cxn>
              <a:cxn ang="0">
                <a:pos x="2664" y="549"/>
              </a:cxn>
              <a:cxn ang="0">
                <a:pos x="2952" y="597"/>
              </a:cxn>
              <a:cxn ang="0">
                <a:pos x="3225" y="648"/>
              </a:cxn>
              <a:cxn ang="0">
                <a:pos x="3513" y="708"/>
              </a:cxn>
              <a:cxn ang="0">
                <a:pos x="3693" y="750"/>
              </a:cxn>
              <a:cxn ang="0">
                <a:pos x="3936" y="810"/>
              </a:cxn>
              <a:cxn ang="0">
                <a:pos x="4095" y="855"/>
              </a:cxn>
              <a:cxn ang="0">
                <a:pos x="4281" y="909"/>
              </a:cxn>
              <a:cxn ang="0">
                <a:pos x="4503" y="981"/>
              </a:cxn>
              <a:cxn ang="0">
                <a:pos x="4704" y="1053"/>
              </a:cxn>
              <a:cxn ang="0">
                <a:pos x="4911" y="1131"/>
              </a:cxn>
              <a:cxn ang="0">
                <a:pos x="5073" y="1197"/>
              </a:cxn>
              <a:cxn ang="0">
                <a:pos x="5256" y="1281"/>
              </a:cxn>
              <a:cxn ang="0">
                <a:pos x="5475" y="1401"/>
              </a:cxn>
              <a:cxn ang="0">
                <a:pos x="5628" y="1482"/>
              </a:cxn>
              <a:cxn ang="0">
                <a:pos x="5759" y="1572"/>
              </a:cxn>
              <a:cxn ang="0">
                <a:pos x="5759" y="633"/>
              </a:cxn>
              <a:cxn ang="0">
                <a:pos x="5493" y="570"/>
              </a:cxn>
              <a:cxn ang="0">
                <a:pos x="5214" y="501"/>
              </a:cxn>
              <a:cxn ang="0">
                <a:pos x="4950" y="444"/>
              </a:cxn>
              <a:cxn ang="0">
                <a:pos x="4701" y="396"/>
              </a:cxn>
              <a:cxn ang="0">
                <a:pos x="4425" y="348"/>
              </a:cxn>
              <a:cxn ang="0">
                <a:pos x="4110" y="294"/>
              </a:cxn>
              <a:cxn ang="0">
                <a:pos x="3813" y="252"/>
              </a:cxn>
              <a:cxn ang="0">
                <a:pos x="3549" y="213"/>
              </a:cxn>
              <a:cxn ang="0">
                <a:pos x="3261" y="183"/>
              </a:cxn>
              <a:cxn ang="0">
                <a:pos x="3015" y="153"/>
              </a:cxn>
              <a:cxn ang="0">
                <a:pos x="2757" y="129"/>
              </a:cxn>
              <a:cxn ang="0">
                <a:pos x="2520" y="105"/>
              </a:cxn>
              <a:cxn ang="0">
                <a:pos x="2301" y="87"/>
              </a:cxn>
              <a:cxn ang="0">
                <a:pos x="2013" y="66"/>
              </a:cxn>
              <a:cxn ang="0">
                <a:pos x="1731" y="48"/>
              </a:cxn>
              <a:cxn ang="0">
                <a:pos x="1524" y="39"/>
              </a:cxn>
              <a:cxn ang="0">
                <a:pos x="1260" y="27"/>
              </a:cxn>
              <a:cxn ang="0">
                <a:pos x="966" y="15"/>
              </a:cxn>
              <a:cxn ang="0">
                <a:pos x="714" y="12"/>
              </a:cxn>
              <a:cxn ang="0">
                <a:pos x="510" y="6"/>
              </a:cxn>
              <a:cxn ang="0">
                <a:pos x="243" y="0"/>
              </a:cxn>
              <a:cxn ang="0">
                <a:pos x="0" y="0"/>
              </a:cxn>
            </a:cxnLst>
            <a:rect l="0" t="0" r="r" b="b"/>
            <a:pathLst>
              <a:path w="5760" h="1573">
                <a:moveTo>
                  <a:pt x="0" y="0"/>
                </a:moveTo>
                <a:lnTo>
                  <a:pt x="0" y="351"/>
                </a:lnTo>
                <a:lnTo>
                  <a:pt x="282" y="357"/>
                </a:lnTo>
                <a:lnTo>
                  <a:pt x="627" y="363"/>
                </a:lnTo>
                <a:lnTo>
                  <a:pt x="960" y="375"/>
                </a:lnTo>
                <a:lnTo>
                  <a:pt x="1218" y="393"/>
                </a:lnTo>
                <a:lnTo>
                  <a:pt x="1470" y="411"/>
                </a:lnTo>
                <a:lnTo>
                  <a:pt x="1746" y="435"/>
                </a:lnTo>
                <a:lnTo>
                  <a:pt x="2022" y="462"/>
                </a:lnTo>
                <a:lnTo>
                  <a:pt x="2340" y="504"/>
                </a:lnTo>
                <a:lnTo>
                  <a:pt x="2664" y="549"/>
                </a:lnTo>
                <a:lnTo>
                  <a:pt x="2952" y="597"/>
                </a:lnTo>
                <a:lnTo>
                  <a:pt x="3225" y="648"/>
                </a:lnTo>
                <a:lnTo>
                  <a:pt x="3513" y="708"/>
                </a:lnTo>
                <a:lnTo>
                  <a:pt x="3693" y="750"/>
                </a:lnTo>
                <a:lnTo>
                  <a:pt x="3936" y="810"/>
                </a:lnTo>
                <a:lnTo>
                  <a:pt x="4095" y="855"/>
                </a:lnTo>
                <a:lnTo>
                  <a:pt x="4281" y="909"/>
                </a:lnTo>
                <a:lnTo>
                  <a:pt x="4503" y="981"/>
                </a:lnTo>
                <a:lnTo>
                  <a:pt x="4704" y="1053"/>
                </a:lnTo>
                <a:lnTo>
                  <a:pt x="4911" y="1131"/>
                </a:lnTo>
                <a:lnTo>
                  <a:pt x="5073" y="1197"/>
                </a:lnTo>
                <a:lnTo>
                  <a:pt x="5256" y="1281"/>
                </a:lnTo>
                <a:lnTo>
                  <a:pt x="5475" y="1401"/>
                </a:lnTo>
                <a:lnTo>
                  <a:pt x="5628" y="1482"/>
                </a:lnTo>
                <a:lnTo>
                  <a:pt x="5759" y="1572"/>
                </a:lnTo>
                <a:lnTo>
                  <a:pt x="5759" y="633"/>
                </a:lnTo>
                <a:lnTo>
                  <a:pt x="5493" y="570"/>
                </a:lnTo>
                <a:lnTo>
                  <a:pt x="5214" y="501"/>
                </a:lnTo>
                <a:lnTo>
                  <a:pt x="4950" y="444"/>
                </a:lnTo>
                <a:lnTo>
                  <a:pt x="4701" y="396"/>
                </a:lnTo>
                <a:lnTo>
                  <a:pt x="4425" y="348"/>
                </a:lnTo>
                <a:lnTo>
                  <a:pt x="4110" y="294"/>
                </a:lnTo>
                <a:lnTo>
                  <a:pt x="3813" y="252"/>
                </a:lnTo>
                <a:lnTo>
                  <a:pt x="3549" y="213"/>
                </a:lnTo>
                <a:lnTo>
                  <a:pt x="3261" y="183"/>
                </a:lnTo>
                <a:lnTo>
                  <a:pt x="3015" y="153"/>
                </a:lnTo>
                <a:lnTo>
                  <a:pt x="2757" y="129"/>
                </a:lnTo>
                <a:lnTo>
                  <a:pt x="2520" y="105"/>
                </a:lnTo>
                <a:lnTo>
                  <a:pt x="2301" y="87"/>
                </a:lnTo>
                <a:lnTo>
                  <a:pt x="2013" y="66"/>
                </a:lnTo>
                <a:lnTo>
                  <a:pt x="1731" y="48"/>
                </a:lnTo>
                <a:lnTo>
                  <a:pt x="1524" y="39"/>
                </a:lnTo>
                <a:lnTo>
                  <a:pt x="1260" y="27"/>
                </a:lnTo>
                <a:lnTo>
                  <a:pt x="966" y="15"/>
                </a:lnTo>
                <a:lnTo>
                  <a:pt x="714" y="12"/>
                </a:lnTo>
                <a:lnTo>
                  <a:pt x="510" y="6"/>
                </a:lnTo>
                <a:lnTo>
                  <a:pt x="243" y="0"/>
                </a:lnTo>
                <a:lnTo>
                  <a:pt x="0" y="0"/>
                </a:lnTo>
              </a:path>
            </a:pathLst>
          </a:custGeom>
          <a:gradFill rotWithShape="0">
            <a:gsLst>
              <a:gs pos="0">
                <a:schemeClr val="accent2"/>
              </a:gs>
              <a:gs pos="100000">
                <a:schemeClr val="bg1"/>
              </a:gs>
            </a:gsLst>
            <a:lin ang="0" scaled="1"/>
          </a:gradFill>
          <a:ln w="9525" cap="flat" cmpd="sng">
            <a:noFill/>
            <a:prstDash val="solid"/>
            <a:round/>
            <a:headEnd type="none" w="sm" len="sm"/>
            <a:tailEnd type="none" w="sm" len="sm"/>
          </a:ln>
          <a:effectLst/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800">
              <a:solidFill>
                <a:srgbClr val="99CCFF"/>
              </a:solidFill>
              <a:latin typeface="Times New Roman"/>
            </a:endParaRPr>
          </a:p>
        </p:txBody>
      </p:sp>
      <p:sp>
        <p:nvSpPr>
          <p:cNvPr id="41991" name="Freeform 7"/>
          <p:cNvSpPr>
            <a:spLocks/>
          </p:cNvSpPr>
          <p:nvPr/>
        </p:nvSpPr>
        <p:spPr bwMode="white">
          <a:xfrm>
            <a:off x="0" y="1793875"/>
            <a:ext cx="9144000" cy="1539875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339"/>
              </a:cxn>
              <a:cxn ang="0">
                <a:pos x="318" y="342"/>
              </a:cxn>
              <a:cxn ang="0">
                <a:pos x="591" y="348"/>
              </a:cxn>
              <a:cxn ang="0">
                <a:pos x="846" y="354"/>
              </a:cxn>
              <a:cxn ang="0">
                <a:pos x="1074" y="360"/>
              </a:cxn>
              <a:cxn ang="0">
                <a:pos x="1314" y="366"/>
              </a:cxn>
              <a:cxn ang="0">
                <a:pos x="1599" y="381"/>
              </a:cxn>
              <a:cxn ang="0">
                <a:pos x="1911" y="399"/>
              </a:cxn>
              <a:cxn ang="0">
                <a:pos x="2241" y="420"/>
              </a:cxn>
              <a:cxn ang="0">
                <a:pos x="2619" y="453"/>
              </a:cxn>
              <a:cxn ang="0">
                <a:pos x="2889" y="477"/>
              </a:cxn>
              <a:cxn ang="0">
                <a:pos x="3177" y="507"/>
              </a:cxn>
              <a:cxn ang="0">
                <a:pos x="3498" y="543"/>
              </a:cxn>
              <a:cxn ang="0">
                <a:pos x="3813" y="585"/>
              </a:cxn>
              <a:cxn ang="0">
                <a:pos x="4044" y="618"/>
              </a:cxn>
              <a:cxn ang="0">
                <a:pos x="4365" y="669"/>
              </a:cxn>
              <a:cxn ang="0">
                <a:pos x="4683" y="726"/>
              </a:cxn>
              <a:cxn ang="0">
                <a:pos x="4980" y="786"/>
              </a:cxn>
              <a:cxn ang="0">
                <a:pos x="5268" y="846"/>
              </a:cxn>
              <a:cxn ang="0">
                <a:pos x="5646" y="942"/>
              </a:cxn>
              <a:cxn ang="0">
                <a:pos x="5759" y="969"/>
              </a:cxn>
              <a:cxn ang="0">
                <a:pos x="5759" y="0"/>
              </a:cxn>
              <a:cxn ang="0">
                <a:pos x="0" y="0"/>
              </a:cxn>
            </a:cxnLst>
            <a:rect l="0" t="0" r="r" b="b"/>
            <a:pathLst>
              <a:path w="5760" h="970">
                <a:moveTo>
                  <a:pt x="0" y="0"/>
                </a:moveTo>
                <a:lnTo>
                  <a:pt x="0" y="339"/>
                </a:lnTo>
                <a:lnTo>
                  <a:pt x="318" y="342"/>
                </a:lnTo>
                <a:lnTo>
                  <a:pt x="591" y="348"/>
                </a:lnTo>
                <a:lnTo>
                  <a:pt x="846" y="354"/>
                </a:lnTo>
                <a:lnTo>
                  <a:pt x="1074" y="360"/>
                </a:lnTo>
                <a:lnTo>
                  <a:pt x="1314" y="366"/>
                </a:lnTo>
                <a:lnTo>
                  <a:pt x="1599" y="381"/>
                </a:lnTo>
                <a:lnTo>
                  <a:pt x="1911" y="399"/>
                </a:lnTo>
                <a:lnTo>
                  <a:pt x="2241" y="420"/>
                </a:lnTo>
                <a:lnTo>
                  <a:pt x="2619" y="453"/>
                </a:lnTo>
                <a:lnTo>
                  <a:pt x="2889" y="477"/>
                </a:lnTo>
                <a:lnTo>
                  <a:pt x="3177" y="507"/>
                </a:lnTo>
                <a:lnTo>
                  <a:pt x="3498" y="543"/>
                </a:lnTo>
                <a:lnTo>
                  <a:pt x="3813" y="585"/>
                </a:lnTo>
                <a:lnTo>
                  <a:pt x="4044" y="618"/>
                </a:lnTo>
                <a:lnTo>
                  <a:pt x="4365" y="669"/>
                </a:lnTo>
                <a:lnTo>
                  <a:pt x="4683" y="726"/>
                </a:lnTo>
                <a:lnTo>
                  <a:pt x="4980" y="786"/>
                </a:lnTo>
                <a:lnTo>
                  <a:pt x="5268" y="846"/>
                </a:lnTo>
                <a:lnTo>
                  <a:pt x="5646" y="942"/>
                </a:lnTo>
                <a:lnTo>
                  <a:pt x="5759" y="969"/>
                </a:lnTo>
                <a:lnTo>
                  <a:pt x="5759" y="0"/>
                </a:lnTo>
                <a:lnTo>
                  <a:pt x="0" y="0"/>
                </a:lnTo>
              </a:path>
            </a:pathLst>
          </a:custGeom>
          <a:gradFill rotWithShape="0">
            <a:gsLst>
              <a:gs pos="0">
                <a:schemeClr val="accent2"/>
              </a:gs>
              <a:gs pos="100000">
                <a:schemeClr val="bg1"/>
              </a:gs>
            </a:gsLst>
            <a:lin ang="0" scaled="1"/>
          </a:gradFill>
          <a:ln w="9525" cap="flat" cmpd="sng">
            <a:noFill/>
            <a:prstDash val="solid"/>
            <a:round/>
            <a:headEnd type="none" w="sm" len="sm"/>
            <a:tailEnd type="none" w="sm" len="sm"/>
          </a:ln>
          <a:effectLst/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800">
              <a:solidFill>
                <a:srgbClr val="99CCFF"/>
              </a:solidFill>
              <a:latin typeface="Times New Roman"/>
            </a:endParaRPr>
          </a:p>
        </p:txBody>
      </p:sp>
      <p:sp>
        <p:nvSpPr>
          <p:cNvPr id="41992" name="Freeform 8"/>
          <p:cNvSpPr>
            <a:spLocks/>
          </p:cNvSpPr>
          <p:nvPr/>
        </p:nvSpPr>
        <p:spPr bwMode="white">
          <a:xfrm>
            <a:off x="0" y="-20638"/>
            <a:ext cx="9144000" cy="1682751"/>
          </a:xfrm>
          <a:custGeom>
            <a:avLst/>
            <a:gdLst/>
            <a:ahLst/>
            <a:cxnLst>
              <a:cxn ang="0">
                <a:pos x="0" y="753"/>
              </a:cxn>
              <a:cxn ang="0">
                <a:pos x="0" y="1059"/>
              </a:cxn>
              <a:cxn ang="0">
                <a:pos x="5759" y="1059"/>
              </a:cxn>
              <a:cxn ang="0">
                <a:pos x="5759" y="0"/>
              </a:cxn>
              <a:cxn ang="0">
                <a:pos x="5430" y="0"/>
              </a:cxn>
              <a:cxn ang="0">
                <a:pos x="5298" y="84"/>
              </a:cxn>
              <a:cxn ang="0">
                <a:pos x="5136" y="159"/>
              </a:cxn>
              <a:cxn ang="0">
                <a:pos x="4968" y="222"/>
              </a:cxn>
              <a:cxn ang="0">
                <a:pos x="4812" y="267"/>
              </a:cxn>
              <a:cxn ang="0">
                <a:pos x="4626" y="324"/>
              </a:cxn>
              <a:cxn ang="0">
                <a:pos x="4440" y="366"/>
              </a:cxn>
              <a:cxn ang="0">
                <a:pos x="4230" y="414"/>
              </a:cxn>
              <a:cxn ang="0">
                <a:pos x="3939" y="468"/>
              </a:cxn>
              <a:cxn ang="0">
                <a:pos x="3711" y="504"/>
              </a:cxn>
              <a:cxn ang="0">
                <a:pos x="3441" y="543"/>
              </a:cxn>
              <a:cxn ang="0">
                <a:pos x="3189" y="579"/>
              </a:cxn>
              <a:cxn ang="0">
                <a:pos x="2925" y="606"/>
              </a:cxn>
              <a:cxn ang="0">
                <a:pos x="2679" y="633"/>
              </a:cxn>
              <a:cxn ang="0">
                <a:pos x="2418" y="654"/>
              </a:cxn>
              <a:cxn ang="0">
                <a:pos x="2142" y="675"/>
              </a:cxn>
              <a:cxn ang="0">
                <a:pos x="1896" y="693"/>
              </a:cxn>
              <a:cxn ang="0">
                <a:pos x="1647" y="708"/>
              </a:cxn>
              <a:cxn ang="0">
                <a:pos x="1404" y="720"/>
              </a:cxn>
              <a:cxn ang="0">
                <a:pos x="1170" y="732"/>
              </a:cxn>
              <a:cxn ang="0">
                <a:pos x="906" y="738"/>
              </a:cxn>
              <a:cxn ang="0">
                <a:pos x="534" y="747"/>
              </a:cxn>
              <a:cxn ang="0">
                <a:pos x="201" y="753"/>
              </a:cxn>
              <a:cxn ang="0">
                <a:pos x="0" y="753"/>
              </a:cxn>
            </a:cxnLst>
            <a:rect l="0" t="0" r="r" b="b"/>
            <a:pathLst>
              <a:path w="5760" h="1060">
                <a:moveTo>
                  <a:pt x="0" y="753"/>
                </a:moveTo>
                <a:lnTo>
                  <a:pt x="0" y="1059"/>
                </a:lnTo>
                <a:lnTo>
                  <a:pt x="5759" y="1059"/>
                </a:lnTo>
                <a:lnTo>
                  <a:pt x="5759" y="0"/>
                </a:lnTo>
                <a:lnTo>
                  <a:pt x="5430" y="0"/>
                </a:lnTo>
                <a:lnTo>
                  <a:pt x="5298" y="84"/>
                </a:lnTo>
                <a:lnTo>
                  <a:pt x="5136" y="159"/>
                </a:lnTo>
                <a:lnTo>
                  <a:pt x="4968" y="222"/>
                </a:lnTo>
                <a:lnTo>
                  <a:pt x="4812" y="267"/>
                </a:lnTo>
                <a:lnTo>
                  <a:pt x="4626" y="324"/>
                </a:lnTo>
                <a:lnTo>
                  <a:pt x="4440" y="366"/>
                </a:lnTo>
                <a:lnTo>
                  <a:pt x="4230" y="414"/>
                </a:lnTo>
                <a:lnTo>
                  <a:pt x="3939" y="468"/>
                </a:lnTo>
                <a:lnTo>
                  <a:pt x="3711" y="504"/>
                </a:lnTo>
                <a:lnTo>
                  <a:pt x="3441" y="543"/>
                </a:lnTo>
                <a:lnTo>
                  <a:pt x="3189" y="579"/>
                </a:lnTo>
                <a:lnTo>
                  <a:pt x="2925" y="606"/>
                </a:lnTo>
                <a:lnTo>
                  <a:pt x="2679" y="633"/>
                </a:lnTo>
                <a:lnTo>
                  <a:pt x="2418" y="654"/>
                </a:lnTo>
                <a:lnTo>
                  <a:pt x="2142" y="675"/>
                </a:lnTo>
                <a:lnTo>
                  <a:pt x="1896" y="693"/>
                </a:lnTo>
                <a:lnTo>
                  <a:pt x="1647" y="708"/>
                </a:lnTo>
                <a:lnTo>
                  <a:pt x="1404" y="720"/>
                </a:lnTo>
                <a:lnTo>
                  <a:pt x="1170" y="732"/>
                </a:lnTo>
                <a:lnTo>
                  <a:pt x="906" y="738"/>
                </a:lnTo>
                <a:lnTo>
                  <a:pt x="534" y="747"/>
                </a:lnTo>
                <a:lnTo>
                  <a:pt x="201" y="753"/>
                </a:lnTo>
                <a:lnTo>
                  <a:pt x="0" y="753"/>
                </a:lnTo>
              </a:path>
            </a:pathLst>
          </a:custGeom>
          <a:gradFill rotWithShape="0">
            <a:gsLst>
              <a:gs pos="0">
                <a:schemeClr val="accent2"/>
              </a:gs>
              <a:gs pos="100000">
                <a:schemeClr val="bg1"/>
              </a:gs>
            </a:gsLst>
            <a:lin ang="0" scaled="1"/>
          </a:gradFill>
          <a:ln w="9525" cap="flat" cmpd="sng">
            <a:noFill/>
            <a:prstDash val="solid"/>
            <a:round/>
            <a:headEnd type="none" w="sm" len="sm"/>
            <a:tailEnd type="none" w="sm" len="sm"/>
          </a:ln>
          <a:effectLst/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800">
              <a:solidFill>
                <a:srgbClr val="99CCFF"/>
              </a:solidFill>
              <a:latin typeface="Times New Roman"/>
            </a:endParaRPr>
          </a:p>
        </p:txBody>
      </p:sp>
      <p:sp>
        <p:nvSpPr>
          <p:cNvPr id="41993" name="Freeform 9"/>
          <p:cNvSpPr>
            <a:spLocks/>
          </p:cNvSpPr>
          <p:nvPr/>
        </p:nvSpPr>
        <p:spPr bwMode="white">
          <a:xfrm>
            <a:off x="0" y="-20638"/>
            <a:ext cx="8388350" cy="1068388"/>
          </a:xfrm>
          <a:custGeom>
            <a:avLst/>
            <a:gdLst/>
            <a:ahLst/>
            <a:cxnLst>
              <a:cxn ang="0">
                <a:pos x="0" y="366"/>
              </a:cxn>
              <a:cxn ang="0">
                <a:pos x="0" y="672"/>
              </a:cxn>
              <a:cxn ang="0">
                <a:pos x="303" y="672"/>
              </a:cxn>
              <a:cxn ang="0">
                <a:pos x="723" y="663"/>
              </a:cxn>
              <a:cxn ang="0">
                <a:pos x="1020" y="654"/>
              </a:cxn>
              <a:cxn ang="0">
                <a:pos x="1302" y="642"/>
              </a:cxn>
              <a:cxn ang="0">
                <a:pos x="1554" y="630"/>
              </a:cxn>
              <a:cxn ang="0">
                <a:pos x="1779" y="615"/>
              </a:cxn>
              <a:cxn ang="0">
                <a:pos x="1962" y="606"/>
              </a:cxn>
              <a:cxn ang="0">
                <a:pos x="2193" y="588"/>
              </a:cxn>
              <a:cxn ang="0">
                <a:pos x="2448" y="570"/>
              </a:cxn>
              <a:cxn ang="0">
                <a:pos x="2700" y="546"/>
              </a:cxn>
              <a:cxn ang="0">
                <a:pos x="2904" y="528"/>
              </a:cxn>
              <a:cxn ang="0">
                <a:pos x="3138" y="498"/>
              </a:cxn>
              <a:cxn ang="0">
                <a:pos x="3324" y="474"/>
              </a:cxn>
              <a:cxn ang="0">
                <a:pos x="3534" y="447"/>
              </a:cxn>
              <a:cxn ang="0">
                <a:pos x="3735" y="420"/>
              </a:cxn>
              <a:cxn ang="0">
                <a:pos x="3933" y="384"/>
              </a:cxn>
              <a:cxn ang="0">
                <a:pos x="4116" y="351"/>
              </a:cxn>
              <a:cxn ang="0">
                <a:pos x="4266" y="318"/>
              </a:cxn>
              <a:cxn ang="0">
                <a:pos x="4446" y="279"/>
              </a:cxn>
              <a:cxn ang="0">
                <a:pos x="4620" y="237"/>
              </a:cxn>
              <a:cxn ang="0">
                <a:pos x="4779" y="192"/>
              </a:cxn>
              <a:cxn ang="0">
                <a:pos x="4920" y="147"/>
              </a:cxn>
              <a:cxn ang="0">
                <a:pos x="5085" y="90"/>
              </a:cxn>
              <a:cxn ang="0">
                <a:pos x="5193" y="42"/>
              </a:cxn>
              <a:cxn ang="0">
                <a:pos x="5283" y="0"/>
              </a:cxn>
              <a:cxn ang="0">
                <a:pos x="3201" y="0"/>
              </a:cxn>
              <a:cxn ang="0">
                <a:pos x="2982" y="57"/>
              </a:cxn>
              <a:cxn ang="0">
                <a:pos x="2775" y="108"/>
              </a:cxn>
              <a:cxn ang="0">
                <a:pos x="2562" y="150"/>
              </a:cxn>
              <a:cxn ang="0">
                <a:pos x="2397" y="183"/>
              </a:cxn>
              <a:cxn ang="0">
                <a:pos x="2205" y="213"/>
              </a:cxn>
              <a:cxn ang="0">
                <a:pos x="2001" y="243"/>
              </a:cxn>
              <a:cxn ang="0">
                <a:pos x="1776" y="273"/>
              </a:cxn>
              <a:cxn ang="0">
                <a:pos x="1536" y="297"/>
              </a:cxn>
              <a:cxn ang="0">
                <a:pos x="1344" y="312"/>
              </a:cxn>
              <a:cxn ang="0">
                <a:pos x="1134" y="330"/>
              </a:cxn>
              <a:cxn ang="0">
                <a:pos x="921" y="342"/>
              </a:cxn>
              <a:cxn ang="0">
                <a:pos x="696" y="354"/>
              </a:cxn>
              <a:cxn ang="0">
                <a:pos x="501" y="360"/>
              </a:cxn>
              <a:cxn ang="0">
                <a:pos x="279" y="366"/>
              </a:cxn>
              <a:cxn ang="0">
                <a:pos x="99" y="369"/>
              </a:cxn>
              <a:cxn ang="0">
                <a:pos x="0" y="366"/>
              </a:cxn>
            </a:cxnLst>
            <a:rect l="0" t="0" r="r" b="b"/>
            <a:pathLst>
              <a:path w="5284" h="673">
                <a:moveTo>
                  <a:pt x="0" y="366"/>
                </a:moveTo>
                <a:lnTo>
                  <a:pt x="0" y="672"/>
                </a:lnTo>
                <a:lnTo>
                  <a:pt x="303" y="672"/>
                </a:lnTo>
                <a:lnTo>
                  <a:pt x="723" y="663"/>
                </a:lnTo>
                <a:lnTo>
                  <a:pt x="1020" y="654"/>
                </a:lnTo>
                <a:lnTo>
                  <a:pt x="1302" y="642"/>
                </a:lnTo>
                <a:lnTo>
                  <a:pt x="1554" y="630"/>
                </a:lnTo>
                <a:lnTo>
                  <a:pt x="1779" y="615"/>
                </a:lnTo>
                <a:lnTo>
                  <a:pt x="1962" y="606"/>
                </a:lnTo>
                <a:lnTo>
                  <a:pt x="2193" y="588"/>
                </a:lnTo>
                <a:lnTo>
                  <a:pt x="2448" y="570"/>
                </a:lnTo>
                <a:lnTo>
                  <a:pt x="2700" y="546"/>
                </a:lnTo>
                <a:lnTo>
                  <a:pt x="2904" y="528"/>
                </a:lnTo>
                <a:lnTo>
                  <a:pt x="3138" y="498"/>
                </a:lnTo>
                <a:lnTo>
                  <a:pt x="3324" y="474"/>
                </a:lnTo>
                <a:lnTo>
                  <a:pt x="3534" y="447"/>
                </a:lnTo>
                <a:lnTo>
                  <a:pt x="3735" y="420"/>
                </a:lnTo>
                <a:lnTo>
                  <a:pt x="3933" y="384"/>
                </a:lnTo>
                <a:lnTo>
                  <a:pt x="4116" y="351"/>
                </a:lnTo>
                <a:lnTo>
                  <a:pt x="4266" y="318"/>
                </a:lnTo>
                <a:lnTo>
                  <a:pt x="4446" y="279"/>
                </a:lnTo>
                <a:lnTo>
                  <a:pt x="4620" y="237"/>
                </a:lnTo>
                <a:lnTo>
                  <a:pt x="4779" y="192"/>
                </a:lnTo>
                <a:lnTo>
                  <a:pt x="4920" y="147"/>
                </a:lnTo>
                <a:lnTo>
                  <a:pt x="5085" y="90"/>
                </a:lnTo>
                <a:lnTo>
                  <a:pt x="5193" y="42"/>
                </a:lnTo>
                <a:lnTo>
                  <a:pt x="5283" y="0"/>
                </a:lnTo>
                <a:lnTo>
                  <a:pt x="3201" y="0"/>
                </a:lnTo>
                <a:lnTo>
                  <a:pt x="2982" y="57"/>
                </a:lnTo>
                <a:lnTo>
                  <a:pt x="2775" y="108"/>
                </a:lnTo>
                <a:lnTo>
                  <a:pt x="2562" y="150"/>
                </a:lnTo>
                <a:lnTo>
                  <a:pt x="2397" y="183"/>
                </a:lnTo>
                <a:lnTo>
                  <a:pt x="2205" y="213"/>
                </a:lnTo>
                <a:lnTo>
                  <a:pt x="2001" y="243"/>
                </a:lnTo>
                <a:lnTo>
                  <a:pt x="1776" y="273"/>
                </a:lnTo>
                <a:lnTo>
                  <a:pt x="1536" y="297"/>
                </a:lnTo>
                <a:lnTo>
                  <a:pt x="1344" y="312"/>
                </a:lnTo>
                <a:lnTo>
                  <a:pt x="1134" y="330"/>
                </a:lnTo>
                <a:lnTo>
                  <a:pt x="921" y="342"/>
                </a:lnTo>
                <a:lnTo>
                  <a:pt x="696" y="354"/>
                </a:lnTo>
                <a:lnTo>
                  <a:pt x="501" y="360"/>
                </a:lnTo>
                <a:lnTo>
                  <a:pt x="279" y="366"/>
                </a:lnTo>
                <a:lnTo>
                  <a:pt x="99" y="369"/>
                </a:lnTo>
                <a:lnTo>
                  <a:pt x="0" y="366"/>
                </a:lnTo>
              </a:path>
            </a:pathLst>
          </a:custGeom>
          <a:gradFill rotWithShape="0">
            <a:gsLst>
              <a:gs pos="0">
                <a:schemeClr val="accent2"/>
              </a:gs>
              <a:gs pos="100000">
                <a:schemeClr val="bg1"/>
              </a:gs>
            </a:gsLst>
            <a:lin ang="0" scaled="1"/>
          </a:gradFill>
          <a:ln w="9525" cap="flat" cmpd="sng">
            <a:noFill/>
            <a:prstDash val="solid"/>
            <a:round/>
            <a:headEnd type="none" w="sm" len="sm"/>
            <a:tailEnd type="none" w="sm" len="sm"/>
          </a:ln>
          <a:effectLst/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800">
              <a:solidFill>
                <a:srgbClr val="99CCFF"/>
              </a:solidFill>
              <a:latin typeface="Times New Roman"/>
            </a:endParaRPr>
          </a:p>
        </p:txBody>
      </p:sp>
      <p:sp>
        <p:nvSpPr>
          <p:cNvPr id="41994" name="Freeform 10"/>
          <p:cNvSpPr>
            <a:spLocks/>
          </p:cNvSpPr>
          <p:nvPr/>
        </p:nvSpPr>
        <p:spPr bwMode="white">
          <a:xfrm>
            <a:off x="0" y="-20638"/>
            <a:ext cx="4578350" cy="454026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285"/>
              </a:cxn>
              <a:cxn ang="0">
                <a:pos x="192" y="285"/>
              </a:cxn>
              <a:cxn ang="0">
                <a:pos x="384" y="282"/>
              </a:cxn>
              <a:cxn ang="0">
                <a:pos x="579" y="276"/>
              </a:cxn>
              <a:cxn ang="0">
                <a:pos x="789" y="267"/>
              </a:cxn>
              <a:cxn ang="0">
                <a:pos x="999" y="258"/>
              </a:cxn>
              <a:cxn ang="0">
                <a:pos x="1161" y="246"/>
              </a:cxn>
              <a:cxn ang="0">
                <a:pos x="1302" y="234"/>
              </a:cxn>
              <a:cxn ang="0">
                <a:pos x="1458" y="222"/>
              </a:cxn>
              <a:cxn ang="0">
                <a:pos x="1665" y="201"/>
              </a:cxn>
              <a:cxn ang="0">
                <a:pos x="1992" y="159"/>
              </a:cxn>
              <a:cxn ang="0">
                <a:pos x="2301" y="117"/>
              </a:cxn>
              <a:cxn ang="0">
                <a:pos x="2604" y="60"/>
              </a:cxn>
              <a:cxn ang="0">
                <a:pos x="2883" y="0"/>
              </a:cxn>
              <a:cxn ang="0">
                <a:pos x="0" y="0"/>
              </a:cxn>
            </a:cxnLst>
            <a:rect l="0" t="0" r="r" b="b"/>
            <a:pathLst>
              <a:path w="2884" h="286">
                <a:moveTo>
                  <a:pt x="0" y="0"/>
                </a:moveTo>
                <a:lnTo>
                  <a:pt x="0" y="285"/>
                </a:lnTo>
                <a:lnTo>
                  <a:pt x="192" y="285"/>
                </a:lnTo>
                <a:lnTo>
                  <a:pt x="384" y="282"/>
                </a:lnTo>
                <a:lnTo>
                  <a:pt x="579" y="276"/>
                </a:lnTo>
                <a:lnTo>
                  <a:pt x="789" y="267"/>
                </a:lnTo>
                <a:lnTo>
                  <a:pt x="999" y="258"/>
                </a:lnTo>
                <a:lnTo>
                  <a:pt x="1161" y="246"/>
                </a:lnTo>
                <a:lnTo>
                  <a:pt x="1302" y="234"/>
                </a:lnTo>
                <a:lnTo>
                  <a:pt x="1458" y="222"/>
                </a:lnTo>
                <a:lnTo>
                  <a:pt x="1665" y="201"/>
                </a:lnTo>
                <a:lnTo>
                  <a:pt x="1992" y="159"/>
                </a:lnTo>
                <a:lnTo>
                  <a:pt x="2301" y="117"/>
                </a:lnTo>
                <a:lnTo>
                  <a:pt x="2604" y="60"/>
                </a:lnTo>
                <a:lnTo>
                  <a:pt x="2883" y="0"/>
                </a:lnTo>
                <a:lnTo>
                  <a:pt x="0" y="0"/>
                </a:lnTo>
              </a:path>
            </a:pathLst>
          </a:custGeom>
          <a:gradFill rotWithShape="0">
            <a:gsLst>
              <a:gs pos="0">
                <a:schemeClr val="accent2"/>
              </a:gs>
              <a:gs pos="100000">
                <a:schemeClr val="bg1"/>
              </a:gs>
            </a:gsLst>
            <a:lin ang="0" scaled="1"/>
          </a:gradFill>
          <a:ln w="9525">
            <a:noFill/>
            <a:round/>
            <a:headEnd type="none" w="sm" len="sm"/>
            <a:tailEnd type="none" w="sm" len="sm"/>
          </a:ln>
          <a:effectLst/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800">
              <a:solidFill>
                <a:srgbClr val="99CCFF"/>
              </a:solidFill>
              <a:latin typeface="Times New Roman"/>
            </a:endParaRPr>
          </a:p>
        </p:txBody>
      </p:sp>
      <p:sp>
        <p:nvSpPr>
          <p:cNvPr id="35851" name="Rectangle 11"/>
          <p:cNvSpPr>
            <a:spLocks noGrp="1" noChangeArrowheads="1"/>
          </p:cNvSpPr>
          <p:nvPr>
            <p:ph type="title"/>
          </p:nvPr>
        </p:nvSpPr>
        <p:spPr bwMode="auto">
          <a:xfrm>
            <a:off x="685800" y="609600"/>
            <a:ext cx="77724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35852" name="Rectangle 12"/>
          <p:cNvSpPr>
            <a:spLocks noGrp="1" noChangeArrowheads="1"/>
          </p:cNvSpPr>
          <p:nvPr>
            <p:ph type="body" idx="1"/>
          </p:nvPr>
        </p:nvSpPr>
        <p:spPr bwMode="auto">
          <a:xfrm>
            <a:off x="685800" y="1981200"/>
            <a:ext cx="7772400" cy="411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41997" name="Rectangle 13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685800" y="6248400"/>
            <a:ext cx="19050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>
              <a:defRPr sz="1400"/>
            </a:lvl1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rgbClr val="99CCFF"/>
              </a:solidFill>
              <a:latin typeface="Times New Roman"/>
            </a:endParaRPr>
          </a:p>
        </p:txBody>
      </p:sp>
      <p:sp>
        <p:nvSpPr>
          <p:cNvPr id="41998" name="Rectangle 14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124200" y="6248400"/>
            <a:ext cx="28956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400"/>
            </a:lvl1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>
                <a:solidFill>
                  <a:srgbClr val="99CCFF"/>
                </a:solidFill>
                <a:latin typeface="Times New Roman"/>
              </a:rPr>
              <a:t>Robert Jackson Marks II</a:t>
            </a:r>
          </a:p>
        </p:txBody>
      </p:sp>
      <p:sp>
        <p:nvSpPr>
          <p:cNvPr id="41999" name="Rectangle 15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553200" y="6248400"/>
            <a:ext cx="19050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/>
            </a:lvl1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fld id="{DAABDBC2-AF6D-479E-B9F3-BA7944B94256}" type="slidenum">
              <a:rPr lang="en-US">
                <a:solidFill>
                  <a:srgbClr val="99CCFF"/>
                </a:solidFill>
                <a:latin typeface="Times New Roman"/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>
              <a:solidFill>
                <a:srgbClr val="99CCFF"/>
              </a:solidFill>
              <a:latin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1622055785"/>
      </p:ext>
    </p:extLst>
  </p:cSld>
  <p:clrMap bg1="dk2" tx1="lt1" bg2="dk1" tx2="lt2" accent1="accent1" accent2="accent2" accent3="accent3" accent4="accent4" accent5="accent5" accent6="accent6" hlink="hlink" folHlink="folHlink"/>
  <p:sldLayoutIdLst>
    <p:sldLayoutId id="2147484001" r:id="rId1"/>
    <p:sldLayoutId id="2147484002" r:id="rId2"/>
    <p:sldLayoutId id="2147484003" r:id="rId3"/>
    <p:sldLayoutId id="2147484004" r:id="rId4"/>
    <p:sldLayoutId id="2147484005" r:id="rId5"/>
    <p:sldLayoutId id="2147484006" r:id="rId6"/>
    <p:sldLayoutId id="2147484007" r:id="rId7"/>
    <p:sldLayoutId id="2147484008" r:id="rId8"/>
    <p:sldLayoutId id="2147484009" r:id="rId9"/>
    <p:sldLayoutId id="2147484010" r:id="rId10"/>
    <p:sldLayoutId id="2147484011" r:id="rId11"/>
  </p:sldLayoutIdLs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9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4198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4198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sameClick" afterEffect="1">
                                          <p:stCondLst>
                                            <p:cond evt="end" delay="0">
                                              <p:tn val="5"/>
                                            </p:cond>
                                          </p:stCondLst>
                                        </p:cTn>
                                        <p:tgtEl>
                                          <p:spTgt spid="419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1986" grpId="0" animBg="1"/>
    </p:bldLst>
  </p:timing>
  <p:hf hd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 New Roman" pitchFamily="18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 New Roman" pitchFamily="18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 New Roman" pitchFamily="18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 New Roman" pitchFamily="18" charset="0"/>
        </a:defRPr>
      </a:lvl5pPr>
      <a:lvl6pPr marL="457200"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 New Roman" pitchFamily="18" charset="0"/>
        </a:defRPr>
      </a:lvl6pPr>
      <a:lvl7pPr marL="914400"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 New Roman" pitchFamily="18" charset="0"/>
        </a:defRPr>
      </a:lvl7pPr>
      <a:lvl8pPr marL="1371600"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 New Roman" pitchFamily="18" charset="0"/>
        </a:defRPr>
      </a:lvl8pPr>
      <a:lvl9pPr marL="1828800"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 New Roman" pitchFamily="18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25146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rubrik 1"/>
          <p:cNvSpPr>
            <a:spLocks noGrp="1"/>
          </p:cNvSpPr>
          <p:nvPr>
            <p:ph type="title"/>
          </p:nvPr>
        </p:nvSpPr>
        <p:spPr>
          <a:xfrm>
            <a:off x="1619250" y="404870"/>
            <a:ext cx="6935788" cy="668338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sv-SE" dirty="0" smtClean="0"/>
              <a:t>Klicka här för att ändra format</a:t>
            </a:r>
            <a:endParaRPr lang="en-GB" dirty="0"/>
          </a:p>
        </p:txBody>
      </p:sp>
      <p:sp>
        <p:nvSpPr>
          <p:cNvPr id="3" name="Platshållare för text 2"/>
          <p:cNvSpPr>
            <a:spLocks noGrp="1"/>
          </p:cNvSpPr>
          <p:nvPr>
            <p:ph type="body" idx="1"/>
          </p:nvPr>
        </p:nvSpPr>
        <p:spPr>
          <a:xfrm>
            <a:off x="1619250" y="1582739"/>
            <a:ext cx="6935788" cy="407828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sv-SE" dirty="0" smtClean="0"/>
              <a:t>Klicka här för att ändra format på bakgrundstexten</a:t>
            </a:r>
          </a:p>
          <a:p>
            <a:pPr lvl="1"/>
            <a:r>
              <a:rPr lang="sv-SE" dirty="0" smtClean="0"/>
              <a:t>Nivå två</a:t>
            </a:r>
          </a:p>
          <a:p>
            <a:pPr lvl="2"/>
            <a:r>
              <a:rPr lang="sv-SE" dirty="0" smtClean="0"/>
              <a:t>Nivå tre</a:t>
            </a:r>
          </a:p>
          <a:p>
            <a:pPr lvl="3"/>
            <a:r>
              <a:rPr lang="sv-SE" dirty="0" smtClean="0"/>
              <a:t>Nivå fyra</a:t>
            </a:r>
          </a:p>
          <a:p>
            <a:pPr lvl="4"/>
            <a:r>
              <a:rPr lang="sv-SE" dirty="0" smtClean="0"/>
              <a:t>Nivå fem</a:t>
            </a:r>
            <a:endParaRPr lang="en-GB" dirty="0"/>
          </a:p>
        </p:txBody>
      </p:sp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8964" y="344488"/>
            <a:ext cx="662749" cy="66274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" name="Platshållare för sidfot 4"/>
          <p:cNvSpPr>
            <a:spLocks noGrp="1"/>
          </p:cNvSpPr>
          <p:nvPr>
            <p:ph type="ftr" sz="quarter" idx="3"/>
          </p:nvPr>
        </p:nvSpPr>
        <p:spPr>
          <a:xfrm>
            <a:off x="1619250" y="6308725"/>
            <a:ext cx="2895600" cy="365125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>
              <a:defRPr lang="en-GB" sz="700" b="1" cap="all" baseline="0">
                <a:solidFill>
                  <a:schemeClr val="bg1"/>
                </a:solidFill>
              </a:defRPr>
            </a:lvl1pPr>
          </a:lstStyle>
          <a:p>
            <a:pPr eaLnBrk="1" fontAlgn="auto" hangingPunct="1">
              <a:lnSpc>
                <a:spcPts val="900"/>
              </a:lnSpc>
              <a:spcBef>
                <a:spcPts val="0"/>
              </a:spcBef>
              <a:spcAft>
                <a:spcPts val="0"/>
              </a:spcAft>
            </a:pPr>
            <a:endParaRPr dirty="0">
              <a:solidFill>
                <a:prstClr val="white"/>
              </a:solidFill>
              <a:latin typeface="Arial"/>
            </a:endParaRPr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4"/>
          </p:nvPr>
        </p:nvSpPr>
        <p:spPr>
          <a:xfrm>
            <a:off x="8172399" y="6308725"/>
            <a:ext cx="531863" cy="365125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r">
              <a:defRPr lang="en-GB" sz="700" b="1" cap="all" baseline="0" smtClean="0">
                <a:solidFill>
                  <a:schemeClr val="bg1"/>
                </a:solidFill>
              </a:defRPr>
            </a:lvl1pPr>
          </a:lstStyle>
          <a:p>
            <a:pPr eaLnBrk="1" fontAlgn="auto" hangingPunct="1">
              <a:lnSpc>
                <a:spcPts val="900"/>
              </a:lnSpc>
              <a:spcBef>
                <a:spcPts val="0"/>
              </a:spcBef>
              <a:spcAft>
                <a:spcPts val="0"/>
              </a:spcAft>
            </a:pPr>
            <a:fld id="{680D72F4-1C41-4187-A4BC-492CF086CF40}" type="slidenum">
              <a:rPr>
                <a:solidFill>
                  <a:prstClr val="white"/>
                </a:solidFill>
                <a:latin typeface="Arial"/>
              </a:rPr>
              <a:pPr eaLnBrk="1" fontAlgn="auto" hangingPunct="1">
                <a:lnSpc>
                  <a:spcPts val="900"/>
                </a:lnSpc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dirty="0">
              <a:solidFill>
                <a:prstClr val="white"/>
              </a:solidFill>
              <a:latin typeface="Arial"/>
            </a:endParaRPr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2"/>
          </p:nvPr>
        </p:nvSpPr>
        <p:spPr>
          <a:xfrm>
            <a:off x="5580112" y="6288509"/>
            <a:ext cx="2133600" cy="365125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>
              <a:defRPr lang="en-GB" sz="700" b="1" cap="all" baseline="0" smtClean="0">
                <a:solidFill>
                  <a:schemeClr val="bg1"/>
                </a:solidFill>
              </a:defRPr>
            </a:lvl1pPr>
          </a:lstStyle>
          <a:p>
            <a:pPr algn="r" eaLnBrk="1" fontAlgn="auto" hangingPunct="1">
              <a:lnSpc>
                <a:spcPts val="900"/>
              </a:lnSpc>
              <a:spcBef>
                <a:spcPts val="0"/>
              </a:spcBef>
              <a:spcAft>
                <a:spcPts val="0"/>
              </a:spcAft>
            </a:pPr>
            <a:fld id="{E62AFB49-F4B4-4CEC-A09D-4BAD52FBEA2D}" type="datetime1">
              <a:rPr lang="sv-SE">
                <a:solidFill>
                  <a:prstClr val="white"/>
                </a:solidFill>
                <a:latin typeface="Arial"/>
              </a:rPr>
              <a:pPr algn="r" eaLnBrk="1" fontAlgn="auto" hangingPunct="1">
                <a:lnSpc>
                  <a:spcPts val="900"/>
                </a:lnSpc>
                <a:spcBef>
                  <a:spcPts val="0"/>
                </a:spcBef>
                <a:spcAft>
                  <a:spcPts val="0"/>
                </a:spcAft>
              </a:pPr>
              <a:t>2019-02-26</a:t>
            </a:fld>
            <a:endParaRPr dirty="0">
              <a:solidFill>
                <a:prstClr val="white"/>
              </a:solidFill>
              <a:latin typeface="Arial"/>
            </a:endParaRPr>
          </a:p>
        </p:txBody>
      </p:sp>
      <p:sp>
        <p:nvSpPr>
          <p:cNvPr id="9" name="Rektangel 12"/>
          <p:cNvSpPr/>
          <p:nvPr/>
        </p:nvSpPr>
        <p:spPr>
          <a:xfrm>
            <a:off x="0" y="5971378"/>
            <a:ext cx="9144000" cy="908720"/>
          </a:xfrm>
          <a:custGeom>
            <a:avLst/>
            <a:gdLst>
              <a:gd name="connsiteX0" fmla="*/ 1360291 w 9144000"/>
              <a:gd name="connsiteY0" fmla="*/ 0 h 908720"/>
              <a:gd name="connsiteX1" fmla="*/ 9144000 w 9144000"/>
              <a:gd name="connsiteY1" fmla="*/ 0 h 908720"/>
              <a:gd name="connsiteX2" fmla="*/ 9144000 w 9144000"/>
              <a:gd name="connsiteY2" fmla="*/ 262632 h 908720"/>
              <a:gd name="connsiteX3" fmla="*/ 9144000 w 9144000"/>
              <a:gd name="connsiteY3" fmla="*/ 328588 h 908720"/>
              <a:gd name="connsiteX4" fmla="*/ 9144000 w 9144000"/>
              <a:gd name="connsiteY4" fmla="*/ 808061 h 908720"/>
              <a:gd name="connsiteX5" fmla="*/ 9144000 w 9144000"/>
              <a:gd name="connsiteY5" fmla="*/ 883320 h 908720"/>
              <a:gd name="connsiteX6" fmla="*/ 9144000 w 9144000"/>
              <a:gd name="connsiteY6" fmla="*/ 904652 h 908720"/>
              <a:gd name="connsiteX7" fmla="*/ 9065179 w 9144000"/>
              <a:gd name="connsiteY7" fmla="*/ 904652 h 908720"/>
              <a:gd name="connsiteX8" fmla="*/ 9043341 w 9144000"/>
              <a:gd name="connsiteY8" fmla="*/ 908720 h 908720"/>
              <a:gd name="connsiteX9" fmla="*/ 1259632 w 9144000"/>
              <a:gd name="connsiteY9" fmla="*/ 908720 h 908720"/>
              <a:gd name="connsiteX10" fmla="*/ 1259632 w 9144000"/>
              <a:gd name="connsiteY10" fmla="*/ 904652 h 908720"/>
              <a:gd name="connsiteX11" fmla="*/ 0 w 9144000"/>
              <a:gd name="connsiteY11" fmla="*/ 904652 h 908720"/>
              <a:gd name="connsiteX12" fmla="*/ 0 w 9144000"/>
              <a:gd name="connsiteY12" fmla="*/ 883320 h 908720"/>
              <a:gd name="connsiteX13" fmla="*/ 0 w 9144000"/>
              <a:gd name="connsiteY13" fmla="*/ 328588 h 908720"/>
              <a:gd name="connsiteX14" fmla="*/ 0 w 9144000"/>
              <a:gd name="connsiteY14" fmla="*/ 314003 h 908720"/>
              <a:gd name="connsiteX15" fmla="*/ 901401 w 9144000"/>
              <a:gd name="connsiteY15" fmla="*/ 314003 h 908720"/>
              <a:gd name="connsiteX16" fmla="*/ 1026319 w 9144000"/>
              <a:gd name="connsiteY16" fmla="*/ 314003 h 908720"/>
              <a:gd name="connsiteX17" fmla="*/ 1194387 w 9144000"/>
              <a:gd name="connsiteY17" fmla="*/ 314003 h 908720"/>
              <a:gd name="connsiteX18" fmla="*/ 1258275 w 9144000"/>
              <a:gd name="connsiteY18" fmla="*/ 262632 h 908720"/>
              <a:gd name="connsiteX19" fmla="*/ 1259632 w 9144000"/>
              <a:gd name="connsiteY19" fmla="*/ 262632 h 908720"/>
              <a:gd name="connsiteX20" fmla="*/ 1259632 w 9144000"/>
              <a:gd name="connsiteY20" fmla="*/ 255909 h 908720"/>
              <a:gd name="connsiteX21" fmla="*/ 1261441 w 9144000"/>
              <a:gd name="connsiteY21" fmla="*/ 246949 h 908720"/>
              <a:gd name="connsiteX22" fmla="*/ 1261441 w 9144000"/>
              <a:gd name="connsiteY22" fmla="*/ 91699 h 908720"/>
              <a:gd name="connsiteX23" fmla="*/ 1360291 w 9144000"/>
              <a:gd name="connsiteY23" fmla="*/ 0 h 9087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</a:cxnLst>
            <a:rect l="l" t="t" r="r" b="b"/>
            <a:pathLst>
              <a:path w="9144000" h="908720">
                <a:moveTo>
                  <a:pt x="1360291" y="0"/>
                </a:moveTo>
                <a:lnTo>
                  <a:pt x="9144000" y="0"/>
                </a:lnTo>
                <a:lnTo>
                  <a:pt x="9144000" y="262632"/>
                </a:lnTo>
                <a:lnTo>
                  <a:pt x="9144000" y="328588"/>
                </a:lnTo>
                <a:lnTo>
                  <a:pt x="9144000" y="808061"/>
                </a:lnTo>
                <a:lnTo>
                  <a:pt x="9144000" y="883320"/>
                </a:lnTo>
                <a:lnTo>
                  <a:pt x="9144000" y="904652"/>
                </a:lnTo>
                <a:lnTo>
                  <a:pt x="9065179" y="904652"/>
                </a:lnTo>
                <a:cubicBezTo>
                  <a:pt x="9058414" y="907870"/>
                  <a:pt x="9050977" y="908720"/>
                  <a:pt x="9043341" y="908720"/>
                </a:cubicBezTo>
                <a:lnTo>
                  <a:pt x="1259632" y="908720"/>
                </a:lnTo>
                <a:lnTo>
                  <a:pt x="1259632" y="904652"/>
                </a:lnTo>
                <a:lnTo>
                  <a:pt x="0" y="904652"/>
                </a:lnTo>
                <a:lnTo>
                  <a:pt x="0" y="883320"/>
                </a:lnTo>
                <a:lnTo>
                  <a:pt x="0" y="328588"/>
                </a:lnTo>
                <a:lnTo>
                  <a:pt x="0" y="314003"/>
                </a:lnTo>
                <a:lnTo>
                  <a:pt x="901401" y="314003"/>
                </a:lnTo>
                <a:lnTo>
                  <a:pt x="1026319" y="314003"/>
                </a:lnTo>
                <a:lnTo>
                  <a:pt x="1194387" y="314003"/>
                </a:lnTo>
                <a:cubicBezTo>
                  <a:pt x="1225910" y="314003"/>
                  <a:pt x="1252353" y="292251"/>
                  <a:pt x="1258275" y="262632"/>
                </a:cubicBezTo>
                <a:lnTo>
                  <a:pt x="1259632" y="262632"/>
                </a:lnTo>
                <a:lnTo>
                  <a:pt x="1259632" y="255909"/>
                </a:lnTo>
                <a:lnTo>
                  <a:pt x="1261441" y="246949"/>
                </a:lnTo>
                <a:lnTo>
                  <a:pt x="1261441" y="91699"/>
                </a:lnTo>
                <a:cubicBezTo>
                  <a:pt x="1264629" y="40239"/>
                  <a:pt x="1260136" y="0"/>
                  <a:pt x="1360291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en-GB" sz="180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03990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13" r:id="rId1"/>
    <p:sldLayoutId id="2147484014" r:id="rId2"/>
    <p:sldLayoutId id="2147484015" r:id="rId3"/>
    <p:sldLayoutId id="2147484016" r:id="rId4"/>
    <p:sldLayoutId id="2147484017" r:id="rId5"/>
    <p:sldLayoutId id="2147484018" r:id="rId6"/>
    <p:sldLayoutId id="2147484019" r:id="rId7"/>
    <p:sldLayoutId id="2147484020" r:id="rId8"/>
    <p:sldLayoutId id="2147484021" r:id="rId9"/>
    <p:sldLayoutId id="2147484022" r:id="rId10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4400" rtl="0" eaLnBrk="1" latinLnBrk="0" hangingPunct="1">
        <a:lnSpc>
          <a:spcPts val="3000"/>
        </a:lnSpc>
        <a:spcBef>
          <a:spcPct val="0"/>
        </a:spcBef>
        <a:buNone/>
        <a:defRPr sz="26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ct val="20000"/>
        </a:spcBef>
        <a:buFont typeface="Arial" pitchFamily="34" charset="0"/>
        <a:buNone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355600" indent="-355600" algn="l" defTabSz="914400" rtl="0" eaLnBrk="1" latinLnBrk="0" hangingPunct="1">
        <a:lnSpc>
          <a:spcPct val="100000"/>
        </a:lnSpc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723900" indent="-368300" algn="l" defTabSz="914400" rtl="0" eaLnBrk="1" latinLnBrk="0" hangingPunct="1">
        <a:lnSpc>
          <a:spcPct val="100000"/>
        </a:lnSpc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076325" indent="-352425" algn="l" defTabSz="914400" rtl="0" eaLnBrk="1" latinLnBrk="0" hangingPunct="1">
        <a:lnSpc>
          <a:spcPct val="100000"/>
        </a:lnSpc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535113" indent="-457200" algn="l" defTabSz="914400" rtl="0" eaLnBrk="1" latinLnBrk="0" hangingPunct="1">
        <a:lnSpc>
          <a:spcPct val="100000"/>
        </a:lnSpc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0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57200" y="277813"/>
            <a:ext cx="8229600" cy="1139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Click to edit Master title style</a:t>
            </a:r>
          </a:p>
        </p:txBody>
      </p:sp>
      <p:sp>
        <p:nvSpPr>
          <p:cNvPr id="22531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600200"/>
            <a:ext cx="8229600" cy="4530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Click to edit Master text styles</a:t>
            </a:r>
          </a:p>
          <a:p>
            <a:pPr lvl="1"/>
            <a:r>
              <a:rPr lang="en-US" altLang="en-US" smtClean="0"/>
              <a:t>Second level</a:t>
            </a:r>
          </a:p>
          <a:p>
            <a:pPr lvl="2"/>
            <a:r>
              <a:rPr lang="en-US" altLang="en-US" smtClean="0"/>
              <a:t>Third level</a:t>
            </a:r>
          </a:p>
          <a:p>
            <a:pPr lvl="3"/>
            <a:r>
              <a:rPr lang="en-US" altLang="en-US" smtClean="0"/>
              <a:t>Fourth level</a:t>
            </a:r>
          </a:p>
          <a:p>
            <a:pPr lvl="4"/>
            <a:r>
              <a:rPr lang="en-US" altLang="en-US" smtClean="0"/>
              <a:t>Fifth level</a:t>
            </a:r>
          </a:p>
        </p:txBody>
      </p:sp>
      <p:sp>
        <p:nvSpPr>
          <p:cNvPr id="53253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457200" y="6248400"/>
            <a:ext cx="55626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buClrTx/>
              <a:buSzTx/>
              <a:buFontTx/>
              <a:buNone/>
              <a:defRPr sz="1200">
                <a:latin typeface="+mj-lt"/>
              </a:defRPr>
            </a:lvl1pPr>
          </a:lstStyle>
          <a:p>
            <a:pPr eaLnBrk="1" fontAlgn="auto" hangingPunct="1">
              <a:spcAft>
                <a:spcPts val="0"/>
              </a:spcAft>
              <a:defRPr/>
            </a:pPr>
            <a:r>
              <a:rPr lang="en-US" altLang="en-US">
                <a:solidFill>
                  <a:srgbClr val="000000"/>
                </a:solidFill>
              </a:rPr>
              <a:t>CS511, Bing Liu, UIC</a:t>
            </a:r>
          </a:p>
        </p:txBody>
      </p:sp>
      <p:sp>
        <p:nvSpPr>
          <p:cNvPr id="53254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553200" y="6243638"/>
            <a:ext cx="21336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spcBef>
                <a:spcPct val="0"/>
              </a:spcBef>
              <a:buClrTx/>
              <a:buSzTx/>
              <a:buFontTx/>
              <a:buNone/>
              <a:defRPr sz="1200" smtClean="0">
                <a:latin typeface="Garamond" pitchFamily="18" charset="0"/>
              </a:defRPr>
            </a:lvl1pPr>
          </a:lstStyle>
          <a:p>
            <a:pPr eaLnBrk="1" fontAlgn="auto" hangingPunct="1">
              <a:spcAft>
                <a:spcPts val="0"/>
              </a:spcAft>
              <a:defRPr/>
            </a:pPr>
            <a:fld id="{D474AAF1-4BB3-49A9-A968-BAB6D17A1D8C}" type="slidenum">
              <a:rPr lang="en-US" altLang="en-US">
                <a:solidFill>
                  <a:srgbClr val="000000"/>
                </a:solidFill>
              </a:rPr>
              <a:pPr eaLnBrk="1" fontAlgn="auto" hangingPunct="1">
                <a:spcAft>
                  <a:spcPts val="0"/>
                </a:spcAft>
                <a:defRPr/>
              </a:pPr>
              <a:t>‹#›</a:t>
            </a:fld>
            <a:endParaRPr lang="en-US" altLang="en-US">
              <a:solidFill>
                <a:srgbClr val="000000"/>
              </a:solidFill>
            </a:endParaRPr>
          </a:p>
        </p:txBody>
      </p:sp>
      <p:sp>
        <p:nvSpPr>
          <p:cNvPr id="53255" name="Freeform 7"/>
          <p:cNvSpPr>
            <a:spLocks noChangeArrowheads="1"/>
          </p:cNvSpPr>
          <p:nvPr/>
        </p:nvSpPr>
        <p:spPr bwMode="auto">
          <a:xfrm>
            <a:off x="381000" y="228600"/>
            <a:ext cx="8229600" cy="609600"/>
          </a:xfrm>
          <a:custGeom>
            <a:avLst/>
            <a:gdLst/>
            <a:ahLst/>
            <a:cxnLst>
              <a:cxn ang="0">
                <a:pos x="0" y="1000"/>
              </a:cxn>
              <a:cxn ang="0">
                <a:pos x="0" y="0"/>
              </a:cxn>
              <a:cxn ang="0">
                <a:pos x="1000" y="0"/>
              </a:cxn>
            </a:cxnLst>
            <a:rect l="0" t="0" r="r" b="b"/>
            <a:pathLst>
              <a:path w="1000" h="1000">
                <a:moveTo>
                  <a:pt x="0" y="1000"/>
                </a:moveTo>
                <a:lnTo>
                  <a:pt x="0" y="0"/>
                </a:lnTo>
                <a:lnTo>
                  <a:pt x="1000" y="0"/>
                </a:lnTo>
              </a:path>
            </a:pathLst>
          </a:custGeom>
          <a:noFill/>
          <a:ln w="19050" cap="flat" cmpd="sng">
            <a:solidFill>
              <a:schemeClr val="accent1"/>
            </a:solidFill>
            <a:prstDash val="solid"/>
            <a:miter lim="800000"/>
            <a:headEnd/>
            <a:tailEnd/>
          </a:ln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IN" sz="18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3256" name="Line 8"/>
          <p:cNvSpPr>
            <a:spLocks noChangeShapeType="1"/>
          </p:cNvSpPr>
          <p:nvPr/>
        </p:nvSpPr>
        <p:spPr bwMode="auto">
          <a:xfrm>
            <a:off x="457200" y="6172200"/>
            <a:ext cx="8229600" cy="0"/>
          </a:xfrm>
          <a:prstGeom prst="line">
            <a:avLst/>
          </a:prstGeom>
          <a:noFill/>
          <a:ln w="19050">
            <a:solidFill>
              <a:schemeClr val="accent1"/>
            </a:solidFill>
            <a:round/>
            <a:headEnd/>
            <a:tailEnd/>
          </a:ln>
          <a:effectLst/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buFont typeface="Wingdings" pitchFamily="-110" charset="2"/>
              <a:buChar char="n"/>
              <a:defRPr/>
            </a:pPr>
            <a:endParaRPr lang="en-IN" sz="18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3274386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24" r:id="rId1"/>
    <p:sldLayoutId id="2147484025" r:id="rId2"/>
    <p:sldLayoutId id="2147484026" r:id="rId3"/>
    <p:sldLayoutId id="2147484027" r:id="rId4"/>
    <p:sldLayoutId id="2147484028" r:id="rId5"/>
    <p:sldLayoutId id="2147484029" r:id="rId6"/>
    <p:sldLayoutId id="2147484030" r:id="rId7"/>
    <p:sldLayoutId id="2147484031" r:id="rId8"/>
    <p:sldLayoutId id="2147484032" r:id="rId9"/>
    <p:sldLayoutId id="2147484033" r:id="rId10"/>
    <p:sldLayoutId id="2147484034" r:id="rId11"/>
    <p:sldLayoutId id="2147484035" r:id="rId12"/>
    <p:sldLayoutId id="2147484036" r:id="rId13"/>
    <p:sldLayoutId id="2147484037" r:id="rId14"/>
    <p:sldLayoutId id="2147484038" r:id="rId15"/>
  </p:sldLayoutIdLst>
  <p:transition/>
  <p:timing>
    <p:tnLst>
      <p:par>
        <p:cTn id="1" dur="indefinite" restart="never" nodeType="tmRoot"/>
      </p:par>
    </p:tnLst>
  </p:timing>
  <p:hf hd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4200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200">
          <a:solidFill>
            <a:schemeClr val="tx2"/>
          </a:solidFill>
          <a:latin typeface="Garamond" pitchFamily="18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200">
          <a:solidFill>
            <a:schemeClr val="tx2"/>
          </a:solidFill>
          <a:latin typeface="Garamond" pitchFamily="18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200">
          <a:solidFill>
            <a:schemeClr val="tx2"/>
          </a:solidFill>
          <a:latin typeface="Garamond" pitchFamily="18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200">
          <a:solidFill>
            <a:schemeClr val="tx2"/>
          </a:solidFill>
          <a:latin typeface="Garamond" pitchFamily="18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4200">
          <a:solidFill>
            <a:schemeClr val="tx2"/>
          </a:solidFill>
          <a:latin typeface="Garamond" pitchFamily="18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4200">
          <a:solidFill>
            <a:schemeClr val="tx2"/>
          </a:solidFill>
          <a:latin typeface="Garamond" pitchFamily="18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4200">
          <a:solidFill>
            <a:schemeClr val="tx2"/>
          </a:solidFill>
          <a:latin typeface="Garamond" pitchFamily="18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4200">
          <a:solidFill>
            <a:schemeClr val="tx2"/>
          </a:solidFill>
          <a:latin typeface="Garamond" pitchFamily="18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lr>
          <a:schemeClr val="accent1"/>
        </a:buClr>
        <a:buSzPct val="65000"/>
        <a:buFont typeface="Wingdings" pitchFamily="2" charset="2"/>
        <a:buChar char="n"/>
        <a:defRPr sz="3000">
          <a:solidFill>
            <a:schemeClr val="tx1"/>
          </a:solidFill>
          <a:latin typeface="+mn-lt"/>
          <a:ea typeface="+mn-ea"/>
          <a:cs typeface="+mn-cs"/>
        </a:defRPr>
      </a:lvl1pPr>
      <a:lvl2pPr marL="669925" indent="-325438" algn="l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SzPct val="60000"/>
        <a:buFont typeface="Wingdings" pitchFamily="2" charset="2"/>
        <a:buChar char="q"/>
        <a:defRPr sz="2600">
          <a:solidFill>
            <a:schemeClr val="tx1"/>
          </a:solidFill>
          <a:latin typeface="+mn-lt"/>
        </a:defRPr>
      </a:lvl2pPr>
      <a:lvl3pPr marL="1022350" indent="-350838" algn="l" rtl="0" eaLnBrk="0" fontAlgn="base" hangingPunct="0">
        <a:spcBef>
          <a:spcPct val="20000"/>
        </a:spcBef>
        <a:spcAft>
          <a:spcPct val="0"/>
        </a:spcAft>
        <a:buClr>
          <a:schemeClr val="accent1"/>
        </a:buClr>
        <a:buSzPct val="65000"/>
        <a:buFont typeface="Wingdings" pitchFamily="2" charset="2"/>
        <a:buChar char="n"/>
        <a:defRPr sz="2200">
          <a:solidFill>
            <a:schemeClr val="tx1"/>
          </a:solidFill>
          <a:latin typeface="+mn-lt"/>
        </a:defRPr>
      </a:lvl3pPr>
      <a:lvl4pPr marL="1339850" indent="-315913" algn="l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SzPct val="70000"/>
        <a:buFont typeface="Wingdings" pitchFamily="2" charset="2"/>
        <a:buChar char="q"/>
        <a:defRPr sz="2000">
          <a:solidFill>
            <a:schemeClr val="tx1"/>
          </a:solidFill>
          <a:latin typeface="+mn-lt"/>
        </a:defRPr>
      </a:lvl4pPr>
      <a:lvl5pPr marL="1681163" indent="-339725" algn="l" rtl="0" eaLnBrk="0" fontAlgn="base" hangingPunct="0">
        <a:spcBef>
          <a:spcPct val="20000"/>
        </a:spcBef>
        <a:spcAft>
          <a:spcPct val="0"/>
        </a:spcAft>
        <a:buClr>
          <a:schemeClr val="accent1"/>
        </a:buClr>
        <a:buSzPct val="75000"/>
        <a:buFont typeface="Wingdings" pitchFamily="2" charset="2"/>
        <a:buChar char="§"/>
        <a:defRPr sz="2000">
          <a:solidFill>
            <a:schemeClr val="tx1"/>
          </a:solidFill>
          <a:latin typeface="+mn-lt"/>
        </a:defRPr>
      </a:lvl5pPr>
      <a:lvl6pPr marL="2138363" indent="-339725" algn="l" rtl="0" fontAlgn="base">
        <a:spcBef>
          <a:spcPct val="20000"/>
        </a:spcBef>
        <a:spcAft>
          <a:spcPct val="0"/>
        </a:spcAft>
        <a:buClr>
          <a:schemeClr val="accent1"/>
        </a:buClr>
        <a:buSzPct val="75000"/>
        <a:buFont typeface="Wingdings" pitchFamily="-110" charset="2"/>
        <a:buChar char="§"/>
        <a:defRPr sz="2000">
          <a:solidFill>
            <a:schemeClr val="tx1"/>
          </a:solidFill>
          <a:latin typeface="+mn-lt"/>
        </a:defRPr>
      </a:lvl6pPr>
      <a:lvl7pPr marL="2595563" indent="-339725" algn="l" rtl="0" fontAlgn="base">
        <a:spcBef>
          <a:spcPct val="20000"/>
        </a:spcBef>
        <a:spcAft>
          <a:spcPct val="0"/>
        </a:spcAft>
        <a:buClr>
          <a:schemeClr val="accent1"/>
        </a:buClr>
        <a:buSzPct val="75000"/>
        <a:buFont typeface="Wingdings" pitchFamily="-110" charset="2"/>
        <a:buChar char="§"/>
        <a:defRPr sz="2000">
          <a:solidFill>
            <a:schemeClr val="tx1"/>
          </a:solidFill>
          <a:latin typeface="+mn-lt"/>
        </a:defRPr>
      </a:lvl7pPr>
      <a:lvl8pPr marL="3052763" indent="-339725" algn="l" rtl="0" fontAlgn="base">
        <a:spcBef>
          <a:spcPct val="20000"/>
        </a:spcBef>
        <a:spcAft>
          <a:spcPct val="0"/>
        </a:spcAft>
        <a:buClr>
          <a:schemeClr val="accent1"/>
        </a:buClr>
        <a:buSzPct val="75000"/>
        <a:buFont typeface="Wingdings" pitchFamily="-110" charset="2"/>
        <a:buChar char="§"/>
        <a:defRPr sz="2000">
          <a:solidFill>
            <a:schemeClr val="tx1"/>
          </a:solidFill>
          <a:latin typeface="+mn-lt"/>
        </a:defRPr>
      </a:lvl8pPr>
      <a:lvl9pPr marL="3509963" indent="-339725" algn="l" rtl="0" fontAlgn="base">
        <a:spcBef>
          <a:spcPct val="20000"/>
        </a:spcBef>
        <a:spcAft>
          <a:spcPct val="0"/>
        </a:spcAft>
        <a:buClr>
          <a:schemeClr val="accent1"/>
        </a:buClr>
        <a:buSzPct val="75000"/>
        <a:buFont typeface="Wingdings" pitchFamily="-110" charset="2"/>
        <a:buChar char="§"/>
        <a:defRPr sz="20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0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57200" y="277813"/>
            <a:ext cx="8229600" cy="1139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Click to edit Master title style</a:t>
            </a:r>
          </a:p>
        </p:txBody>
      </p:sp>
      <p:sp>
        <p:nvSpPr>
          <p:cNvPr id="22531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600200"/>
            <a:ext cx="8229600" cy="4530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Click to edit Master text styles</a:t>
            </a:r>
          </a:p>
          <a:p>
            <a:pPr lvl="1"/>
            <a:r>
              <a:rPr lang="en-US" altLang="en-US" smtClean="0"/>
              <a:t>Second level</a:t>
            </a:r>
          </a:p>
          <a:p>
            <a:pPr lvl="2"/>
            <a:r>
              <a:rPr lang="en-US" altLang="en-US" smtClean="0"/>
              <a:t>Third level</a:t>
            </a:r>
          </a:p>
          <a:p>
            <a:pPr lvl="3"/>
            <a:r>
              <a:rPr lang="en-US" altLang="en-US" smtClean="0"/>
              <a:t>Fourth level</a:t>
            </a:r>
          </a:p>
          <a:p>
            <a:pPr lvl="4"/>
            <a:r>
              <a:rPr lang="en-US" altLang="en-US" smtClean="0"/>
              <a:t>Fifth level</a:t>
            </a:r>
          </a:p>
        </p:txBody>
      </p:sp>
      <p:sp>
        <p:nvSpPr>
          <p:cNvPr id="53253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457200" y="6248400"/>
            <a:ext cx="55626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buClrTx/>
              <a:buSzTx/>
              <a:buFontTx/>
              <a:buNone/>
              <a:defRPr sz="1200">
                <a:latin typeface="+mj-lt"/>
              </a:defRPr>
            </a:lvl1pPr>
          </a:lstStyle>
          <a:p>
            <a:pPr eaLnBrk="1" fontAlgn="auto" hangingPunct="1">
              <a:spcAft>
                <a:spcPts val="0"/>
              </a:spcAft>
              <a:defRPr/>
            </a:pPr>
            <a:r>
              <a:rPr lang="en-US" altLang="en-US">
                <a:solidFill>
                  <a:srgbClr val="000000"/>
                </a:solidFill>
              </a:rPr>
              <a:t>CS511, Bing Liu, UIC</a:t>
            </a:r>
          </a:p>
        </p:txBody>
      </p:sp>
      <p:sp>
        <p:nvSpPr>
          <p:cNvPr id="53254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553200" y="6243638"/>
            <a:ext cx="21336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spcBef>
                <a:spcPct val="0"/>
              </a:spcBef>
              <a:buClrTx/>
              <a:buSzTx/>
              <a:buFontTx/>
              <a:buNone/>
              <a:defRPr sz="1200" smtClean="0">
                <a:latin typeface="Garamond" pitchFamily="18" charset="0"/>
              </a:defRPr>
            </a:lvl1pPr>
          </a:lstStyle>
          <a:p>
            <a:pPr eaLnBrk="1" fontAlgn="auto" hangingPunct="1">
              <a:spcAft>
                <a:spcPts val="0"/>
              </a:spcAft>
              <a:defRPr/>
            </a:pPr>
            <a:fld id="{D474AAF1-4BB3-49A9-A968-BAB6D17A1D8C}" type="slidenum">
              <a:rPr lang="en-US" altLang="en-US">
                <a:solidFill>
                  <a:srgbClr val="000000"/>
                </a:solidFill>
              </a:rPr>
              <a:pPr eaLnBrk="1" fontAlgn="auto" hangingPunct="1">
                <a:spcAft>
                  <a:spcPts val="0"/>
                </a:spcAft>
                <a:defRPr/>
              </a:pPr>
              <a:t>‹#›</a:t>
            </a:fld>
            <a:endParaRPr lang="en-US" altLang="en-US">
              <a:solidFill>
                <a:srgbClr val="000000"/>
              </a:solidFill>
            </a:endParaRPr>
          </a:p>
        </p:txBody>
      </p:sp>
      <p:sp>
        <p:nvSpPr>
          <p:cNvPr id="53255" name="Freeform 7"/>
          <p:cNvSpPr>
            <a:spLocks noChangeArrowheads="1"/>
          </p:cNvSpPr>
          <p:nvPr/>
        </p:nvSpPr>
        <p:spPr bwMode="auto">
          <a:xfrm>
            <a:off x="381000" y="228600"/>
            <a:ext cx="8229600" cy="609600"/>
          </a:xfrm>
          <a:custGeom>
            <a:avLst/>
            <a:gdLst/>
            <a:ahLst/>
            <a:cxnLst>
              <a:cxn ang="0">
                <a:pos x="0" y="1000"/>
              </a:cxn>
              <a:cxn ang="0">
                <a:pos x="0" y="0"/>
              </a:cxn>
              <a:cxn ang="0">
                <a:pos x="1000" y="0"/>
              </a:cxn>
            </a:cxnLst>
            <a:rect l="0" t="0" r="r" b="b"/>
            <a:pathLst>
              <a:path w="1000" h="1000">
                <a:moveTo>
                  <a:pt x="0" y="1000"/>
                </a:moveTo>
                <a:lnTo>
                  <a:pt x="0" y="0"/>
                </a:lnTo>
                <a:lnTo>
                  <a:pt x="1000" y="0"/>
                </a:lnTo>
              </a:path>
            </a:pathLst>
          </a:custGeom>
          <a:noFill/>
          <a:ln w="19050" cap="flat" cmpd="sng">
            <a:solidFill>
              <a:schemeClr val="accent1"/>
            </a:solidFill>
            <a:prstDash val="solid"/>
            <a:miter lim="800000"/>
            <a:headEnd/>
            <a:tailEnd/>
          </a:ln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IN" sz="18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3256" name="Line 8"/>
          <p:cNvSpPr>
            <a:spLocks noChangeShapeType="1"/>
          </p:cNvSpPr>
          <p:nvPr/>
        </p:nvSpPr>
        <p:spPr bwMode="auto">
          <a:xfrm>
            <a:off x="457200" y="6172200"/>
            <a:ext cx="8229600" cy="0"/>
          </a:xfrm>
          <a:prstGeom prst="line">
            <a:avLst/>
          </a:prstGeom>
          <a:noFill/>
          <a:ln w="19050">
            <a:solidFill>
              <a:schemeClr val="accent1"/>
            </a:solidFill>
            <a:round/>
            <a:headEnd/>
            <a:tailEnd/>
          </a:ln>
          <a:effectLst/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buFont typeface="Wingdings" pitchFamily="-110" charset="2"/>
              <a:buChar char="n"/>
              <a:defRPr/>
            </a:pPr>
            <a:endParaRPr lang="en-IN" sz="18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0428058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40" r:id="rId1"/>
    <p:sldLayoutId id="2147484041" r:id="rId2"/>
    <p:sldLayoutId id="2147484042" r:id="rId3"/>
    <p:sldLayoutId id="2147484043" r:id="rId4"/>
    <p:sldLayoutId id="2147484044" r:id="rId5"/>
    <p:sldLayoutId id="2147484045" r:id="rId6"/>
    <p:sldLayoutId id="2147484046" r:id="rId7"/>
    <p:sldLayoutId id="2147484047" r:id="rId8"/>
    <p:sldLayoutId id="2147484048" r:id="rId9"/>
    <p:sldLayoutId id="2147484049" r:id="rId10"/>
    <p:sldLayoutId id="2147484050" r:id="rId11"/>
    <p:sldLayoutId id="2147484051" r:id="rId12"/>
    <p:sldLayoutId id="2147484052" r:id="rId13"/>
    <p:sldLayoutId id="2147484053" r:id="rId14"/>
    <p:sldLayoutId id="2147484054" r:id="rId15"/>
  </p:sldLayoutIdLst>
  <p:transition/>
  <p:timing>
    <p:tnLst>
      <p:par>
        <p:cTn id="1" dur="indefinite" restart="never" nodeType="tmRoot"/>
      </p:par>
    </p:tnLst>
  </p:timing>
  <p:hf hd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4200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200">
          <a:solidFill>
            <a:schemeClr val="tx2"/>
          </a:solidFill>
          <a:latin typeface="Garamond" pitchFamily="18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200">
          <a:solidFill>
            <a:schemeClr val="tx2"/>
          </a:solidFill>
          <a:latin typeface="Garamond" pitchFamily="18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200">
          <a:solidFill>
            <a:schemeClr val="tx2"/>
          </a:solidFill>
          <a:latin typeface="Garamond" pitchFamily="18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200">
          <a:solidFill>
            <a:schemeClr val="tx2"/>
          </a:solidFill>
          <a:latin typeface="Garamond" pitchFamily="18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4200">
          <a:solidFill>
            <a:schemeClr val="tx2"/>
          </a:solidFill>
          <a:latin typeface="Garamond" pitchFamily="18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4200">
          <a:solidFill>
            <a:schemeClr val="tx2"/>
          </a:solidFill>
          <a:latin typeface="Garamond" pitchFamily="18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4200">
          <a:solidFill>
            <a:schemeClr val="tx2"/>
          </a:solidFill>
          <a:latin typeface="Garamond" pitchFamily="18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4200">
          <a:solidFill>
            <a:schemeClr val="tx2"/>
          </a:solidFill>
          <a:latin typeface="Garamond" pitchFamily="18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lr>
          <a:schemeClr val="accent1"/>
        </a:buClr>
        <a:buSzPct val="65000"/>
        <a:buFont typeface="Wingdings" pitchFamily="2" charset="2"/>
        <a:buChar char="n"/>
        <a:defRPr sz="3000">
          <a:solidFill>
            <a:schemeClr val="tx1"/>
          </a:solidFill>
          <a:latin typeface="+mn-lt"/>
          <a:ea typeface="+mn-ea"/>
          <a:cs typeface="+mn-cs"/>
        </a:defRPr>
      </a:lvl1pPr>
      <a:lvl2pPr marL="669925" indent="-325438" algn="l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SzPct val="60000"/>
        <a:buFont typeface="Wingdings" pitchFamily="2" charset="2"/>
        <a:buChar char="q"/>
        <a:defRPr sz="2600">
          <a:solidFill>
            <a:schemeClr val="tx1"/>
          </a:solidFill>
          <a:latin typeface="+mn-lt"/>
        </a:defRPr>
      </a:lvl2pPr>
      <a:lvl3pPr marL="1022350" indent="-350838" algn="l" rtl="0" eaLnBrk="0" fontAlgn="base" hangingPunct="0">
        <a:spcBef>
          <a:spcPct val="20000"/>
        </a:spcBef>
        <a:spcAft>
          <a:spcPct val="0"/>
        </a:spcAft>
        <a:buClr>
          <a:schemeClr val="accent1"/>
        </a:buClr>
        <a:buSzPct val="65000"/>
        <a:buFont typeface="Wingdings" pitchFamily="2" charset="2"/>
        <a:buChar char="n"/>
        <a:defRPr sz="2200">
          <a:solidFill>
            <a:schemeClr val="tx1"/>
          </a:solidFill>
          <a:latin typeface="+mn-lt"/>
        </a:defRPr>
      </a:lvl3pPr>
      <a:lvl4pPr marL="1339850" indent="-315913" algn="l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SzPct val="70000"/>
        <a:buFont typeface="Wingdings" pitchFamily="2" charset="2"/>
        <a:buChar char="q"/>
        <a:defRPr sz="2000">
          <a:solidFill>
            <a:schemeClr val="tx1"/>
          </a:solidFill>
          <a:latin typeface="+mn-lt"/>
        </a:defRPr>
      </a:lvl4pPr>
      <a:lvl5pPr marL="1681163" indent="-339725" algn="l" rtl="0" eaLnBrk="0" fontAlgn="base" hangingPunct="0">
        <a:spcBef>
          <a:spcPct val="20000"/>
        </a:spcBef>
        <a:spcAft>
          <a:spcPct val="0"/>
        </a:spcAft>
        <a:buClr>
          <a:schemeClr val="accent1"/>
        </a:buClr>
        <a:buSzPct val="75000"/>
        <a:buFont typeface="Wingdings" pitchFamily="2" charset="2"/>
        <a:buChar char="§"/>
        <a:defRPr sz="2000">
          <a:solidFill>
            <a:schemeClr val="tx1"/>
          </a:solidFill>
          <a:latin typeface="+mn-lt"/>
        </a:defRPr>
      </a:lvl5pPr>
      <a:lvl6pPr marL="2138363" indent="-339725" algn="l" rtl="0" fontAlgn="base">
        <a:spcBef>
          <a:spcPct val="20000"/>
        </a:spcBef>
        <a:spcAft>
          <a:spcPct val="0"/>
        </a:spcAft>
        <a:buClr>
          <a:schemeClr val="accent1"/>
        </a:buClr>
        <a:buSzPct val="75000"/>
        <a:buFont typeface="Wingdings" pitchFamily="-110" charset="2"/>
        <a:buChar char="§"/>
        <a:defRPr sz="2000">
          <a:solidFill>
            <a:schemeClr val="tx1"/>
          </a:solidFill>
          <a:latin typeface="+mn-lt"/>
        </a:defRPr>
      </a:lvl6pPr>
      <a:lvl7pPr marL="2595563" indent="-339725" algn="l" rtl="0" fontAlgn="base">
        <a:spcBef>
          <a:spcPct val="20000"/>
        </a:spcBef>
        <a:spcAft>
          <a:spcPct val="0"/>
        </a:spcAft>
        <a:buClr>
          <a:schemeClr val="accent1"/>
        </a:buClr>
        <a:buSzPct val="75000"/>
        <a:buFont typeface="Wingdings" pitchFamily="-110" charset="2"/>
        <a:buChar char="§"/>
        <a:defRPr sz="2000">
          <a:solidFill>
            <a:schemeClr val="tx1"/>
          </a:solidFill>
          <a:latin typeface="+mn-lt"/>
        </a:defRPr>
      </a:lvl7pPr>
      <a:lvl8pPr marL="3052763" indent="-339725" algn="l" rtl="0" fontAlgn="base">
        <a:spcBef>
          <a:spcPct val="20000"/>
        </a:spcBef>
        <a:spcAft>
          <a:spcPct val="0"/>
        </a:spcAft>
        <a:buClr>
          <a:schemeClr val="accent1"/>
        </a:buClr>
        <a:buSzPct val="75000"/>
        <a:buFont typeface="Wingdings" pitchFamily="-110" charset="2"/>
        <a:buChar char="§"/>
        <a:defRPr sz="2000">
          <a:solidFill>
            <a:schemeClr val="tx1"/>
          </a:solidFill>
          <a:latin typeface="+mn-lt"/>
        </a:defRPr>
      </a:lvl8pPr>
      <a:lvl9pPr marL="3509963" indent="-339725" algn="l" rtl="0" fontAlgn="base">
        <a:spcBef>
          <a:spcPct val="20000"/>
        </a:spcBef>
        <a:spcAft>
          <a:spcPct val="0"/>
        </a:spcAft>
        <a:buClr>
          <a:schemeClr val="accent1"/>
        </a:buClr>
        <a:buSzPct val="75000"/>
        <a:buFont typeface="Wingdings" pitchFamily="-110" charset="2"/>
        <a:buChar char="§"/>
        <a:defRPr sz="20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0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57200" y="277813"/>
            <a:ext cx="8229600" cy="1139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Click to edit Master title style</a:t>
            </a:r>
          </a:p>
        </p:txBody>
      </p:sp>
      <p:sp>
        <p:nvSpPr>
          <p:cNvPr id="22531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600200"/>
            <a:ext cx="8229600" cy="4530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Click to edit Master text styles</a:t>
            </a:r>
          </a:p>
          <a:p>
            <a:pPr lvl="1"/>
            <a:r>
              <a:rPr lang="en-US" altLang="en-US" smtClean="0"/>
              <a:t>Second level</a:t>
            </a:r>
          </a:p>
          <a:p>
            <a:pPr lvl="2"/>
            <a:r>
              <a:rPr lang="en-US" altLang="en-US" smtClean="0"/>
              <a:t>Third level</a:t>
            </a:r>
          </a:p>
          <a:p>
            <a:pPr lvl="3"/>
            <a:r>
              <a:rPr lang="en-US" altLang="en-US" smtClean="0"/>
              <a:t>Fourth level</a:t>
            </a:r>
          </a:p>
          <a:p>
            <a:pPr lvl="4"/>
            <a:r>
              <a:rPr lang="en-US" altLang="en-US" smtClean="0"/>
              <a:t>Fifth level</a:t>
            </a:r>
          </a:p>
        </p:txBody>
      </p:sp>
      <p:sp>
        <p:nvSpPr>
          <p:cNvPr id="53253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457200" y="6248400"/>
            <a:ext cx="55626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buClrTx/>
              <a:buSzTx/>
              <a:buFontTx/>
              <a:buNone/>
              <a:defRPr sz="1200">
                <a:latin typeface="+mj-lt"/>
              </a:defRPr>
            </a:lvl1pPr>
          </a:lstStyle>
          <a:p>
            <a:pPr eaLnBrk="1" fontAlgn="auto" hangingPunct="1">
              <a:spcAft>
                <a:spcPts val="0"/>
              </a:spcAft>
              <a:defRPr/>
            </a:pPr>
            <a:r>
              <a:rPr lang="en-US" altLang="en-US">
                <a:solidFill>
                  <a:srgbClr val="000000"/>
                </a:solidFill>
              </a:rPr>
              <a:t>CS511, Bing Liu, UIC</a:t>
            </a:r>
          </a:p>
        </p:txBody>
      </p:sp>
      <p:sp>
        <p:nvSpPr>
          <p:cNvPr id="53254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553200" y="6243638"/>
            <a:ext cx="21336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spcBef>
                <a:spcPct val="0"/>
              </a:spcBef>
              <a:buClrTx/>
              <a:buSzTx/>
              <a:buFontTx/>
              <a:buNone/>
              <a:defRPr sz="1200" smtClean="0">
                <a:latin typeface="Garamond" pitchFamily="18" charset="0"/>
              </a:defRPr>
            </a:lvl1pPr>
          </a:lstStyle>
          <a:p>
            <a:pPr eaLnBrk="1" fontAlgn="auto" hangingPunct="1">
              <a:spcAft>
                <a:spcPts val="0"/>
              </a:spcAft>
              <a:defRPr/>
            </a:pPr>
            <a:fld id="{D474AAF1-4BB3-49A9-A968-BAB6D17A1D8C}" type="slidenum">
              <a:rPr lang="en-US" altLang="en-US">
                <a:solidFill>
                  <a:srgbClr val="000000"/>
                </a:solidFill>
              </a:rPr>
              <a:pPr eaLnBrk="1" fontAlgn="auto" hangingPunct="1">
                <a:spcAft>
                  <a:spcPts val="0"/>
                </a:spcAft>
                <a:defRPr/>
              </a:pPr>
              <a:t>‹#›</a:t>
            </a:fld>
            <a:endParaRPr lang="en-US" altLang="en-US">
              <a:solidFill>
                <a:srgbClr val="000000"/>
              </a:solidFill>
            </a:endParaRPr>
          </a:p>
        </p:txBody>
      </p:sp>
      <p:sp>
        <p:nvSpPr>
          <p:cNvPr id="53255" name="Freeform 7"/>
          <p:cNvSpPr>
            <a:spLocks noChangeArrowheads="1"/>
          </p:cNvSpPr>
          <p:nvPr/>
        </p:nvSpPr>
        <p:spPr bwMode="auto">
          <a:xfrm>
            <a:off x="381000" y="228600"/>
            <a:ext cx="8229600" cy="609600"/>
          </a:xfrm>
          <a:custGeom>
            <a:avLst/>
            <a:gdLst/>
            <a:ahLst/>
            <a:cxnLst>
              <a:cxn ang="0">
                <a:pos x="0" y="1000"/>
              </a:cxn>
              <a:cxn ang="0">
                <a:pos x="0" y="0"/>
              </a:cxn>
              <a:cxn ang="0">
                <a:pos x="1000" y="0"/>
              </a:cxn>
            </a:cxnLst>
            <a:rect l="0" t="0" r="r" b="b"/>
            <a:pathLst>
              <a:path w="1000" h="1000">
                <a:moveTo>
                  <a:pt x="0" y="1000"/>
                </a:moveTo>
                <a:lnTo>
                  <a:pt x="0" y="0"/>
                </a:lnTo>
                <a:lnTo>
                  <a:pt x="1000" y="0"/>
                </a:lnTo>
              </a:path>
            </a:pathLst>
          </a:custGeom>
          <a:noFill/>
          <a:ln w="19050" cap="flat" cmpd="sng">
            <a:solidFill>
              <a:schemeClr val="accent1"/>
            </a:solidFill>
            <a:prstDash val="solid"/>
            <a:miter lim="800000"/>
            <a:headEnd/>
            <a:tailEnd/>
          </a:ln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IN" sz="18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3256" name="Line 8"/>
          <p:cNvSpPr>
            <a:spLocks noChangeShapeType="1"/>
          </p:cNvSpPr>
          <p:nvPr/>
        </p:nvSpPr>
        <p:spPr bwMode="auto">
          <a:xfrm>
            <a:off x="457200" y="6172200"/>
            <a:ext cx="8229600" cy="0"/>
          </a:xfrm>
          <a:prstGeom prst="line">
            <a:avLst/>
          </a:prstGeom>
          <a:noFill/>
          <a:ln w="19050">
            <a:solidFill>
              <a:schemeClr val="accent1"/>
            </a:solidFill>
            <a:round/>
            <a:headEnd/>
            <a:tailEnd/>
          </a:ln>
          <a:effectLst/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buFont typeface="Wingdings" pitchFamily="-110" charset="2"/>
              <a:buChar char="n"/>
              <a:defRPr/>
            </a:pPr>
            <a:endParaRPr lang="en-IN" sz="18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52393272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56" r:id="rId1"/>
    <p:sldLayoutId id="2147484057" r:id="rId2"/>
    <p:sldLayoutId id="2147484058" r:id="rId3"/>
    <p:sldLayoutId id="2147484059" r:id="rId4"/>
    <p:sldLayoutId id="2147484060" r:id="rId5"/>
    <p:sldLayoutId id="2147484061" r:id="rId6"/>
    <p:sldLayoutId id="2147484062" r:id="rId7"/>
    <p:sldLayoutId id="2147484063" r:id="rId8"/>
    <p:sldLayoutId id="2147484064" r:id="rId9"/>
    <p:sldLayoutId id="2147484065" r:id="rId10"/>
    <p:sldLayoutId id="2147484066" r:id="rId11"/>
    <p:sldLayoutId id="2147484067" r:id="rId12"/>
    <p:sldLayoutId id="2147484068" r:id="rId13"/>
    <p:sldLayoutId id="2147484069" r:id="rId14"/>
    <p:sldLayoutId id="2147484070" r:id="rId15"/>
  </p:sldLayoutIdLst>
  <p:transition/>
  <p:timing>
    <p:tnLst>
      <p:par>
        <p:cTn id="1" dur="indefinite" restart="never" nodeType="tmRoot"/>
      </p:par>
    </p:tnLst>
  </p:timing>
  <p:hf hd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4200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200">
          <a:solidFill>
            <a:schemeClr val="tx2"/>
          </a:solidFill>
          <a:latin typeface="Garamond" pitchFamily="18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200">
          <a:solidFill>
            <a:schemeClr val="tx2"/>
          </a:solidFill>
          <a:latin typeface="Garamond" pitchFamily="18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200">
          <a:solidFill>
            <a:schemeClr val="tx2"/>
          </a:solidFill>
          <a:latin typeface="Garamond" pitchFamily="18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200">
          <a:solidFill>
            <a:schemeClr val="tx2"/>
          </a:solidFill>
          <a:latin typeface="Garamond" pitchFamily="18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4200">
          <a:solidFill>
            <a:schemeClr val="tx2"/>
          </a:solidFill>
          <a:latin typeface="Garamond" pitchFamily="18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4200">
          <a:solidFill>
            <a:schemeClr val="tx2"/>
          </a:solidFill>
          <a:latin typeface="Garamond" pitchFamily="18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4200">
          <a:solidFill>
            <a:schemeClr val="tx2"/>
          </a:solidFill>
          <a:latin typeface="Garamond" pitchFamily="18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4200">
          <a:solidFill>
            <a:schemeClr val="tx2"/>
          </a:solidFill>
          <a:latin typeface="Garamond" pitchFamily="18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lr>
          <a:schemeClr val="accent1"/>
        </a:buClr>
        <a:buSzPct val="65000"/>
        <a:buFont typeface="Wingdings" pitchFamily="2" charset="2"/>
        <a:buChar char="n"/>
        <a:defRPr sz="3000">
          <a:solidFill>
            <a:schemeClr val="tx1"/>
          </a:solidFill>
          <a:latin typeface="+mn-lt"/>
          <a:ea typeface="+mn-ea"/>
          <a:cs typeface="+mn-cs"/>
        </a:defRPr>
      </a:lvl1pPr>
      <a:lvl2pPr marL="669925" indent="-325438" algn="l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SzPct val="60000"/>
        <a:buFont typeface="Wingdings" pitchFamily="2" charset="2"/>
        <a:buChar char="q"/>
        <a:defRPr sz="2600">
          <a:solidFill>
            <a:schemeClr val="tx1"/>
          </a:solidFill>
          <a:latin typeface="+mn-lt"/>
        </a:defRPr>
      </a:lvl2pPr>
      <a:lvl3pPr marL="1022350" indent="-350838" algn="l" rtl="0" eaLnBrk="0" fontAlgn="base" hangingPunct="0">
        <a:spcBef>
          <a:spcPct val="20000"/>
        </a:spcBef>
        <a:spcAft>
          <a:spcPct val="0"/>
        </a:spcAft>
        <a:buClr>
          <a:schemeClr val="accent1"/>
        </a:buClr>
        <a:buSzPct val="65000"/>
        <a:buFont typeface="Wingdings" pitchFamily="2" charset="2"/>
        <a:buChar char="n"/>
        <a:defRPr sz="2200">
          <a:solidFill>
            <a:schemeClr val="tx1"/>
          </a:solidFill>
          <a:latin typeface="+mn-lt"/>
        </a:defRPr>
      </a:lvl3pPr>
      <a:lvl4pPr marL="1339850" indent="-315913" algn="l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SzPct val="70000"/>
        <a:buFont typeface="Wingdings" pitchFamily="2" charset="2"/>
        <a:buChar char="q"/>
        <a:defRPr sz="2000">
          <a:solidFill>
            <a:schemeClr val="tx1"/>
          </a:solidFill>
          <a:latin typeface="+mn-lt"/>
        </a:defRPr>
      </a:lvl4pPr>
      <a:lvl5pPr marL="1681163" indent="-339725" algn="l" rtl="0" eaLnBrk="0" fontAlgn="base" hangingPunct="0">
        <a:spcBef>
          <a:spcPct val="20000"/>
        </a:spcBef>
        <a:spcAft>
          <a:spcPct val="0"/>
        </a:spcAft>
        <a:buClr>
          <a:schemeClr val="accent1"/>
        </a:buClr>
        <a:buSzPct val="75000"/>
        <a:buFont typeface="Wingdings" pitchFamily="2" charset="2"/>
        <a:buChar char="§"/>
        <a:defRPr sz="2000">
          <a:solidFill>
            <a:schemeClr val="tx1"/>
          </a:solidFill>
          <a:latin typeface="+mn-lt"/>
        </a:defRPr>
      </a:lvl5pPr>
      <a:lvl6pPr marL="2138363" indent="-339725" algn="l" rtl="0" fontAlgn="base">
        <a:spcBef>
          <a:spcPct val="20000"/>
        </a:spcBef>
        <a:spcAft>
          <a:spcPct val="0"/>
        </a:spcAft>
        <a:buClr>
          <a:schemeClr val="accent1"/>
        </a:buClr>
        <a:buSzPct val="75000"/>
        <a:buFont typeface="Wingdings" pitchFamily="-110" charset="2"/>
        <a:buChar char="§"/>
        <a:defRPr sz="2000">
          <a:solidFill>
            <a:schemeClr val="tx1"/>
          </a:solidFill>
          <a:latin typeface="+mn-lt"/>
        </a:defRPr>
      </a:lvl6pPr>
      <a:lvl7pPr marL="2595563" indent="-339725" algn="l" rtl="0" fontAlgn="base">
        <a:spcBef>
          <a:spcPct val="20000"/>
        </a:spcBef>
        <a:spcAft>
          <a:spcPct val="0"/>
        </a:spcAft>
        <a:buClr>
          <a:schemeClr val="accent1"/>
        </a:buClr>
        <a:buSzPct val="75000"/>
        <a:buFont typeface="Wingdings" pitchFamily="-110" charset="2"/>
        <a:buChar char="§"/>
        <a:defRPr sz="2000">
          <a:solidFill>
            <a:schemeClr val="tx1"/>
          </a:solidFill>
          <a:latin typeface="+mn-lt"/>
        </a:defRPr>
      </a:lvl7pPr>
      <a:lvl8pPr marL="3052763" indent="-339725" algn="l" rtl="0" fontAlgn="base">
        <a:spcBef>
          <a:spcPct val="20000"/>
        </a:spcBef>
        <a:spcAft>
          <a:spcPct val="0"/>
        </a:spcAft>
        <a:buClr>
          <a:schemeClr val="accent1"/>
        </a:buClr>
        <a:buSzPct val="75000"/>
        <a:buFont typeface="Wingdings" pitchFamily="-110" charset="2"/>
        <a:buChar char="§"/>
        <a:defRPr sz="2000">
          <a:solidFill>
            <a:schemeClr val="tx1"/>
          </a:solidFill>
          <a:latin typeface="+mn-lt"/>
        </a:defRPr>
      </a:lvl8pPr>
      <a:lvl9pPr marL="3509963" indent="-339725" algn="l" rtl="0" fontAlgn="base">
        <a:spcBef>
          <a:spcPct val="20000"/>
        </a:spcBef>
        <a:spcAft>
          <a:spcPct val="0"/>
        </a:spcAft>
        <a:buClr>
          <a:schemeClr val="accent1"/>
        </a:buClr>
        <a:buSzPct val="75000"/>
        <a:buFont typeface="Wingdings" pitchFamily="-110" charset="2"/>
        <a:buChar char="§"/>
        <a:defRPr sz="20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TW" altLang="en-US" smtClean="0"/>
              <a:t>按一下以編輯母片標題樣式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fld id="{4D3A1796-FE4F-4CE2-AA60-E861BA6E0949}" type="datetimeFigureOut">
              <a:rPr lang="zh-TW" alt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t>2019/2/26</a:t>
            </a:fld>
            <a:endParaRPr lang="zh-TW" alt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endParaRPr lang="zh-TW" alt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fld id="{0E24186D-8EEA-426C-9630-B8182DA83AF4}" type="slidenum">
              <a:rPr lang="zh-TW" alt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zh-TW" alt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4489349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72" r:id="rId1"/>
    <p:sldLayoutId id="2147484073" r:id="rId2"/>
    <p:sldLayoutId id="2147484074" r:id="rId3"/>
    <p:sldLayoutId id="2147484075" r:id="rId4"/>
    <p:sldLayoutId id="2147484076" r:id="rId5"/>
    <p:sldLayoutId id="2147484077" r:id="rId6"/>
    <p:sldLayoutId id="2147484078" r:id="rId7"/>
    <p:sldLayoutId id="2147484079" r:id="rId8"/>
    <p:sldLayoutId id="2147484080" r:id="rId9"/>
    <p:sldLayoutId id="2147484081" r:id="rId10"/>
    <p:sldLayoutId id="2147484082" r:id="rId11"/>
    <p:sldLayoutId id="2147484083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7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0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57200" y="277813"/>
            <a:ext cx="8229600" cy="1139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Click to edit Master title style</a:t>
            </a:r>
          </a:p>
        </p:txBody>
      </p:sp>
      <p:sp>
        <p:nvSpPr>
          <p:cNvPr id="22531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600200"/>
            <a:ext cx="8229600" cy="4530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Click to edit Master text styles</a:t>
            </a:r>
          </a:p>
          <a:p>
            <a:pPr lvl="1"/>
            <a:r>
              <a:rPr lang="en-US" altLang="en-US" smtClean="0"/>
              <a:t>Second level</a:t>
            </a:r>
          </a:p>
          <a:p>
            <a:pPr lvl="2"/>
            <a:r>
              <a:rPr lang="en-US" altLang="en-US" smtClean="0"/>
              <a:t>Third level</a:t>
            </a:r>
          </a:p>
          <a:p>
            <a:pPr lvl="3"/>
            <a:r>
              <a:rPr lang="en-US" altLang="en-US" smtClean="0"/>
              <a:t>Fourth level</a:t>
            </a:r>
          </a:p>
          <a:p>
            <a:pPr lvl="4"/>
            <a:r>
              <a:rPr lang="en-US" altLang="en-US" smtClean="0"/>
              <a:t>Fifth level</a:t>
            </a:r>
          </a:p>
        </p:txBody>
      </p:sp>
      <p:sp>
        <p:nvSpPr>
          <p:cNvPr id="53253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457200" y="6248400"/>
            <a:ext cx="55626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buClrTx/>
              <a:buSzTx/>
              <a:buFontTx/>
              <a:buNone/>
              <a:defRPr sz="1200">
                <a:latin typeface="+mj-lt"/>
              </a:defRPr>
            </a:lvl1pPr>
          </a:lstStyle>
          <a:p>
            <a:pPr eaLnBrk="1" fontAlgn="auto" hangingPunct="1">
              <a:spcAft>
                <a:spcPts val="0"/>
              </a:spcAft>
              <a:defRPr/>
            </a:pPr>
            <a:r>
              <a:rPr lang="en-US" altLang="en-US">
                <a:solidFill>
                  <a:srgbClr val="000000"/>
                </a:solidFill>
              </a:rPr>
              <a:t>CS511, Bing Liu, UIC</a:t>
            </a:r>
          </a:p>
        </p:txBody>
      </p:sp>
      <p:sp>
        <p:nvSpPr>
          <p:cNvPr id="53254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553200" y="6243638"/>
            <a:ext cx="21336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spcBef>
                <a:spcPct val="0"/>
              </a:spcBef>
              <a:buClrTx/>
              <a:buSzTx/>
              <a:buFontTx/>
              <a:buNone/>
              <a:defRPr sz="1200" smtClean="0">
                <a:latin typeface="Garamond" pitchFamily="18" charset="0"/>
              </a:defRPr>
            </a:lvl1pPr>
          </a:lstStyle>
          <a:p>
            <a:pPr eaLnBrk="1" fontAlgn="auto" hangingPunct="1">
              <a:spcAft>
                <a:spcPts val="0"/>
              </a:spcAft>
              <a:defRPr/>
            </a:pPr>
            <a:fld id="{D474AAF1-4BB3-49A9-A968-BAB6D17A1D8C}" type="slidenum">
              <a:rPr lang="en-US" altLang="en-US">
                <a:solidFill>
                  <a:srgbClr val="000000"/>
                </a:solidFill>
              </a:rPr>
              <a:pPr eaLnBrk="1" fontAlgn="auto" hangingPunct="1">
                <a:spcAft>
                  <a:spcPts val="0"/>
                </a:spcAft>
                <a:defRPr/>
              </a:pPr>
              <a:t>‹#›</a:t>
            </a:fld>
            <a:endParaRPr lang="en-US" altLang="en-US">
              <a:solidFill>
                <a:srgbClr val="000000"/>
              </a:solidFill>
            </a:endParaRPr>
          </a:p>
        </p:txBody>
      </p:sp>
      <p:sp>
        <p:nvSpPr>
          <p:cNvPr id="53255" name="Freeform 7"/>
          <p:cNvSpPr>
            <a:spLocks noChangeArrowheads="1"/>
          </p:cNvSpPr>
          <p:nvPr/>
        </p:nvSpPr>
        <p:spPr bwMode="auto">
          <a:xfrm>
            <a:off x="381000" y="228600"/>
            <a:ext cx="8229600" cy="609600"/>
          </a:xfrm>
          <a:custGeom>
            <a:avLst/>
            <a:gdLst/>
            <a:ahLst/>
            <a:cxnLst>
              <a:cxn ang="0">
                <a:pos x="0" y="1000"/>
              </a:cxn>
              <a:cxn ang="0">
                <a:pos x="0" y="0"/>
              </a:cxn>
              <a:cxn ang="0">
                <a:pos x="1000" y="0"/>
              </a:cxn>
            </a:cxnLst>
            <a:rect l="0" t="0" r="r" b="b"/>
            <a:pathLst>
              <a:path w="1000" h="1000">
                <a:moveTo>
                  <a:pt x="0" y="1000"/>
                </a:moveTo>
                <a:lnTo>
                  <a:pt x="0" y="0"/>
                </a:lnTo>
                <a:lnTo>
                  <a:pt x="1000" y="0"/>
                </a:lnTo>
              </a:path>
            </a:pathLst>
          </a:custGeom>
          <a:noFill/>
          <a:ln w="19050" cap="flat" cmpd="sng">
            <a:solidFill>
              <a:schemeClr val="accent1"/>
            </a:solidFill>
            <a:prstDash val="solid"/>
            <a:miter lim="800000"/>
            <a:headEnd/>
            <a:tailEnd/>
          </a:ln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IN" sz="18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3256" name="Line 8"/>
          <p:cNvSpPr>
            <a:spLocks noChangeShapeType="1"/>
          </p:cNvSpPr>
          <p:nvPr/>
        </p:nvSpPr>
        <p:spPr bwMode="auto">
          <a:xfrm>
            <a:off x="457200" y="6172200"/>
            <a:ext cx="8229600" cy="0"/>
          </a:xfrm>
          <a:prstGeom prst="line">
            <a:avLst/>
          </a:prstGeom>
          <a:noFill/>
          <a:ln w="19050">
            <a:solidFill>
              <a:schemeClr val="accent1"/>
            </a:solidFill>
            <a:round/>
            <a:headEnd/>
            <a:tailEnd/>
          </a:ln>
          <a:effectLst/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buFont typeface="Wingdings" pitchFamily="-110" charset="2"/>
              <a:buChar char="n"/>
              <a:defRPr/>
            </a:pPr>
            <a:endParaRPr lang="en-IN" sz="18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08182017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85" r:id="rId1"/>
    <p:sldLayoutId id="2147484086" r:id="rId2"/>
    <p:sldLayoutId id="2147484087" r:id="rId3"/>
    <p:sldLayoutId id="2147484088" r:id="rId4"/>
    <p:sldLayoutId id="2147484089" r:id="rId5"/>
    <p:sldLayoutId id="2147484090" r:id="rId6"/>
    <p:sldLayoutId id="2147484091" r:id="rId7"/>
    <p:sldLayoutId id="2147484092" r:id="rId8"/>
    <p:sldLayoutId id="2147484093" r:id="rId9"/>
    <p:sldLayoutId id="2147484094" r:id="rId10"/>
    <p:sldLayoutId id="2147484095" r:id="rId11"/>
    <p:sldLayoutId id="2147484096" r:id="rId12"/>
    <p:sldLayoutId id="2147484097" r:id="rId13"/>
    <p:sldLayoutId id="2147484098" r:id="rId14"/>
    <p:sldLayoutId id="2147484099" r:id="rId15"/>
  </p:sldLayoutIdLst>
  <p:transition/>
  <p:timing>
    <p:tnLst>
      <p:par>
        <p:cTn id="1" dur="indefinite" restart="never" nodeType="tmRoot"/>
      </p:par>
    </p:tnLst>
  </p:timing>
  <p:hf hd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4200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200">
          <a:solidFill>
            <a:schemeClr val="tx2"/>
          </a:solidFill>
          <a:latin typeface="Garamond" pitchFamily="18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200">
          <a:solidFill>
            <a:schemeClr val="tx2"/>
          </a:solidFill>
          <a:latin typeface="Garamond" pitchFamily="18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200">
          <a:solidFill>
            <a:schemeClr val="tx2"/>
          </a:solidFill>
          <a:latin typeface="Garamond" pitchFamily="18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200">
          <a:solidFill>
            <a:schemeClr val="tx2"/>
          </a:solidFill>
          <a:latin typeface="Garamond" pitchFamily="18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4200">
          <a:solidFill>
            <a:schemeClr val="tx2"/>
          </a:solidFill>
          <a:latin typeface="Garamond" pitchFamily="18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4200">
          <a:solidFill>
            <a:schemeClr val="tx2"/>
          </a:solidFill>
          <a:latin typeface="Garamond" pitchFamily="18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4200">
          <a:solidFill>
            <a:schemeClr val="tx2"/>
          </a:solidFill>
          <a:latin typeface="Garamond" pitchFamily="18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4200">
          <a:solidFill>
            <a:schemeClr val="tx2"/>
          </a:solidFill>
          <a:latin typeface="Garamond" pitchFamily="18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lr>
          <a:schemeClr val="accent1"/>
        </a:buClr>
        <a:buSzPct val="65000"/>
        <a:buFont typeface="Wingdings" pitchFamily="2" charset="2"/>
        <a:buChar char="n"/>
        <a:defRPr sz="3000">
          <a:solidFill>
            <a:schemeClr val="tx1"/>
          </a:solidFill>
          <a:latin typeface="+mn-lt"/>
          <a:ea typeface="+mn-ea"/>
          <a:cs typeface="+mn-cs"/>
        </a:defRPr>
      </a:lvl1pPr>
      <a:lvl2pPr marL="669925" indent="-325438" algn="l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SzPct val="60000"/>
        <a:buFont typeface="Wingdings" pitchFamily="2" charset="2"/>
        <a:buChar char="q"/>
        <a:defRPr sz="2600">
          <a:solidFill>
            <a:schemeClr val="tx1"/>
          </a:solidFill>
          <a:latin typeface="+mn-lt"/>
        </a:defRPr>
      </a:lvl2pPr>
      <a:lvl3pPr marL="1022350" indent="-350838" algn="l" rtl="0" eaLnBrk="0" fontAlgn="base" hangingPunct="0">
        <a:spcBef>
          <a:spcPct val="20000"/>
        </a:spcBef>
        <a:spcAft>
          <a:spcPct val="0"/>
        </a:spcAft>
        <a:buClr>
          <a:schemeClr val="accent1"/>
        </a:buClr>
        <a:buSzPct val="65000"/>
        <a:buFont typeface="Wingdings" pitchFamily="2" charset="2"/>
        <a:buChar char="n"/>
        <a:defRPr sz="2200">
          <a:solidFill>
            <a:schemeClr val="tx1"/>
          </a:solidFill>
          <a:latin typeface="+mn-lt"/>
        </a:defRPr>
      </a:lvl3pPr>
      <a:lvl4pPr marL="1339850" indent="-315913" algn="l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SzPct val="70000"/>
        <a:buFont typeface="Wingdings" pitchFamily="2" charset="2"/>
        <a:buChar char="q"/>
        <a:defRPr sz="2000">
          <a:solidFill>
            <a:schemeClr val="tx1"/>
          </a:solidFill>
          <a:latin typeface="+mn-lt"/>
        </a:defRPr>
      </a:lvl4pPr>
      <a:lvl5pPr marL="1681163" indent="-339725" algn="l" rtl="0" eaLnBrk="0" fontAlgn="base" hangingPunct="0">
        <a:spcBef>
          <a:spcPct val="20000"/>
        </a:spcBef>
        <a:spcAft>
          <a:spcPct val="0"/>
        </a:spcAft>
        <a:buClr>
          <a:schemeClr val="accent1"/>
        </a:buClr>
        <a:buSzPct val="75000"/>
        <a:buFont typeface="Wingdings" pitchFamily="2" charset="2"/>
        <a:buChar char="§"/>
        <a:defRPr sz="2000">
          <a:solidFill>
            <a:schemeClr val="tx1"/>
          </a:solidFill>
          <a:latin typeface="+mn-lt"/>
        </a:defRPr>
      </a:lvl5pPr>
      <a:lvl6pPr marL="2138363" indent="-339725" algn="l" rtl="0" fontAlgn="base">
        <a:spcBef>
          <a:spcPct val="20000"/>
        </a:spcBef>
        <a:spcAft>
          <a:spcPct val="0"/>
        </a:spcAft>
        <a:buClr>
          <a:schemeClr val="accent1"/>
        </a:buClr>
        <a:buSzPct val="75000"/>
        <a:buFont typeface="Wingdings" pitchFamily="-110" charset="2"/>
        <a:buChar char="§"/>
        <a:defRPr sz="2000">
          <a:solidFill>
            <a:schemeClr val="tx1"/>
          </a:solidFill>
          <a:latin typeface="+mn-lt"/>
        </a:defRPr>
      </a:lvl6pPr>
      <a:lvl7pPr marL="2595563" indent="-339725" algn="l" rtl="0" fontAlgn="base">
        <a:spcBef>
          <a:spcPct val="20000"/>
        </a:spcBef>
        <a:spcAft>
          <a:spcPct val="0"/>
        </a:spcAft>
        <a:buClr>
          <a:schemeClr val="accent1"/>
        </a:buClr>
        <a:buSzPct val="75000"/>
        <a:buFont typeface="Wingdings" pitchFamily="-110" charset="2"/>
        <a:buChar char="§"/>
        <a:defRPr sz="2000">
          <a:solidFill>
            <a:schemeClr val="tx1"/>
          </a:solidFill>
          <a:latin typeface="+mn-lt"/>
        </a:defRPr>
      </a:lvl7pPr>
      <a:lvl8pPr marL="3052763" indent="-339725" algn="l" rtl="0" fontAlgn="base">
        <a:spcBef>
          <a:spcPct val="20000"/>
        </a:spcBef>
        <a:spcAft>
          <a:spcPct val="0"/>
        </a:spcAft>
        <a:buClr>
          <a:schemeClr val="accent1"/>
        </a:buClr>
        <a:buSzPct val="75000"/>
        <a:buFont typeface="Wingdings" pitchFamily="-110" charset="2"/>
        <a:buChar char="§"/>
        <a:defRPr sz="2000">
          <a:solidFill>
            <a:schemeClr val="tx1"/>
          </a:solidFill>
          <a:latin typeface="+mn-lt"/>
        </a:defRPr>
      </a:lvl8pPr>
      <a:lvl9pPr marL="3509963" indent="-339725" algn="l" rtl="0" fontAlgn="base">
        <a:spcBef>
          <a:spcPct val="20000"/>
        </a:spcBef>
        <a:spcAft>
          <a:spcPct val="0"/>
        </a:spcAft>
        <a:buClr>
          <a:schemeClr val="accent1"/>
        </a:buClr>
        <a:buSzPct val="75000"/>
        <a:buFont typeface="Wingdings" pitchFamily="-110" charset="2"/>
        <a:buChar char="§"/>
        <a:defRPr sz="20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8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TW" altLang="en-US" smtClean="0"/>
              <a:t>按一下以編輯母片標題樣式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fld id="{4D3A1796-FE4F-4CE2-AA60-E861BA6E0949}" type="datetimeFigureOut">
              <a:rPr lang="zh-TW" alt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t>2019/2/26</a:t>
            </a:fld>
            <a:endParaRPr lang="zh-TW" alt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endParaRPr lang="zh-TW" alt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fld id="{0E24186D-8EEA-426C-9630-B8182DA83AF4}" type="slidenum">
              <a:rPr lang="zh-TW" alt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zh-TW" alt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69824655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01" r:id="rId1"/>
    <p:sldLayoutId id="2147484102" r:id="rId2"/>
    <p:sldLayoutId id="2147484103" r:id="rId3"/>
    <p:sldLayoutId id="2147484104" r:id="rId4"/>
    <p:sldLayoutId id="2147484105" r:id="rId5"/>
    <p:sldLayoutId id="2147484106" r:id="rId6"/>
    <p:sldLayoutId id="2147484107" r:id="rId7"/>
    <p:sldLayoutId id="2147484108" r:id="rId8"/>
    <p:sldLayoutId id="2147484109" r:id="rId9"/>
    <p:sldLayoutId id="2147484110" r:id="rId10"/>
    <p:sldLayoutId id="2147484111" r:id="rId11"/>
    <p:sldLayoutId id="2147484112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1295400" y="0"/>
            <a:ext cx="7162800" cy="1143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685800" y="1447800"/>
            <a:ext cx="7772400" cy="5105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110596" name="Rectangle 4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7239000" y="6400800"/>
            <a:ext cx="1905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 eaLnBrk="0" hangingPunct="0">
              <a:defRPr sz="1400">
                <a:solidFill>
                  <a:schemeClr val="tx1"/>
                </a:solidFill>
                <a:latin typeface="Times New Roman" charset="0"/>
                <a:ea typeface="+mn-ea"/>
                <a:cs typeface="+mn-cs"/>
              </a:defRPr>
            </a:lvl1pPr>
          </a:lstStyle>
          <a:p>
            <a:pPr defTabSz="457200" fontAlgn="auto">
              <a:spcBef>
                <a:spcPts val="0"/>
              </a:spcBef>
              <a:spcAft>
                <a:spcPts val="0"/>
              </a:spcAft>
              <a:defRPr/>
            </a:pPr>
            <a:fld id="{6B8BC2F6-4B5A-4324-8EF1-0D6833C7E1A9}" type="slidenum">
              <a:rPr lang="en-US">
                <a:solidFill>
                  <a:srgbClr val="000000"/>
                </a:solidFill>
              </a:rPr>
              <a:pPr defTabSz="45720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grpSp>
        <p:nvGrpSpPr>
          <p:cNvPr id="2" name="Group 1"/>
          <p:cNvGrpSpPr>
            <a:grpSpLocks/>
          </p:cNvGrpSpPr>
          <p:nvPr/>
        </p:nvGrpSpPr>
        <p:grpSpPr bwMode="auto">
          <a:xfrm>
            <a:off x="152400" y="152400"/>
            <a:ext cx="1047750" cy="838200"/>
            <a:chOff x="6267450" y="3810000"/>
            <a:chExt cx="2647950" cy="1905000"/>
          </a:xfrm>
        </p:grpSpPr>
        <p:pic>
          <p:nvPicPr>
            <p:cNvPr id="1030" name="Picture 2" descr="http://www.turtletrack.org/Issues00/Co01152000/Art/gator6.jpg"/>
            <p:cNvPicPr>
              <a:picLocks noChangeAspect="1" noChangeArrowheads="1"/>
            </p:cNvPicPr>
            <p:nvPr userDrawn="1"/>
          </p:nvPicPr>
          <p:blipFill>
            <a:blip r:embed="rId1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648450" y="3810000"/>
              <a:ext cx="2266950" cy="1905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grpSp>
          <p:nvGrpSpPr>
            <p:cNvPr id="3" name="Group 5"/>
            <p:cNvGrpSpPr>
              <a:grpSpLocks/>
            </p:cNvGrpSpPr>
            <p:nvPr userDrawn="1"/>
          </p:nvGrpSpPr>
          <p:grpSpPr bwMode="auto">
            <a:xfrm>
              <a:off x="6267450" y="4876800"/>
              <a:ext cx="762000" cy="660400"/>
              <a:chOff x="3794" y="2614"/>
              <a:chExt cx="1966" cy="1706"/>
            </a:xfrm>
          </p:grpSpPr>
          <p:sp>
            <p:nvSpPr>
              <p:cNvPr id="1032" name="Oval 6"/>
              <p:cNvSpPr>
                <a:spLocks noChangeArrowheads="1"/>
              </p:cNvSpPr>
              <p:nvPr/>
            </p:nvSpPr>
            <p:spPr bwMode="auto">
              <a:xfrm>
                <a:off x="3794" y="3840"/>
                <a:ext cx="1966" cy="480"/>
              </a:xfrm>
              <a:prstGeom prst="ellipse">
                <a:avLst/>
              </a:prstGeom>
              <a:gradFill rotWithShape="0">
                <a:gsLst>
                  <a:gs pos="0">
                    <a:srgbClr val="2F2F18"/>
                  </a:gs>
                  <a:gs pos="50000">
                    <a:srgbClr val="666633"/>
                  </a:gs>
                  <a:gs pos="100000">
                    <a:srgbClr val="2F2F18"/>
                  </a:gs>
                </a:gsLst>
                <a:lin ang="0" scaled="1"/>
              </a:gradFill>
              <a:ln w="12700">
                <a:solidFill>
                  <a:schemeClr val="tx2"/>
                </a:solidFill>
                <a:round/>
                <a:headEnd type="none" w="sm" len="sm"/>
                <a:tailEnd type="none" w="sm" len="sm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57200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en-US" sz="1800">
                  <a:solidFill>
                    <a:srgbClr val="000000"/>
                  </a:solidFill>
                  <a:latin typeface="Tahoma"/>
                </a:endParaRPr>
              </a:p>
            </p:txBody>
          </p:sp>
          <p:sp>
            <p:nvSpPr>
              <p:cNvPr id="1033" name="Rectangle 7"/>
              <p:cNvSpPr>
                <a:spLocks noChangeArrowheads="1"/>
              </p:cNvSpPr>
              <p:nvPr/>
            </p:nvSpPr>
            <p:spPr bwMode="auto">
              <a:xfrm>
                <a:off x="3794" y="2879"/>
                <a:ext cx="1966" cy="1200"/>
              </a:xfrm>
              <a:prstGeom prst="rect">
                <a:avLst/>
              </a:prstGeom>
              <a:gradFill rotWithShape="0">
                <a:gsLst>
                  <a:gs pos="0">
                    <a:srgbClr val="2F2F18"/>
                  </a:gs>
                  <a:gs pos="50000">
                    <a:srgbClr val="666633"/>
                  </a:gs>
                  <a:gs pos="100000">
                    <a:srgbClr val="2F2F18"/>
                  </a:gs>
                </a:gsLst>
                <a:lin ang="0" scaled="1"/>
              </a:gra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12700">
                    <a:solidFill>
                      <a:schemeClr val="tx1"/>
                    </a:solidFill>
                    <a:miter lim="800000"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57200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en-US" sz="1800">
                  <a:solidFill>
                    <a:srgbClr val="000000"/>
                  </a:solidFill>
                  <a:latin typeface="Tahoma"/>
                </a:endParaRPr>
              </a:p>
            </p:txBody>
          </p:sp>
          <p:pic>
            <p:nvPicPr>
              <p:cNvPr id="1034" name="Picture 8"/>
              <p:cNvPicPr>
                <a:picLocks noChangeAspect="1" noChangeArrowheads="1"/>
              </p:cNvPicPr>
              <p:nvPr/>
            </p:nvPicPr>
            <p:blipFill>
              <a:blip r:embed="rId16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794" y="2614"/>
                <a:ext cx="1966" cy="48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</p:pic>
        </p:grpSp>
      </p:grpSp>
    </p:spTree>
    <p:extLst>
      <p:ext uri="{BB962C8B-B14F-4D97-AF65-F5344CB8AC3E}">
        <p14:creationId xmlns:p14="http://schemas.microsoft.com/office/powerpoint/2010/main" val="38179386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14" r:id="rId1"/>
    <p:sldLayoutId id="2147484115" r:id="rId2"/>
    <p:sldLayoutId id="2147484116" r:id="rId3"/>
    <p:sldLayoutId id="2147484117" r:id="rId4"/>
    <p:sldLayoutId id="2147484118" r:id="rId5"/>
    <p:sldLayoutId id="2147484119" r:id="rId6"/>
    <p:sldLayoutId id="2147484120" r:id="rId7"/>
    <p:sldLayoutId id="2147484121" r:id="rId8"/>
    <p:sldLayoutId id="2147484122" r:id="rId9"/>
    <p:sldLayoutId id="2147484123" r:id="rId10"/>
    <p:sldLayoutId id="2147484124" r:id="rId11"/>
    <p:sldLayoutId id="2147484125" r:id="rId12"/>
    <p:sldLayoutId id="2147484126" r:id="rId13"/>
  </p:sldLayoutIdLst>
  <p:timing>
    <p:tnLst>
      <p:par>
        <p:cTn id="1" dur="indefinite" restart="never" nodeType="tmRoot"/>
      </p:par>
    </p:tnLst>
  </p:timing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3600">
          <a:solidFill>
            <a:srgbClr val="0000FF"/>
          </a:solidFill>
          <a:latin typeface="+mj-lt"/>
          <a:ea typeface="+mj-ea"/>
          <a:cs typeface="Osaka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600">
          <a:solidFill>
            <a:srgbClr val="0000FF"/>
          </a:solidFill>
          <a:latin typeface="Tahoma" charset="0"/>
          <a:ea typeface="Osaka" charset="-128"/>
          <a:cs typeface="Osaka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600">
          <a:solidFill>
            <a:srgbClr val="0000FF"/>
          </a:solidFill>
          <a:latin typeface="Tahoma" charset="0"/>
          <a:ea typeface="Osaka" charset="-128"/>
          <a:cs typeface="Osaka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600">
          <a:solidFill>
            <a:srgbClr val="0000FF"/>
          </a:solidFill>
          <a:latin typeface="Tahoma" charset="0"/>
          <a:ea typeface="Osaka" charset="-128"/>
          <a:cs typeface="Osaka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600">
          <a:solidFill>
            <a:srgbClr val="0000FF"/>
          </a:solidFill>
          <a:latin typeface="Tahoma" charset="0"/>
          <a:ea typeface="Osaka" charset="-128"/>
          <a:cs typeface="Osaka"/>
        </a:defRPr>
      </a:lvl5pPr>
      <a:lvl6pPr marL="457200" algn="l" rtl="0" fontAlgn="base">
        <a:spcBef>
          <a:spcPct val="0"/>
        </a:spcBef>
        <a:spcAft>
          <a:spcPct val="0"/>
        </a:spcAft>
        <a:defRPr sz="3600">
          <a:solidFill>
            <a:srgbClr val="0000FF"/>
          </a:solidFill>
          <a:latin typeface="Tahoma" charset="0"/>
          <a:ea typeface="Osaka" charset="-128"/>
        </a:defRPr>
      </a:lvl6pPr>
      <a:lvl7pPr marL="914400" algn="l" rtl="0" fontAlgn="base">
        <a:spcBef>
          <a:spcPct val="0"/>
        </a:spcBef>
        <a:spcAft>
          <a:spcPct val="0"/>
        </a:spcAft>
        <a:defRPr sz="3600">
          <a:solidFill>
            <a:srgbClr val="0000FF"/>
          </a:solidFill>
          <a:latin typeface="Tahoma" charset="0"/>
          <a:ea typeface="Osaka" charset="-128"/>
        </a:defRPr>
      </a:lvl7pPr>
      <a:lvl8pPr marL="1371600" algn="l" rtl="0" fontAlgn="base">
        <a:spcBef>
          <a:spcPct val="0"/>
        </a:spcBef>
        <a:spcAft>
          <a:spcPct val="0"/>
        </a:spcAft>
        <a:defRPr sz="3600">
          <a:solidFill>
            <a:srgbClr val="0000FF"/>
          </a:solidFill>
          <a:latin typeface="Tahoma" charset="0"/>
          <a:ea typeface="Osaka" charset="-128"/>
        </a:defRPr>
      </a:lvl8pPr>
      <a:lvl9pPr marL="1828800" algn="l" rtl="0" fontAlgn="base">
        <a:spcBef>
          <a:spcPct val="0"/>
        </a:spcBef>
        <a:spcAft>
          <a:spcPct val="0"/>
        </a:spcAft>
        <a:defRPr sz="3600">
          <a:solidFill>
            <a:srgbClr val="0000FF"/>
          </a:solidFill>
          <a:latin typeface="Tahoma" charset="0"/>
          <a:ea typeface="Osaka" charset="-128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+mn-ea"/>
          <a:cs typeface="Osaka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  <a:ea typeface="+mn-ea"/>
          <a:cs typeface="Osaka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  <a:ea typeface="+mn-ea"/>
          <a:cs typeface="Osaka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ea typeface="+mn-ea"/>
          <a:cs typeface="Osaka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  <a:cs typeface="Osaka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842" name="Rectangle 2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0" y="6642100"/>
            <a:ext cx="6048375" cy="215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eaLnBrk="1" hangingPunct="1">
              <a:spcBef>
                <a:spcPct val="20000"/>
              </a:spcBef>
              <a:buClr>
                <a:schemeClr val="accent1"/>
              </a:buClr>
              <a:buSzPct val="65000"/>
              <a:buFont typeface="Wingdings" panose="05000000000000000000" pitchFamily="2" charset="2"/>
              <a:buChar char="n"/>
              <a:defRPr sz="1000" i="1">
                <a:latin typeface="+mn-lt"/>
              </a:defRPr>
            </a:lvl1pPr>
          </a:lstStyle>
          <a:p>
            <a:pPr>
              <a:defRPr/>
            </a:pPr>
            <a:r>
              <a:rPr lang="en-US"/>
              <a:t>Alpaydin &amp; Christoph F. Eick: COSC 6342; Topic1</a:t>
            </a:r>
            <a:endParaRPr lang="tr-TR"/>
          </a:p>
        </p:txBody>
      </p:sp>
      <p:sp>
        <p:nvSpPr>
          <p:cNvPr id="35843" name="Rectangle 3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588125" y="6237288"/>
            <a:ext cx="21336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 eaLnBrk="1" hangingPunct="1">
              <a:spcBef>
                <a:spcPct val="20000"/>
              </a:spcBef>
              <a:buClr>
                <a:schemeClr val="accent1"/>
              </a:buClr>
              <a:buSzPct val="65000"/>
              <a:buFont typeface="Wingdings" panose="05000000000000000000" pitchFamily="2" charset="2"/>
              <a:buChar char="n"/>
              <a:defRPr sz="1400" i="1" smtClean="0"/>
            </a:lvl1pPr>
          </a:lstStyle>
          <a:p>
            <a:pPr>
              <a:defRPr/>
            </a:pPr>
            <a:fld id="{D6D398E2-CD21-4B61-B99E-3991271030BE}" type="slidenum">
              <a:rPr lang="tr-TR" altLang="en-US"/>
              <a:pPr>
                <a:defRPr/>
              </a:pPr>
              <a:t>‹#›</a:t>
            </a:fld>
            <a:endParaRPr lang="tr-TR" altLang="en-US"/>
          </a:p>
        </p:txBody>
      </p:sp>
      <p:grpSp>
        <p:nvGrpSpPr>
          <p:cNvPr id="2052" name="Group 4"/>
          <p:cNvGrpSpPr>
            <a:grpSpLocks/>
          </p:cNvGrpSpPr>
          <p:nvPr/>
        </p:nvGrpSpPr>
        <p:grpSpPr bwMode="auto">
          <a:xfrm>
            <a:off x="0" y="0"/>
            <a:ext cx="9144000" cy="546100"/>
            <a:chOff x="0" y="0"/>
            <a:chExt cx="5760" cy="344"/>
          </a:xfrm>
        </p:grpSpPr>
        <p:sp>
          <p:nvSpPr>
            <p:cNvPr id="2055" name="Rectangle 5"/>
            <p:cNvSpPr>
              <a:spLocks noChangeArrowheads="1"/>
            </p:cNvSpPr>
            <p:nvPr/>
          </p:nvSpPr>
          <p:spPr bwMode="auto">
            <a:xfrm>
              <a:off x="0" y="0"/>
              <a:ext cx="180" cy="336"/>
            </a:xfrm>
            <a:prstGeom prst="rect">
              <a:avLst/>
            </a:prstGeom>
            <a:gradFill rotWithShape="0">
              <a:gsLst>
                <a:gs pos="0">
                  <a:schemeClr val="folHlink"/>
                </a:gs>
                <a:gs pos="100000">
                  <a:schemeClr val="bg1"/>
                </a:gs>
              </a:gsLst>
              <a:lin ang="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>
                <a:spcBef>
                  <a:spcPct val="20000"/>
                </a:spcBef>
                <a:buClr>
                  <a:schemeClr val="accent1"/>
                </a:buClr>
                <a:buSzPct val="65000"/>
                <a:buFont typeface="Wingdings" panose="05000000000000000000" pitchFamily="2" charset="2"/>
                <a:buChar char="n"/>
                <a:defRPr sz="30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spcBef>
                  <a:spcPct val="20000"/>
                </a:spcBef>
                <a:buClr>
                  <a:schemeClr val="accent1"/>
                </a:buClr>
                <a:buSzPct val="65000"/>
                <a:buFont typeface="Wingdings" panose="05000000000000000000" pitchFamily="2" charset="2"/>
                <a:buChar char="n"/>
                <a:defRPr sz="30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spcBef>
                  <a:spcPct val="20000"/>
                </a:spcBef>
                <a:buClr>
                  <a:schemeClr val="accent1"/>
                </a:buClr>
                <a:buSzPct val="65000"/>
                <a:buFont typeface="Wingdings" panose="05000000000000000000" pitchFamily="2" charset="2"/>
                <a:buChar char="n"/>
                <a:defRPr sz="30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spcBef>
                  <a:spcPct val="20000"/>
                </a:spcBef>
                <a:buClr>
                  <a:schemeClr val="accent1"/>
                </a:buClr>
                <a:buSzPct val="65000"/>
                <a:buFont typeface="Wingdings" panose="05000000000000000000" pitchFamily="2" charset="2"/>
                <a:buChar char="n"/>
                <a:defRPr sz="30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spcBef>
                  <a:spcPct val="20000"/>
                </a:spcBef>
                <a:buClr>
                  <a:schemeClr val="accent1"/>
                </a:buClr>
                <a:buSzPct val="65000"/>
                <a:buFont typeface="Wingdings" panose="05000000000000000000" pitchFamily="2" charset="2"/>
                <a:buChar char="n"/>
                <a:defRPr sz="30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accent1"/>
                </a:buClr>
                <a:buSzPct val="65000"/>
                <a:buFont typeface="Wingdings" panose="05000000000000000000" pitchFamily="2" charset="2"/>
                <a:buChar char="n"/>
                <a:defRPr sz="30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accent1"/>
                </a:buClr>
                <a:buSzPct val="65000"/>
                <a:buFont typeface="Wingdings" panose="05000000000000000000" pitchFamily="2" charset="2"/>
                <a:buChar char="n"/>
                <a:defRPr sz="30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accent1"/>
                </a:buClr>
                <a:buSzPct val="65000"/>
                <a:buFont typeface="Wingdings" panose="05000000000000000000" pitchFamily="2" charset="2"/>
                <a:buChar char="n"/>
                <a:defRPr sz="30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accent1"/>
                </a:buClr>
                <a:buSzPct val="65000"/>
                <a:buFont typeface="Wingdings" panose="05000000000000000000" pitchFamily="2" charset="2"/>
                <a:buChar char="n"/>
                <a:defRPr sz="30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 eaLnBrk="1" hangingPunct="1"/>
              <a:endParaRPr lang="en-GB" altLang="en-US" sz="2400">
                <a:latin typeface="Times New Roman" panose="02020603050405020304" pitchFamily="18" charset="0"/>
              </a:endParaRPr>
            </a:p>
          </p:txBody>
        </p:sp>
        <p:sp>
          <p:nvSpPr>
            <p:cNvPr id="2056" name="Rectangle 6"/>
            <p:cNvSpPr>
              <a:spLocks noChangeArrowheads="1"/>
            </p:cNvSpPr>
            <p:nvPr/>
          </p:nvSpPr>
          <p:spPr bwMode="auto">
            <a:xfrm>
              <a:off x="260" y="85"/>
              <a:ext cx="5500" cy="173"/>
            </a:xfrm>
            <a:prstGeom prst="rect">
              <a:avLst/>
            </a:prstGeom>
            <a:gradFill rotWithShape="0">
              <a:gsLst>
                <a:gs pos="0">
                  <a:schemeClr val="bg2"/>
                </a:gs>
                <a:gs pos="100000">
                  <a:schemeClr val="bg1"/>
                </a:gs>
              </a:gsLst>
              <a:lin ang="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buClr>
                  <a:schemeClr val="accent1"/>
                </a:buClr>
                <a:buSzPct val="65000"/>
                <a:buFont typeface="Wingdings" panose="05000000000000000000" pitchFamily="2" charset="2"/>
                <a:buChar char="n"/>
                <a:defRPr sz="30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spcBef>
                  <a:spcPct val="20000"/>
                </a:spcBef>
                <a:buClr>
                  <a:schemeClr val="accent1"/>
                </a:buClr>
                <a:buSzPct val="65000"/>
                <a:buFont typeface="Wingdings" panose="05000000000000000000" pitchFamily="2" charset="2"/>
                <a:buChar char="n"/>
                <a:defRPr sz="30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spcBef>
                  <a:spcPct val="20000"/>
                </a:spcBef>
                <a:buClr>
                  <a:schemeClr val="accent1"/>
                </a:buClr>
                <a:buSzPct val="65000"/>
                <a:buFont typeface="Wingdings" panose="05000000000000000000" pitchFamily="2" charset="2"/>
                <a:buChar char="n"/>
                <a:defRPr sz="30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spcBef>
                  <a:spcPct val="20000"/>
                </a:spcBef>
                <a:buClr>
                  <a:schemeClr val="accent1"/>
                </a:buClr>
                <a:buSzPct val="65000"/>
                <a:buFont typeface="Wingdings" panose="05000000000000000000" pitchFamily="2" charset="2"/>
                <a:buChar char="n"/>
                <a:defRPr sz="30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spcBef>
                  <a:spcPct val="20000"/>
                </a:spcBef>
                <a:buClr>
                  <a:schemeClr val="accent1"/>
                </a:buClr>
                <a:buSzPct val="65000"/>
                <a:buFont typeface="Wingdings" panose="05000000000000000000" pitchFamily="2" charset="2"/>
                <a:buChar char="n"/>
                <a:defRPr sz="30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accent1"/>
                </a:buClr>
                <a:buSzPct val="65000"/>
                <a:buFont typeface="Wingdings" panose="05000000000000000000" pitchFamily="2" charset="2"/>
                <a:buChar char="n"/>
                <a:defRPr sz="30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accent1"/>
                </a:buClr>
                <a:buSzPct val="65000"/>
                <a:buFont typeface="Wingdings" panose="05000000000000000000" pitchFamily="2" charset="2"/>
                <a:buChar char="n"/>
                <a:defRPr sz="30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accent1"/>
                </a:buClr>
                <a:buSzPct val="65000"/>
                <a:buFont typeface="Wingdings" panose="05000000000000000000" pitchFamily="2" charset="2"/>
                <a:buChar char="n"/>
                <a:defRPr sz="30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accent1"/>
                </a:buClr>
                <a:buSzPct val="65000"/>
                <a:buFont typeface="Wingdings" panose="05000000000000000000" pitchFamily="2" charset="2"/>
                <a:buChar char="n"/>
                <a:defRPr sz="30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endParaRPr lang="en-GB" altLang="en-US" sz="2400">
                <a:latin typeface="Times New Roman" panose="02020603050405020304" pitchFamily="18" charset="0"/>
              </a:endParaRPr>
            </a:p>
          </p:txBody>
        </p:sp>
        <p:sp>
          <p:nvSpPr>
            <p:cNvPr id="2057" name="Rectangle 7"/>
            <p:cNvSpPr>
              <a:spLocks noChangeArrowheads="1"/>
            </p:cNvSpPr>
            <p:nvPr/>
          </p:nvSpPr>
          <p:spPr bwMode="auto">
            <a:xfrm>
              <a:off x="258" y="85"/>
              <a:ext cx="87" cy="89"/>
            </a:xfrm>
            <a:prstGeom prst="rect">
              <a:avLst/>
            </a:prstGeom>
            <a:solidFill>
              <a:schemeClr val="folHlink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buClr>
                  <a:schemeClr val="accent1"/>
                </a:buClr>
                <a:buSzPct val="65000"/>
                <a:buFont typeface="Wingdings" panose="05000000000000000000" pitchFamily="2" charset="2"/>
                <a:buChar char="n"/>
                <a:defRPr sz="30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spcBef>
                  <a:spcPct val="20000"/>
                </a:spcBef>
                <a:buClr>
                  <a:schemeClr val="accent1"/>
                </a:buClr>
                <a:buSzPct val="65000"/>
                <a:buFont typeface="Wingdings" panose="05000000000000000000" pitchFamily="2" charset="2"/>
                <a:buChar char="n"/>
                <a:defRPr sz="30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spcBef>
                  <a:spcPct val="20000"/>
                </a:spcBef>
                <a:buClr>
                  <a:schemeClr val="accent1"/>
                </a:buClr>
                <a:buSzPct val="65000"/>
                <a:buFont typeface="Wingdings" panose="05000000000000000000" pitchFamily="2" charset="2"/>
                <a:buChar char="n"/>
                <a:defRPr sz="30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spcBef>
                  <a:spcPct val="20000"/>
                </a:spcBef>
                <a:buClr>
                  <a:schemeClr val="accent1"/>
                </a:buClr>
                <a:buSzPct val="65000"/>
                <a:buFont typeface="Wingdings" panose="05000000000000000000" pitchFamily="2" charset="2"/>
                <a:buChar char="n"/>
                <a:defRPr sz="30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spcBef>
                  <a:spcPct val="20000"/>
                </a:spcBef>
                <a:buClr>
                  <a:schemeClr val="accent1"/>
                </a:buClr>
                <a:buSzPct val="65000"/>
                <a:buFont typeface="Wingdings" panose="05000000000000000000" pitchFamily="2" charset="2"/>
                <a:buChar char="n"/>
                <a:defRPr sz="30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accent1"/>
                </a:buClr>
                <a:buSzPct val="65000"/>
                <a:buFont typeface="Wingdings" panose="05000000000000000000" pitchFamily="2" charset="2"/>
                <a:buChar char="n"/>
                <a:defRPr sz="30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accent1"/>
                </a:buClr>
                <a:buSzPct val="65000"/>
                <a:buFont typeface="Wingdings" panose="05000000000000000000" pitchFamily="2" charset="2"/>
                <a:buChar char="n"/>
                <a:defRPr sz="30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accent1"/>
                </a:buClr>
                <a:buSzPct val="65000"/>
                <a:buFont typeface="Wingdings" panose="05000000000000000000" pitchFamily="2" charset="2"/>
                <a:buChar char="n"/>
                <a:defRPr sz="30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accent1"/>
                </a:buClr>
                <a:buSzPct val="65000"/>
                <a:buFont typeface="Wingdings" panose="05000000000000000000" pitchFamily="2" charset="2"/>
                <a:buChar char="n"/>
                <a:defRPr sz="30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endParaRPr lang="en-GB" altLang="en-US" sz="1800">
                <a:solidFill>
                  <a:schemeClr val="hlink"/>
                </a:solidFill>
              </a:endParaRPr>
            </a:p>
          </p:txBody>
        </p:sp>
        <p:sp>
          <p:nvSpPr>
            <p:cNvPr id="2058" name="Rectangle 8"/>
            <p:cNvSpPr>
              <a:spLocks noChangeArrowheads="1"/>
            </p:cNvSpPr>
            <p:nvPr/>
          </p:nvSpPr>
          <p:spPr bwMode="auto">
            <a:xfrm>
              <a:off x="345" y="0"/>
              <a:ext cx="88" cy="87"/>
            </a:xfrm>
            <a:prstGeom prst="rect">
              <a:avLst/>
            </a:prstGeom>
            <a:solidFill>
              <a:schemeClr val="folHlink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buClr>
                  <a:schemeClr val="accent1"/>
                </a:buClr>
                <a:buSzPct val="65000"/>
                <a:buFont typeface="Wingdings" panose="05000000000000000000" pitchFamily="2" charset="2"/>
                <a:buChar char="n"/>
                <a:defRPr sz="30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spcBef>
                  <a:spcPct val="20000"/>
                </a:spcBef>
                <a:buClr>
                  <a:schemeClr val="accent1"/>
                </a:buClr>
                <a:buSzPct val="65000"/>
                <a:buFont typeface="Wingdings" panose="05000000000000000000" pitchFamily="2" charset="2"/>
                <a:buChar char="n"/>
                <a:defRPr sz="30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spcBef>
                  <a:spcPct val="20000"/>
                </a:spcBef>
                <a:buClr>
                  <a:schemeClr val="accent1"/>
                </a:buClr>
                <a:buSzPct val="65000"/>
                <a:buFont typeface="Wingdings" panose="05000000000000000000" pitchFamily="2" charset="2"/>
                <a:buChar char="n"/>
                <a:defRPr sz="30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spcBef>
                  <a:spcPct val="20000"/>
                </a:spcBef>
                <a:buClr>
                  <a:schemeClr val="accent1"/>
                </a:buClr>
                <a:buSzPct val="65000"/>
                <a:buFont typeface="Wingdings" panose="05000000000000000000" pitchFamily="2" charset="2"/>
                <a:buChar char="n"/>
                <a:defRPr sz="30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spcBef>
                  <a:spcPct val="20000"/>
                </a:spcBef>
                <a:buClr>
                  <a:schemeClr val="accent1"/>
                </a:buClr>
                <a:buSzPct val="65000"/>
                <a:buFont typeface="Wingdings" panose="05000000000000000000" pitchFamily="2" charset="2"/>
                <a:buChar char="n"/>
                <a:defRPr sz="30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accent1"/>
                </a:buClr>
                <a:buSzPct val="65000"/>
                <a:buFont typeface="Wingdings" panose="05000000000000000000" pitchFamily="2" charset="2"/>
                <a:buChar char="n"/>
                <a:defRPr sz="30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accent1"/>
                </a:buClr>
                <a:buSzPct val="65000"/>
                <a:buFont typeface="Wingdings" panose="05000000000000000000" pitchFamily="2" charset="2"/>
                <a:buChar char="n"/>
                <a:defRPr sz="30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accent1"/>
                </a:buClr>
                <a:buSzPct val="65000"/>
                <a:buFont typeface="Wingdings" panose="05000000000000000000" pitchFamily="2" charset="2"/>
                <a:buChar char="n"/>
                <a:defRPr sz="30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accent1"/>
                </a:buClr>
                <a:buSzPct val="65000"/>
                <a:buFont typeface="Wingdings" panose="05000000000000000000" pitchFamily="2" charset="2"/>
                <a:buChar char="n"/>
                <a:defRPr sz="30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endParaRPr lang="en-GB" altLang="en-US" sz="1800">
                <a:solidFill>
                  <a:schemeClr val="hlink"/>
                </a:solidFill>
              </a:endParaRPr>
            </a:p>
          </p:txBody>
        </p:sp>
        <p:sp>
          <p:nvSpPr>
            <p:cNvPr id="2059" name="Rectangle 9"/>
            <p:cNvSpPr>
              <a:spLocks noChangeArrowheads="1"/>
            </p:cNvSpPr>
            <p:nvPr/>
          </p:nvSpPr>
          <p:spPr bwMode="auto">
            <a:xfrm>
              <a:off x="345" y="85"/>
              <a:ext cx="88" cy="89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buClr>
                  <a:schemeClr val="accent1"/>
                </a:buClr>
                <a:buSzPct val="65000"/>
                <a:buFont typeface="Wingdings" panose="05000000000000000000" pitchFamily="2" charset="2"/>
                <a:buChar char="n"/>
                <a:defRPr sz="30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spcBef>
                  <a:spcPct val="20000"/>
                </a:spcBef>
                <a:buClr>
                  <a:schemeClr val="accent1"/>
                </a:buClr>
                <a:buSzPct val="65000"/>
                <a:buFont typeface="Wingdings" panose="05000000000000000000" pitchFamily="2" charset="2"/>
                <a:buChar char="n"/>
                <a:defRPr sz="30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spcBef>
                  <a:spcPct val="20000"/>
                </a:spcBef>
                <a:buClr>
                  <a:schemeClr val="accent1"/>
                </a:buClr>
                <a:buSzPct val="65000"/>
                <a:buFont typeface="Wingdings" panose="05000000000000000000" pitchFamily="2" charset="2"/>
                <a:buChar char="n"/>
                <a:defRPr sz="30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spcBef>
                  <a:spcPct val="20000"/>
                </a:spcBef>
                <a:buClr>
                  <a:schemeClr val="accent1"/>
                </a:buClr>
                <a:buSzPct val="65000"/>
                <a:buFont typeface="Wingdings" panose="05000000000000000000" pitchFamily="2" charset="2"/>
                <a:buChar char="n"/>
                <a:defRPr sz="30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spcBef>
                  <a:spcPct val="20000"/>
                </a:spcBef>
                <a:buClr>
                  <a:schemeClr val="accent1"/>
                </a:buClr>
                <a:buSzPct val="65000"/>
                <a:buFont typeface="Wingdings" panose="05000000000000000000" pitchFamily="2" charset="2"/>
                <a:buChar char="n"/>
                <a:defRPr sz="30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accent1"/>
                </a:buClr>
                <a:buSzPct val="65000"/>
                <a:buFont typeface="Wingdings" panose="05000000000000000000" pitchFamily="2" charset="2"/>
                <a:buChar char="n"/>
                <a:defRPr sz="30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accent1"/>
                </a:buClr>
                <a:buSzPct val="65000"/>
                <a:buFont typeface="Wingdings" panose="05000000000000000000" pitchFamily="2" charset="2"/>
                <a:buChar char="n"/>
                <a:defRPr sz="30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accent1"/>
                </a:buClr>
                <a:buSzPct val="65000"/>
                <a:buFont typeface="Wingdings" panose="05000000000000000000" pitchFamily="2" charset="2"/>
                <a:buChar char="n"/>
                <a:defRPr sz="30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accent1"/>
                </a:buClr>
                <a:buSzPct val="65000"/>
                <a:buFont typeface="Wingdings" panose="05000000000000000000" pitchFamily="2" charset="2"/>
                <a:buChar char="n"/>
                <a:defRPr sz="30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endParaRPr lang="en-GB" altLang="en-US" sz="1800">
                <a:solidFill>
                  <a:schemeClr val="accent2"/>
                </a:solidFill>
              </a:endParaRPr>
            </a:p>
          </p:txBody>
        </p:sp>
        <p:sp>
          <p:nvSpPr>
            <p:cNvPr id="2060" name="Rectangle 10"/>
            <p:cNvSpPr>
              <a:spLocks noChangeArrowheads="1"/>
            </p:cNvSpPr>
            <p:nvPr/>
          </p:nvSpPr>
          <p:spPr bwMode="auto">
            <a:xfrm>
              <a:off x="173" y="173"/>
              <a:ext cx="86" cy="87"/>
            </a:xfrm>
            <a:prstGeom prst="rect">
              <a:avLst/>
            </a:prstGeom>
            <a:solidFill>
              <a:schemeClr val="folHlink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buClr>
                  <a:schemeClr val="accent1"/>
                </a:buClr>
                <a:buSzPct val="65000"/>
                <a:buFont typeface="Wingdings" panose="05000000000000000000" pitchFamily="2" charset="2"/>
                <a:buChar char="n"/>
                <a:defRPr sz="30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spcBef>
                  <a:spcPct val="20000"/>
                </a:spcBef>
                <a:buClr>
                  <a:schemeClr val="accent1"/>
                </a:buClr>
                <a:buSzPct val="65000"/>
                <a:buFont typeface="Wingdings" panose="05000000000000000000" pitchFamily="2" charset="2"/>
                <a:buChar char="n"/>
                <a:defRPr sz="30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spcBef>
                  <a:spcPct val="20000"/>
                </a:spcBef>
                <a:buClr>
                  <a:schemeClr val="accent1"/>
                </a:buClr>
                <a:buSzPct val="65000"/>
                <a:buFont typeface="Wingdings" panose="05000000000000000000" pitchFamily="2" charset="2"/>
                <a:buChar char="n"/>
                <a:defRPr sz="30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spcBef>
                  <a:spcPct val="20000"/>
                </a:spcBef>
                <a:buClr>
                  <a:schemeClr val="accent1"/>
                </a:buClr>
                <a:buSzPct val="65000"/>
                <a:buFont typeface="Wingdings" panose="05000000000000000000" pitchFamily="2" charset="2"/>
                <a:buChar char="n"/>
                <a:defRPr sz="30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spcBef>
                  <a:spcPct val="20000"/>
                </a:spcBef>
                <a:buClr>
                  <a:schemeClr val="accent1"/>
                </a:buClr>
                <a:buSzPct val="65000"/>
                <a:buFont typeface="Wingdings" panose="05000000000000000000" pitchFamily="2" charset="2"/>
                <a:buChar char="n"/>
                <a:defRPr sz="30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accent1"/>
                </a:buClr>
                <a:buSzPct val="65000"/>
                <a:buFont typeface="Wingdings" panose="05000000000000000000" pitchFamily="2" charset="2"/>
                <a:buChar char="n"/>
                <a:defRPr sz="30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accent1"/>
                </a:buClr>
                <a:buSzPct val="65000"/>
                <a:buFont typeface="Wingdings" panose="05000000000000000000" pitchFamily="2" charset="2"/>
                <a:buChar char="n"/>
                <a:defRPr sz="30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accent1"/>
                </a:buClr>
                <a:buSzPct val="65000"/>
                <a:buFont typeface="Wingdings" panose="05000000000000000000" pitchFamily="2" charset="2"/>
                <a:buChar char="n"/>
                <a:defRPr sz="30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accent1"/>
                </a:buClr>
                <a:buSzPct val="65000"/>
                <a:buFont typeface="Wingdings" panose="05000000000000000000" pitchFamily="2" charset="2"/>
                <a:buChar char="n"/>
                <a:defRPr sz="30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endParaRPr lang="en-GB" altLang="en-US" sz="1800">
                <a:solidFill>
                  <a:schemeClr val="hlink"/>
                </a:solidFill>
              </a:endParaRPr>
            </a:p>
          </p:txBody>
        </p:sp>
        <p:sp>
          <p:nvSpPr>
            <p:cNvPr id="2061" name="Rectangle 11"/>
            <p:cNvSpPr>
              <a:spLocks noChangeArrowheads="1"/>
            </p:cNvSpPr>
            <p:nvPr/>
          </p:nvSpPr>
          <p:spPr bwMode="auto">
            <a:xfrm>
              <a:off x="83" y="86"/>
              <a:ext cx="89" cy="87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buClr>
                  <a:schemeClr val="accent1"/>
                </a:buClr>
                <a:buSzPct val="65000"/>
                <a:buFont typeface="Wingdings" panose="05000000000000000000" pitchFamily="2" charset="2"/>
                <a:buChar char="n"/>
                <a:defRPr sz="30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spcBef>
                  <a:spcPct val="20000"/>
                </a:spcBef>
                <a:buClr>
                  <a:schemeClr val="accent1"/>
                </a:buClr>
                <a:buSzPct val="65000"/>
                <a:buFont typeface="Wingdings" panose="05000000000000000000" pitchFamily="2" charset="2"/>
                <a:buChar char="n"/>
                <a:defRPr sz="30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spcBef>
                  <a:spcPct val="20000"/>
                </a:spcBef>
                <a:buClr>
                  <a:schemeClr val="accent1"/>
                </a:buClr>
                <a:buSzPct val="65000"/>
                <a:buFont typeface="Wingdings" panose="05000000000000000000" pitchFamily="2" charset="2"/>
                <a:buChar char="n"/>
                <a:defRPr sz="30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spcBef>
                  <a:spcPct val="20000"/>
                </a:spcBef>
                <a:buClr>
                  <a:schemeClr val="accent1"/>
                </a:buClr>
                <a:buSzPct val="65000"/>
                <a:buFont typeface="Wingdings" panose="05000000000000000000" pitchFamily="2" charset="2"/>
                <a:buChar char="n"/>
                <a:defRPr sz="30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spcBef>
                  <a:spcPct val="20000"/>
                </a:spcBef>
                <a:buClr>
                  <a:schemeClr val="accent1"/>
                </a:buClr>
                <a:buSzPct val="65000"/>
                <a:buFont typeface="Wingdings" panose="05000000000000000000" pitchFamily="2" charset="2"/>
                <a:buChar char="n"/>
                <a:defRPr sz="30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accent1"/>
                </a:buClr>
                <a:buSzPct val="65000"/>
                <a:buFont typeface="Wingdings" panose="05000000000000000000" pitchFamily="2" charset="2"/>
                <a:buChar char="n"/>
                <a:defRPr sz="30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accent1"/>
                </a:buClr>
                <a:buSzPct val="65000"/>
                <a:buFont typeface="Wingdings" panose="05000000000000000000" pitchFamily="2" charset="2"/>
                <a:buChar char="n"/>
                <a:defRPr sz="30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accent1"/>
                </a:buClr>
                <a:buSzPct val="65000"/>
                <a:buFont typeface="Wingdings" panose="05000000000000000000" pitchFamily="2" charset="2"/>
                <a:buChar char="n"/>
                <a:defRPr sz="30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accent1"/>
                </a:buClr>
                <a:buSzPct val="65000"/>
                <a:buFont typeface="Wingdings" panose="05000000000000000000" pitchFamily="2" charset="2"/>
                <a:buChar char="n"/>
                <a:defRPr sz="30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endParaRPr lang="en-GB" altLang="en-US" sz="2400">
                <a:latin typeface="Times New Roman" panose="02020603050405020304" pitchFamily="18" charset="0"/>
              </a:endParaRPr>
            </a:p>
          </p:txBody>
        </p:sp>
        <p:sp>
          <p:nvSpPr>
            <p:cNvPr id="2062" name="Rectangle 12"/>
            <p:cNvSpPr>
              <a:spLocks noChangeArrowheads="1"/>
            </p:cNvSpPr>
            <p:nvPr/>
          </p:nvSpPr>
          <p:spPr bwMode="auto">
            <a:xfrm>
              <a:off x="258" y="171"/>
              <a:ext cx="87" cy="87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buClr>
                  <a:schemeClr val="accent1"/>
                </a:buClr>
                <a:buSzPct val="65000"/>
                <a:buFont typeface="Wingdings" panose="05000000000000000000" pitchFamily="2" charset="2"/>
                <a:buChar char="n"/>
                <a:defRPr sz="30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spcBef>
                  <a:spcPct val="20000"/>
                </a:spcBef>
                <a:buClr>
                  <a:schemeClr val="accent1"/>
                </a:buClr>
                <a:buSzPct val="65000"/>
                <a:buFont typeface="Wingdings" panose="05000000000000000000" pitchFamily="2" charset="2"/>
                <a:buChar char="n"/>
                <a:defRPr sz="30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spcBef>
                  <a:spcPct val="20000"/>
                </a:spcBef>
                <a:buClr>
                  <a:schemeClr val="accent1"/>
                </a:buClr>
                <a:buSzPct val="65000"/>
                <a:buFont typeface="Wingdings" panose="05000000000000000000" pitchFamily="2" charset="2"/>
                <a:buChar char="n"/>
                <a:defRPr sz="30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spcBef>
                  <a:spcPct val="20000"/>
                </a:spcBef>
                <a:buClr>
                  <a:schemeClr val="accent1"/>
                </a:buClr>
                <a:buSzPct val="65000"/>
                <a:buFont typeface="Wingdings" panose="05000000000000000000" pitchFamily="2" charset="2"/>
                <a:buChar char="n"/>
                <a:defRPr sz="30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spcBef>
                  <a:spcPct val="20000"/>
                </a:spcBef>
                <a:buClr>
                  <a:schemeClr val="accent1"/>
                </a:buClr>
                <a:buSzPct val="65000"/>
                <a:buFont typeface="Wingdings" panose="05000000000000000000" pitchFamily="2" charset="2"/>
                <a:buChar char="n"/>
                <a:defRPr sz="30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accent1"/>
                </a:buClr>
                <a:buSzPct val="65000"/>
                <a:buFont typeface="Wingdings" panose="05000000000000000000" pitchFamily="2" charset="2"/>
                <a:buChar char="n"/>
                <a:defRPr sz="30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accent1"/>
                </a:buClr>
                <a:buSzPct val="65000"/>
                <a:buFont typeface="Wingdings" panose="05000000000000000000" pitchFamily="2" charset="2"/>
                <a:buChar char="n"/>
                <a:defRPr sz="30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accent1"/>
                </a:buClr>
                <a:buSzPct val="65000"/>
                <a:buFont typeface="Wingdings" panose="05000000000000000000" pitchFamily="2" charset="2"/>
                <a:buChar char="n"/>
                <a:defRPr sz="30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accent1"/>
                </a:buClr>
                <a:buSzPct val="65000"/>
                <a:buFont typeface="Wingdings" panose="05000000000000000000" pitchFamily="2" charset="2"/>
                <a:buChar char="n"/>
                <a:defRPr sz="30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endParaRPr lang="en-GB" altLang="en-US" sz="1800">
                <a:solidFill>
                  <a:schemeClr val="accent2"/>
                </a:solidFill>
              </a:endParaRPr>
            </a:p>
          </p:txBody>
        </p:sp>
        <p:sp>
          <p:nvSpPr>
            <p:cNvPr id="2063" name="Rectangle 13"/>
            <p:cNvSpPr>
              <a:spLocks noChangeArrowheads="1"/>
            </p:cNvSpPr>
            <p:nvPr/>
          </p:nvSpPr>
          <p:spPr bwMode="auto">
            <a:xfrm>
              <a:off x="173" y="258"/>
              <a:ext cx="86" cy="86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buClr>
                  <a:schemeClr val="accent1"/>
                </a:buClr>
                <a:buSzPct val="65000"/>
                <a:buFont typeface="Wingdings" panose="05000000000000000000" pitchFamily="2" charset="2"/>
                <a:buChar char="n"/>
                <a:defRPr sz="30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spcBef>
                  <a:spcPct val="20000"/>
                </a:spcBef>
                <a:buClr>
                  <a:schemeClr val="accent1"/>
                </a:buClr>
                <a:buSzPct val="65000"/>
                <a:buFont typeface="Wingdings" panose="05000000000000000000" pitchFamily="2" charset="2"/>
                <a:buChar char="n"/>
                <a:defRPr sz="30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spcBef>
                  <a:spcPct val="20000"/>
                </a:spcBef>
                <a:buClr>
                  <a:schemeClr val="accent1"/>
                </a:buClr>
                <a:buSzPct val="65000"/>
                <a:buFont typeface="Wingdings" panose="05000000000000000000" pitchFamily="2" charset="2"/>
                <a:buChar char="n"/>
                <a:defRPr sz="30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spcBef>
                  <a:spcPct val="20000"/>
                </a:spcBef>
                <a:buClr>
                  <a:schemeClr val="accent1"/>
                </a:buClr>
                <a:buSzPct val="65000"/>
                <a:buFont typeface="Wingdings" panose="05000000000000000000" pitchFamily="2" charset="2"/>
                <a:buChar char="n"/>
                <a:defRPr sz="30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spcBef>
                  <a:spcPct val="20000"/>
                </a:spcBef>
                <a:buClr>
                  <a:schemeClr val="accent1"/>
                </a:buClr>
                <a:buSzPct val="65000"/>
                <a:buFont typeface="Wingdings" panose="05000000000000000000" pitchFamily="2" charset="2"/>
                <a:buChar char="n"/>
                <a:defRPr sz="30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accent1"/>
                </a:buClr>
                <a:buSzPct val="65000"/>
                <a:buFont typeface="Wingdings" panose="05000000000000000000" pitchFamily="2" charset="2"/>
                <a:buChar char="n"/>
                <a:defRPr sz="30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accent1"/>
                </a:buClr>
                <a:buSzPct val="65000"/>
                <a:buFont typeface="Wingdings" panose="05000000000000000000" pitchFamily="2" charset="2"/>
                <a:buChar char="n"/>
                <a:defRPr sz="30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accent1"/>
                </a:buClr>
                <a:buSzPct val="65000"/>
                <a:buFont typeface="Wingdings" panose="05000000000000000000" pitchFamily="2" charset="2"/>
                <a:buChar char="n"/>
                <a:defRPr sz="30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accent1"/>
                </a:buClr>
                <a:buSzPct val="65000"/>
                <a:buFont typeface="Wingdings" panose="05000000000000000000" pitchFamily="2" charset="2"/>
                <a:buChar char="n"/>
                <a:defRPr sz="30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endParaRPr lang="en-GB" altLang="en-US" sz="1800">
                <a:solidFill>
                  <a:schemeClr val="accent2"/>
                </a:solidFill>
              </a:endParaRPr>
            </a:p>
          </p:txBody>
        </p:sp>
      </p:grpSp>
      <p:sp>
        <p:nvSpPr>
          <p:cNvPr id="2053" name="Rectangle 14"/>
          <p:cNvSpPr>
            <a:spLocks noGrp="1" noChangeArrowheads="1"/>
          </p:cNvSpPr>
          <p:nvPr>
            <p:ph type="title"/>
          </p:nvPr>
        </p:nvSpPr>
        <p:spPr bwMode="auto">
          <a:xfrm>
            <a:off x="457200" y="457200"/>
            <a:ext cx="8229600" cy="1371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tr-TR" altLang="en-US" smtClean="0"/>
              <a:t>Click to edit Master title style</a:t>
            </a:r>
          </a:p>
        </p:txBody>
      </p:sp>
      <p:sp>
        <p:nvSpPr>
          <p:cNvPr id="2054" name="Rectangle 15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981200"/>
            <a:ext cx="8229600" cy="3886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tr-TR" altLang="en-US" smtClean="0"/>
              <a:t>Click to edit Master text styles</a:t>
            </a:r>
          </a:p>
          <a:p>
            <a:pPr lvl="1"/>
            <a:r>
              <a:rPr lang="tr-TR" altLang="en-US" smtClean="0"/>
              <a:t>Second level</a:t>
            </a:r>
          </a:p>
          <a:p>
            <a:pPr lvl="2"/>
            <a:r>
              <a:rPr lang="tr-TR" altLang="en-US" smtClean="0"/>
              <a:t>Third level</a:t>
            </a:r>
          </a:p>
          <a:p>
            <a:pPr lvl="3"/>
            <a:r>
              <a:rPr lang="tr-TR" altLang="en-US" smtClean="0"/>
              <a:t>Fourth level</a:t>
            </a:r>
          </a:p>
          <a:p>
            <a:pPr lvl="4"/>
            <a:r>
              <a:rPr lang="tr-TR" altLang="en-US" smtClean="0"/>
              <a:t>Fifth level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896" r:id="rId1"/>
    <p:sldLayoutId id="2147483897" r:id="rId2"/>
    <p:sldLayoutId id="2147483898" r:id="rId3"/>
  </p:sldLayoutIdLst>
  <p:hf hd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4000" i="1">
          <a:solidFill>
            <a:schemeClr val="bg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000" i="1">
          <a:solidFill>
            <a:schemeClr val="bg2"/>
          </a:solidFill>
          <a:latin typeface="Lucida Bright" pitchFamily="18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000" i="1">
          <a:solidFill>
            <a:schemeClr val="bg2"/>
          </a:solidFill>
          <a:latin typeface="Lucida Bright" pitchFamily="18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000" i="1">
          <a:solidFill>
            <a:schemeClr val="bg2"/>
          </a:solidFill>
          <a:latin typeface="Lucida Bright" pitchFamily="18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000" i="1">
          <a:solidFill>
            <a:schemeClr val="bg2"/>
          </a:solidFill>
          <a:latin typeface="Lucida Bright" pitchFamily="18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4000" i="1">
          <a:solidFill>
            <a:schemeClr val="bg2"/>
          </a:solidFill>
          <a:latin typeface="Lucida Bright" pitchFamily="18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4000" i="1">
          <a:solidFill>
            <a:schemeClr val="bg2"/>
          </a:solidFill>
          <a:latin typeface="Lucida Bright" pitchFamily="18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4000" i="1">
          <a:solidFill>
            <a:schemeClr val="bg2"/>
          </a:solidFill>
          <a:latin typeface="Lucida Bright" pitchFamily="18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4000" i="1">
          <a:solidFill>
            <a:schemeClr val="bg2"/>
          </a:solidFill>
          <a:latin typeface="Lucida Bright" pitchFamily="18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SzPct val="75000"/>
        <a:buFont typeface="Wingdings" panose="05000000000000000000" pitchFamily="2" charset="2"/>
        <a:buChar char="n"/>
        <a:defRPr sz="24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SzPct val="80000"/>
        <a:buFont typeface="Wingdings" panose="05000000000000000000" pitchFamily="2" charset="2"/>
        <a:buChar char="¨"/>
        <a:defRPr sz="2000">
          <a:solidFill>
            <a:schemeClr val="tx1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SzPct val="65000"/>
        <a:buFont typeface="Wingdings" panose="05000000000000000000" pitchFamily="2" charset="2"/>
        <a:buChar char="n"/>
        <a:defRPr sz="2400">
          <a:solidFill>
            <a:schemeClr val="tx1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SzPct val="70000"/>
        <a:buFont typeface="Wingdings" panose="05000000000000000000" pitchFamily="2" charset="2"/>
        <a:buChar char="¨"/>
        <a:defRPr sz="2000">
          <a:solidFill>
            <a:schemeClr val="tx1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Font typeface="Wingdings" panose="05000000000000000000" pitchFamily="2" charset="2"/>
        <a:buChar char="§"/>
        <a:defRPr sz="2000">
          <a:solidFill>
            <a:schemeClr val="tx1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lr>
          <a:schemeClr val="bg2"/>
        </a:buClr>
        <a:buFont typeface="Wingdings" pitchFamily="2" charset="2"/>
        <a:buChar char="§"/>
        <a:defRPr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lr>
          <a:schemeClr val="bg2"/>
        </a:buClr>
        <a:buFont typeface="Wingdings" pitchFamily="2" charset="2"/>
        <a:buChar char="§"/>
        <a:defRPr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lr>
          <a:schemeClr val="bg2"/>
        </a:buClr>
        <a:buFont typeface="Wingdings" pitchFamily="2" charset="2"/>
        <a:buChar char="§"/>
        <a:defRPr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lr>
          <a:schemeClr val="bg2"/>
        </a:buClr>
        <a:buFont typeface="Wingdings" pitchFamily="2" charset="2"/>
        <a:buChar char="§"/>
        <a:defRPr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0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57200" y="277813"/>
            <a:ext cx="8229600" cy="1139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zh-CN" smtClean="0"/>
              <a:t>Click to edit Master title style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600200"/>
            <a:ext cx="8229600" cy="4530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zh-CN" smtClean="0"/>
              <a:t>Click to edit Master text styles</a:t>
            </a:r>
          </a:p>
          <a:p>
            <a:pPr lvl="1"/>
            <a:r>
              <a:rPr lang="en-US" altLang="zh-CN" smtClean="0"/>
              <a:t>Second level</a:t>
            </a:r>
          </a:p>
          <a:p>
            <a:pPr lvl="2"/>
            <a:r>
              <a:rPr lang="en-US" altLang="zh-CN" smtClean="0"/>
              <a:t>Third level</a:t>
            </a:r>
          </a:p>
          <a:p>
            <a:pPr lvl="3"/>
            <a:r>
              <a:rPr lang="en-US" altLang="zh-CN" smtClean="0"/>
              <a:t>Fourth level</a:t>
            </a:r>
          </a:p>
          <a:p>
            <a:pPr lvl="4"/>
            <a:r>
              <a:rPr lang="en-US" altLang="zh-CN" smtClean="0"/>
              <a:t>Fifth level</a:t>
            </a:r>
          </a:p>
        </p:txBody>
      </p:sp>
      <p:sp>
        <p:nvSpPr>
          <p:cNvPr id="224260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57200" y="6243638"/>
            <a:ext cx="21336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l" eaLnBrk="1" hangingPunct="1">
              <a:defRPr sz="1200">
                <a:latin typeface="Garamond" panose="02020404030301010803" pitchFamily="18" charset="0"/>
                <a:ea typeface="宋体" panose="02010600030101010101" pitchFamily="2" charset="-122"/>
              </a:defRPr>
            </a:lvl1pPr>
          </a:lstStyle>
          <a:p>
            <a:pPr>
              <a:defRPr/>
            </a:pPr>
            <a:endParaRPr lang="en-US" altLang="zh-CN">
              <a:solidFill>
                <a:srgbClr val="000000"/>
              </a:solidFill>
            </a:endParaRPr>
          </a:p>
        </p:txBody>
      </p:sp>
      <p:sp>
        <p:nvSpPr>
          <p:cNvPr id="224261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124200" y="6248400"/>
            <a:ext cx="28956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ctr" eaLnBrk="1" hangingPunct="1">
              <a:defRPr sz="1200">
                <a:latin typeface="Garamond" panose="02020404030301010803" pitchFamily="18" charset="0"/>
                <a:ea typeface="宋体" panose="02010600030101010101" pitchFamily="2" charset="-122"/>
              </a:defRPr>
            </a:lvl1pPr>
          </a:lstStyle>
          <a:p>
            <a:pPr>
              <a:defRPr/>
            </a:pPr>
            <a:endParaRPr lang="en-US" altLang="zh-CN">
              <a:solidFill>
                <a:srgbClr val="000000"/>
              </a:solidFill>
            </a:endParaRPr>
          </a:p>
        </p:txBody>
      </p:sp>
      <p:sp>
        <p:nvSpPr>
          <p:cNvPr id="224262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553200" y="6243638"/>
            <a:ext cx="21336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1200">
                <a:latin typeface="Garamond" panose="02020404030301010803" pitchFamily="18" charset="0"/>
                <a:ea typeface="宋体" panose="02010600030101010101" pitchFamily="2" charset="-122"/>
              </a:defRPr>
            </a:lvl1pPr>
          </a:lstStyle>
          <a:p>
            <a:pPr>
              <a:defRPr/>
            </a:pPr>
            <a:fld id="{59645656-8BF0-4A46-8B83-05BBDCD18A68}" type="slidenum">
              <a:rPr lang="en-US" altLang="zh-CN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zh-CN">
              <a:solidFill>
                <a:srgbClr val="000000"/>
              </a:solidFill>
            </a:endParaRPr>
          </a:p>
        </p:txBody>
      </p:sp>
      <p:sp>
        <p:nvSpPr>
          <p:cNvPr id="224263" name="Freeform 7"/>
          <p:cNvSpPr>
            <a:spLocks noChangeArrowheads="1"/>
          </p:cNvSpPr>
          <p:nvPr/>
        </p:nvSpPr>
        <p:spPr bwMode="auto">
          <a:xfrm>
            <a:off x="381000" y="228600"/>
            <a:ext cx="8229600" cy="609600"/>
          </a:xfrm>
          <a:custGeom>
            <a:avLst/>
            <a:gdLst/>
            <a:ahLst/>
            <a:cxnLst>
              <a:cxn ang="0">
                <a:pos x="0" y="1000"/>
              </a:cxn>
              <a:cxn ang="0">
                <a:pos x="0" y="0"/>
              </a:cxn>
              <a:cxn ang="0">
                <a:pos x="1000" y="0"/>
              </a:cxn>
            </a:cxnLst>
            <a:rect l="0" t="0" r="r" b="b"/>
            <a:pathLst>
              <a:path w="1000" h="1000">
                <a:moveTo>
                  <a:pt x="0" y="1000"/>
                </a:moveTo>
                <a:lnTo>
                  <a:pt x="0" y="0"/>
                </a:lnTo>
                <a:lnTo>
                  <a:pt x="1000" y="0"/>
                </a:lnTo>
              </a:path>
            </a:pathLst>
          </a:custGeom>
          <a:noFill/>
          <a:ln w="19050" cap="flat" cmpd="sng">
            <a:solidFill>
              <a:schemeClr val="accent1"/>
            </a:solidFill>
            <a:prstDash val="solid"/>
            <a:miter lim="800000"/>
            <a:headEnd/>
            <a:tailEnd/>
          </a:ln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algn="ctr" eaLnBrk="1" hangingPunct="1">
              <a:defRPr/>
            </a:pPr>
            <a:endParaRPr lang="en-US" altLang="en-US" sz="1800" smtClean="0">
              <a:solidFill>
                <a:srgbClr val="000000"/>
              </a:solidFill>
            </a:endParaRPr>
          </a:p>
        </p:txBody>
      </p:sp>
      <p:sp>
        <p:nvSpPr>
          <p:cNvPr id="1032" name="Line 8"/>
          <p:cNvSpPr>
            <a:spLocks noChangeShapeType="1"/>
          </p:cNvSpPr>
          <p:nvPr/>
        </p:nvSpPr>
        <p:spPr bwMode="auto">
          <a:xfrm>
            <a:off x="457200" y="6172200"/>
            <a:ext cx="8229600" cy="0"/>
          </a:xfrm>
          <a:prstGeom prst="line">
            <a:avLst/>
          </a:prstGeom>
          <a:noFill/>
          <a:ln w="19050">
            <a:solidFill>
              <a:schemeClr val="accent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sz="1800" smtClean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211073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28" r:id="rId1"/>
    <p:sldLayoutId id="2147484129" r:id="rId2"/>
    <p:sldLayoutId id="2147484130" r:id="rId3"/>
    <p:sldLayoutId id="2147484131" r:id="rId4"/>
    <p:sldLayoutId id="2147484132" r:id="rId5"/>
    <p:sldLayoutId id="2147484133" r:id="rId6"/>
    <p:sldLayoutId id="2147484134" r:id="rId7"/>
    <p:sldLayoutId id="2147484135" r:id="rId8"/>
    <p:sldLayoutId id="2147484136" r:id="rId9"/>
    <p:sldLayoutId id="2147484137" r:id="rId10"/>
    <p:sldLayoutId id="2147484138" r:id="rId11"/>
    <p:sldLayoutId id="2147484139" r:id="rId12"/>
    <p:sldLayoutId id="2147484140" r:id="rId13"/>
  </p:sldLayoutIdLst>
  <p:timing>
    <p:tnLst>
      <p:par>
        <p:cTn id="1" dur="indefinite" restart="never" nodeType="tmRoot"/>
      </p:par>
    </p:tnLst>
  </p:timing>
  <p:txStyles>
    <p:titleStyle>
      <a:lvl1pPr algn="l" rtl="0" eaLnBrk="0" fontAlgn="base" hangingPunct="0">
        <a:spcBef>
          <a:spcPct val="0"/>
        </a:spcBef>
        <a:spcAft>
          <a:spcPct val="0"/>
        </a:spcAft>
        <a:defRPr sz="4200">
          <a:solidFill>
            <a:schemeClr val="tx2"/>
          </a:solidFill>
          <a:latin typeface="+mj-lt"/>
          <a:ea typeface="SimSun" panose="02010600030101010101" pitchFamily="2" charset="-122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200">
          <a:solidFill>
            <a:schemeClr val="tx2"/>
          </a:solidFill>
          <a:latin typeface="Garamond" pitchFamily="18" charset="0"/>
          <a:ea typeface="SimSun" panose="02010600030101010101" pitchFamily="2" charset="-122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200">
          <a:solidFill>
            <a:schemeClr val="tx2"/>
          </a:solidFill>
          <a:latin typeface="Garamond" pitchFamily="18" charset="0"/>
          <a:ea typeface="SimSun" panose="02010600030101010101" pitchFamily="2" charset="-122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200">
          <a:solidFill>
            <a:schemeClr val="tx2"/>
          </a:solidFill>
          <a:latin typeface="Garamond" pitchFamily="18" charset="0"/>
          <a:ea typeface="SimSun" panose="02010600030101010101" pitchFamily="2" charset="-122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200">
          <a:solidFill>
            <a:schemeClr val="tx2"/>
          </a:solidFill>
          <a:latin typeface="Garamond" pitchFamily="18" charset="0"/>
          <a:ea typeface="SimSun" panose="02010600030101010101" pitchFamily="2" charset="-122"/>
        </a:defRPr>
      </a:lvl5pPr>
      <a:lvl6pPr marL="457200" algn="l" rtl="0" fontAlgn="base">
        <a:spcBef>
          <a:spcPct val="0"/>
        </a:spcBef>
        <a:spcAft>
          <a:spcPct val="0"/>
        </a:spcAft>
        <a:defRPr sz="4200">
          <a:solidFill>
            <a:schemeClr val="tx2"/>
          </a:solidFill>
          <a:latin typeface="Garamond" pitchFamily="18" charset="0"/>
          <a:ea typeface="宋体" pitchFamily="2" charset="-122"/>
        </a:defRPr>
      </a:lvl6pPr>
      <a:lvl7pPr marL="914400" algn="l" rtl="0" fontAlgn="base">
        <a:spcBef>
          <a:spcPct val="0"/>
        </a:spcBef>
        <a:spcAft>
          <a:spcPct val="0"/>
        </a:spcAft>
        <a:defRPr sz="4200">
          <a:solidFill>
            <a:schemeClr val="tx2"/>
          </a:solidFill>
          <a:latin typeface="Garamond" pitchFamily="18" charset="0"/>
          <a:ea typeface="宋体" pitchFamily="2" charset="-122"/>
        </a:defRPr>
      </a:lvl7pPr>
      <a:lvl8pPr marL="1371600" algn="l" rtl="0" fontAlgn="base">
        <a:spcBef>
          <a:spcPct val="0"/>
        </a:spcBef>
        <a:spcAft>
          <a:spcPct val="0"/>
        </a:spcAft>
        <a:defRPr sz="4200">
          <a:solidFill>
            <a:schemeClr val="tx2"/>
          </a:solidFill>
          <a:latin typeface="Garamond" pitchFamily="18" charset="0"/>
          <a:ea typeface="宋体" pitchFamily="2" charset="-122"/>
        </a:defRPr>
      </a:lvl8pPr>
      <a:lvl9pPr marL="1828800" algn="l" rtl="0" fontAlgn="base">
        <a:spcBef>
          <a:spcPct val="0"/>
        </a:spcBef>
        <a:spcAft>
          <a:spcPct val="0"/>
        </a:spcAft>
        <a:defRPr sz="4200">
          <a:solidFill>
            <a:schemeClr val="tx2"/>
          </a:solidFill>
          <a:latin typeface="Garamond" pitchFamily="18" charset="0"/>
          <a:ea typeface="宋体" pitchFamily="2" charset="-122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lr>
          <a:schemeClr val="accent1"/>
        </a:buClr>
        <a:buSzPct val="65000"/>
        <a:buFont typeface="Wingdings" panose="05000000000000000000" pitchFamily="2" charset="2"/>
        <a:buChar char="n"/>
        <a:defRPr sz="3000">
          <a:solidFill>
            <a:schemeClr val="tx1"/>
          </a:solidFill>
          <a:latin typeface="+mn-lt"/>
          <a:ea typeface="SimSun" panose="02010600030101010101" pitchFamily="2" charset="-122"/>
          <a:cs typeface="+mn-cs"/>
        </a:defRPr>
      </a:lvl1pPr>
      <a:lvl2pPr marL="669925" indent="-325438" algn="l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SzPct val="60000"/>
        <a:buFont typeface="Wingdings" panose="05000000000000000000" pitchFamily="2" charset="2"/>
        <a:buChar char="q"/>
        <a:defRPr sz="2600">
          <a:solidFill>
            <a:schemeClr val="tx1"/>
          </a:solidFill>
          <a:latin typeface="+mn-lt"/>
          <a:ea typeface="SimSun" panose="02010600030101010101" pitchFamily="2" charset="-122"/>
        </a:defRPr>
      </a:lvl2pPr>
      <a:lvl3pPr marL="1022350" indent="-350838" algn="l" rtl="0" eaLnBrk="0" fontAlgn="base" hangingPunct="0">
        <a:spcBef>
          <a:spcPct val="20000"/>
        </a:spcBef>
        <a:spcAft>
          <a:spcPct val="0"/>
        </a:spcAft>
        <a:buClr>
          <a:schemeClr val="accent1"/>
        </a:buClr>
        <a:buSzPct val="65000"/>
        <a:buFont typeface="Wingdings" panose="05000000000000000000" pitchFamily="2" charset="2"/>
        <a:buChar char="n"/>
        <a:defRPr sz="2200">
          <a:solidFill>
            <a:schemeClr val="tx1"/>
          </a:solidFill>
          <a:latin typeface="+mn-lt"/>
          <a:ea typeface="SimSun" panose="02010600030101010101" pitchFamily="2" charset="-122"/>
        </a:defRPr>
      </a:lvl3pPr>
      <a:lvl4pPr marL="1339850" indent="-315913" algn="l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SzPct val="70000"/>
        <a:buFont typeface="Wingdings" panose="05000000000000000000" pitchFamily="2" charset="2"/>
        <a:buChar char="q"/>
        <a:defRPr sz="2000">
          <a:solidFill>
            <a:schemeClr val="tx1"/>
          </a:solidFill>
          <a:latin typeface="+mn-lt"/>
          <a:ea typeface="SimSun" panose="02010600030101010101" pitchFamily="2" charset="-122"/>
        </a:defRPr>
      </a:lvl4pPr>
      <a:lvl5pPr marL="1681163" indent="-339725" algn="l" rtl="0" eaLnBrk="0" fontAlgn="base" hangingPunct="0">
        <a:spcBef>
          <a:spcPct val="20000"/>
        </a:spcBef>
        <a:spcAft>
          <a:spcPct val="0"/>
        </a:spcAft>
        <a:buClr>
          <a:schemeClr val="accent1"/>
        </a:buClr>
        <a:buSzPct val="75000"/>
        <a:buFont typeface="Wingdings" panose="05000000000000000000" pitchFamily="2" charset="2"/>
        <a:buChar char="§"/>
        <a:defRPr sz="2000">
          <a:solidFill>
            <a:schemeClr val="tx1"/>
          </a:solidFill>
          <a:latin typeface="+mn-lt"/>
          <a:ea typeface="SimSun" panose="02010600030101010101" pitchFamily="2" charset="-122"/>
        </a:defRPr>
      </a:lvl5pPr>
      <a:lvl6pPr marL="2138363" indent="-339725" algn="l" rtl="0" fontAlgn="base">
        <a:spcBef>
          <a:spcPct val="20000"/>
        </a:spcBef>
        <a:spcAft>
          <a:spcPct val="0"/>
        </a:spcAft>
        <a:buClr>
          <a:schemeClr val="accent1"/>
        </a:buClr>
        <a:buSzPct val="75000"/>
        <a:buFont typeface="Wingdings" pitchFamily="2" charset="2"/>
        <a:buChar char="§"/>
        <a:defRPr sz="2000">
          <a:solidFill>
            <a:schemeClr val="tx1"/>
          </a:solidFill>
          <a:latin typeface="+mn-lt"/>
          <a:ea typeface="+mn-ea"/>
        </a:defRPr>
      </a:lvl6pPr>
      <a:lvl7pPr marL="2595563" indent="-339725" algn="l" rtl="0" fontAlgn="base">
        <a:spcBef>
          <a:spcPct val="20000"/>
        </a:spcBef>
        <a:spcAft>
          <a:spcPct val="0"/>
        </a:spcAft>
        <a:buClr>
          <a:schemeClr val="accent1"/>
        </a:buClr>
        <a:buSzPct val="75000"/>
        <a:buFont typeface="Wingdings" pitchFamily="2" charset="2"/>
        <a:buChar char="§"/>
        <a:defRPr sz="2000">
          <a:solidFill>
            <a:schemeClr val="tx1"/>
          </a:solidFill>
          <a:latin typeface="+mn-lt"/>
          <a:ea typeface="+mn-ea"/>
        </a:defRPr>
      </a:lvl7pPr>
      <a:lvl8pPr marL="3052763" indent="-339725" algn="l" rtl="0" fontAlgn="base">
        <a:spcBef>
          <a:spcPct val="20000"/>
        </a:spcBef>
        <a:spcAft>
          <a:spcPct val="0"/>
        </a:spcAft>
        <a:buClr>
          <a:schemeClr val="accent1"/>
        </a:buClr>
        <a:buSzPct val="75000"/>
        <a:buFont typeface="Wingdings" pitchFamily="2" charset="2"/>
        <a:buChar char="§"/>
        <a:defRPr sz="2000">
          <a:solidFill>
            <a:schemeClr val="tx1"/>
          </a:solidFill>
          <a:latin typeface="+mn-lt"/>
          <a:ea typeface="+mn-ea"/>
        </a:defRPr>
      </a:lvl8pPr>
      <a:lvl9pPr marL="3509963" indent="-339725" algn="l" rtl="0" fontAlgn="base">
        <a:spcBef>
          <a:spcPct val="20000"/>
        </a:spcBef>
        <a:spcAft>
          <a:spcPct val="0"/>
        </a:spcAft>
        <a:buClr>
          <a:schemeClr val="accent1"/>
        </a:buClr>
        <a:buSzPct val="75000"/>
        <a:buFont typeface="Wingdings" pitchFamily="2" charset="2"/>
        <a:buChar char="§"/>
        <a:defRPr sz="20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9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1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2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fld id="{EF62A15A-FF55-4226-93C9-8EE5BB3F5944}" type="datetimeFigureOut">
              <a:rPr lang="en-US" smtClean="0">
                <a:solidFill>
                  <a:prstClr val="black">
                    <a:tint val="75000"/>
                  </a:prstClr>
                </a:solidFill>
                <a:latin typeface="Times New Roman"/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t>2/26/2019</a:t>
            </a:fld>
            <a:endParaRPr lang="en-US">
              <a:solidFill>
                <a:prstClr val="black">
                  <a:tint val="75000"/>
                </a:prstClr>
              </a:solidFill>
              <a:latin typeface="Times New Roman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2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black">
                  <a:tint val="75000"/>
                </a:prstClr>
              </a:solidFill>
              <a:latin typeface="Times New Roman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2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fld id="{ED4F316C-6D24-4AA5-9A96-0F7761484A51}" type="slidenum">
              <a:rPr lang="en-US" smtClean="0">
                <a:solidFill>
                  <a:prstClr val="black">
                    <a:tint val="75000"/>
                  </a:prstClr>
                </a:solidFill>
                <a:latin typeface="Times New Roman"/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>
              <a:solidFill>
                <a:prstClr val="black">
                  <a:tint val="75000"/>
                </a:prstClr>
              </a:solidFill>
              <a:latin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415586000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42" r:id="rId1"/>
    <p:sldLayoutId id="2147484143" r:id="rId2"/>
    <p:sldLayoutId id="2147484144" r:id="rId3"/>
    <p:sldLayoutId id="2147484145" r:id="rId4"/>
    <p:sldLayoutId id="2147484146" r:id="rId5"/>
    <p:sldLayoutId id="2147484147" r:id="rId6"/>
    <p:sldLayoutId id="2147484148" r:id="rId7"/>
    <p:sldLayoutId id="2147484149" r:id="rId8"/>
    <p:sldLayoutId id="2147484150" r:id="rId9"/>
    <p:sldLayoutId id="2147484151" r:id="rId10"/>
    <p:sldLayoutId id="2147484152" r:id="rId11"/>
    <p:sldLayoutId id="2147484153" r:id="rId12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9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1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2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fld id="{EF62A15A-FF55-4226-93C9-8EE5BB3F5944}" type="datetimeFigureOut">
              <a:rPr lang="en-US" smtClean="0">
                <a:solidFill>
                  <a:prstClr val="black">
                    <a:tint val="75000"/>
                  </a:prstClr>
                </a:solidFill>
                <a:latin typeface="Times New Roman"/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t>2/26/2019</a:t>
            </a:fld>
            <a:endParaRPr lang="en-US">
              <a:solidFill>
                <a:prstClr val="black">
                  <a:tint val="75000"/>
                </a:prstClr>
              </a:solidFill>
              <a:latin typeface="Times New Roman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2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black">
                  <a:tint val="75000"/>
                </a:prstClr>
              </a:solidFill>
              <a:latin typeface="Times New Roman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2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fld id="{ED4F316C-6D24-4AA5-9A96-0F7761484A51}" type="slidenum">
              <a:rPr lang="en-US" smtClean="0">
                <a:solidFill>
                  <a:prstClr val="black">
                    <a:tint val="75000"/>
                  </a:prstClr>
                </a:solidFill>
                <a:latin typeface="Times New Roman"/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>
              <a:solidFill>
                <a:prstClr val="black">
                  <a:tint val="75000"/>
                </a:prstClr>
              </a:solidFill>
              <a:latin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179359044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55" r:id="rId1"/>
    <p:sldLayoutId id="2147484156" r:id="rId2"/>
    <p:sldLayoutId id="2147484157" r:id="rId3"/>
    <p:sldLayoutId id="2147484158" r:id="rId4"/>
    <p:sldLayoutId id="2147484159" r:id="rId5"/>
    <p:sldLayoutId id="2147484160" r:id="rId6"/>
    <p:sldLayoutId id="2147484161" r:id="rId7"/>
    <p:sldLayoutId id="2147484162" r:id="rId8"/>
    <p:sldLayoutId id="2147484163" r:id="rId9"/>
    <p:sldLayoutId id="2147484164" r:id="rId10"/>
    <p:sldLayoutId id="2147484165" r:id="rId11"/>
    <p:sldLayoutId id="2147484166" r:id="rId12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Click to edit Master title style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Click to edit Master text styles</a:t>
            </a:r>
          </a:p>
          <a:p>
            <a:pPr lvl="1"/>
            <a:r>
              <a:rPr lang="en-US" altLang="en-US" smtClean="0"/>
              <a:t>Second level</a:t>
            </a:r>
          </a:p>
          <a:p>
            <a:pPr lvl="2"/>
            <a:r>
              <a:rPr lang="en-US" altLang="en-US" smtClean="0"/>
              <a:t>Third level</a:t>
            </a:r>
          </a:p>
          <a:p>
            <a:pPr lvl="3"/>
            <a:r>
              <a:rPr lang="en-US" altLang="en-US" smtClean="0"/>
              <a:t>Fourth level</a:t>
            </a:r>
          </a:p>
          <a:p>
            <a:pPr lvl="4"/>
            <a:r>
              <a:rPr lang="en-US" altLang="en-US" smtClean="0"/>
              <a:t>Fifth level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57200" y="6245225"/>
            <a:ext cx="2133600" cy="476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400"/>
            </a:lvl1pPr>
          </a:lstStyle>
          <a:p>
            <a:pPr eaLnBrk="1" hangingPunct="1"/>
            <a:endParaRPr lang="en-US" altLang="en-US" smtClean="0">
              <a:solidFill>
                <a:srgbClr val="000000"/>
              </a:solidFill>
            </a:endParaRPr>
          </a:p>
        </p:txBody>
      </p:sp>
      <p:sp>
        <p:nvSpPr>
          <p:cNvPr id="1029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124200" y="6245225"/>
            <a:ext cx="2895600" cy="476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sz="1400"/>
            </a:lvl1pPr>
          </a:lstStyle>
          <a:p>
            <a:pPr eaLnBrk="1" hangingPunct="1"/>
            <a:endParaRPr lang="en-US" altLang="en-US" smtClean="0">
              <a:solidFill>
                <a:srgbClr val="000000"/>
              </a:solidFill>
            </a:endParaRPr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553200" y="6245225"/>
            <a:ext cx="2133600" cy="476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/>
            </a:lvl1pPr>
          </a:lstStyle>
          <a:p>
            <a:pPr eaLnBrk="1" hangingPunct="1"/>
            <a:fld id="{F37F06D6-DAC7-4C0A-93C6-7F615F4C424E}" type="slidenum">
              <a:rPr lang="en-US" altLang="en-US" smtClean="0">
                <a:solidFill>
                  <a:srgbClr val="000000"/>
                </a:solidFill>
              </a:rPr>
              <a:pPr eaLnBrk="1" hangingPunct="1"/>
              <a:t>‹#›</a:t>
            </a:fld>
            <a:endParaRPr lang="en-US" altLang="en-US" smtClean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8458453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68" r:id="rId1"/>
    <p:sldLayoutId id="2147484169" r:id="rId2"/>
    <p:sldLayoutId id="2147484170" r:id="rId3"/>
    <p:sldLayoutId id="2147484171" r:id="rId4"/>
    <p:sldLayoutId id="2147484172" r:id="rId5"/>
    <p:sldLayoutId id="2147484173" r:id="rId6"/>
    <p:sldLayoutId id="2147484174" r:id="rId7"/>
    <p:sldLayoutId id="2147484175" r:id="rId8"/>
    <p:sldLayoutId id="2147484176" r:id="rId9"/>
    <p:sldLayoutId id="2147484177" r:id="rId10"/>
    <p:sldLayoutId id="2147484178" r:id="rId11"/>
  </p:sldLayoutIdLst>
  <p:txStyles>
    <p:titleStyle>
      <a:lvl1pPr algn="ctr" rtl="0" fontAlgn="base">
        <a:spcBef>
          <a:spcPct val="0"/>
        </a:spcBef>
        <a:spcAft>
          <a:spcPct val="0"/>
        </a:spcAft>
        <a:defRPr sz="4400" kern="1200">
          <a:solidFill>
            <a:schemeClr val="tx2"/>
          </a:solidFill>
          <a:latin typeface="+mj-lt"/>
          <a:ea typeface="+mj-ea"/>
          <a:cs typeface="+mj-cs"/>
        </a:defRPr>
      </a:lvl1pPr>
      <a:lvl2pPr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anose="020B0604020202020204" pitchFamily="34" charset="0"/>
        </a:defRPr>
      </a:lvl2pPr>
      <a:lvl3pPr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anose="020B0604020202020204" pitchFamily="34" charset="0"/>
        </a:defRPr>
      </a:lvl3pPr>
      <a:lvl4pPr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anose="020B0604020202020204" pitchFamily="34" charset="0"/>
        </a:defRPr>
      </a:lvl4pPr>
      <a:lvl5pPr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anose="020B0604020202020204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anose="020B0604020202020204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anose="020B0604020202020204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anose="020B0604020202020204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anose="020B0604020202020204" pitchFamily="34" charset="0"/>
        </a:defRPr>
      </a:lvl9pPr>
    </p:titleStyle>
    <p:bodyStyle>
      <a:lvl1pPr marL="342900" indent="-342900" algn="l" rtl="0" fontAlgn="base">
        <a:spcBef>
          <a:spcPct val="20000"/>
        </a:spcBef>
        <a:spcAft>
          <a:spcPct val="0"/>
        </a:spcAft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fontAlgn="base">
        <a:spcBef>
          <a:spcPct val="20000"/>
        </a:spcBef>
        <a:spcAft>
          <a:spcPct val="0"/>
        </a:spcAft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fontAlgn="base">
        <a:spcBef>
          <a:spcPct val="20000"/>
        </a:spcBef>
        <a:spcAft>
          <a:spcPct val="0"/>
        </a:spcAft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fontAlgn="base">
        <a:spcBef>
          <a:spcPct val="20000"/>
        </a:spcBef>
        <a:spcAft>
          <a:spcPct val="0"/>
        </a:spcAft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fontAlgn="base">
        <a:spcBef>
          <a:spcPct val="20000"/>
        </a:spcBef>
        <a:spcAft>
          <a:spcPct val="0"/>
        </a:spcAft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0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57200" y="277813"/>
            <a:ext cx="8229600" cy="1139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Click to edit Master title style</a:t>
            </a:r>
          </a:p>
        </p:txBody>
      </p:sp>
      <p:sp>
        <p:nvSpPr>
          <p:cNvPr id="22531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600200"/>
            <a:ext cx="8229600" cy="4530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Click to edit Master text styles</a:t>
            </a:r>
          </a:p>
          <a:p>
            <a:pPr lvl="1"/>
            <a:r>
              <a:rPr lang="en-US" altLang="en-US" smtClean="0"/>
              <a:t>Second level</a:t>
            </a:r>
          </a:p>
          <a:p>
            <a:pPr lvl="2"/>
            <a:r>
              <a:rPr lang="en-US" altLang="en-US" smtClean="0"/>
              <a:t>Third level</a:t>
            </a:r>
          </a:p>
          <a:p>
            <a:pPr lvl="3"/>
            <a:r>
              <a:rPr lang="en-US" altLang="en-US" smtClean="0"/>
              <a:t>Fourth level</a:t>
            </a:r>
          </a:p>
          <a:p>
            <a:pPr lvl="4"/>
            <a:r>
              <a:rPr lang="en-US" altLang="en-US" smtClean="0"/>
              <a:t>Fifth level</a:t>
            </a:r>
          </a:p>
        </p:txBody>
      </p:sp>
      <p:sp>
        <p:nvSpPr>
          <p:cNvPr id="53253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457200" y="6248400"/>
            <a:ext cx="55626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buClrTx/>
              <a:buSzTx/>
              <a:buFontTx/>
              <a:buNone/>
              <a:defRPr sz="1200">
                <a:latin typeface="+mj-lt"/>
              </a:defRPr>
            </a:lvl1pPr>
          </a:lstStyle>
          <a:p>
            <a:pPr defTabSz="457200" eaLnBrk="1" fontAlgn="auto" hangingPunct="1">
              <a:spcAft>
                <a:spcPts val="0"/>
              </a:spcAft>
              <a:defRPr/>
            </a:pPr>
            <a:r>
              <a:rPr lang="en-US" altLang="en-US">
                <a:solidFill>
                  <a:srgbClr val="000000"/>
                </a:solidFill>
              </a:rPr>
              <a:t>CS511, Bing Liu, UIC</a:t>
            </a:r>
          </a:p>
        </p:txBody>
      </p:sp>
      <p:sp>
        <p:nvSpPr>
          <p:cNvPr id="53254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553200" y="6243638"/>
            <a:ext cx="21336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spcBef>
                <a:spcPct val="0"/>
              </a:spcBef>
              <a:buClrTx/>
              <a:buSzTx/>
              <a:buFontTx/>
              <a:buNone/>
              <a:defRPr sz="1200" smtClean="0">
                <a:latin typeface="Garamond" pitchFamily="18" charset="0"/>
              </a:defRPr>
            </a:lvl1pPr>
          </a:lstStyle>
          <a:p>
            <a:pPr defTabSz="457200" eaLnBrk="1" fontAlgn="auto" hangingPunct="1">
              <a:spcAft>
                <a:spcPts val="0"/>
              </a:spcAft>
              <a:defRPr/>
            </a:pPr>
            <a:fld id="{D474AAF1-4BB3-49A9-A968-BAB6D17A1D8C}" type="slidenum">
              <a:rPr lang="en-US" altLang="en-US">
                <a:solidFill>
                  <a:srgbClr val="000000"/>
                </a:solidFill>
              </a:rPr>
              <a:pPr defTabSz="457200" eaLnBrk="1" fontAlgn="auto" hangingPunct="1">
                <a:spcAft>
                  <a:spcPts val="0"/>
                </a:spcAft>
                <a:defRPr/>
              </a:pPr>
              <a:t>‹#›</a:t>
            </a:fld>
            <a:endParaRPr lang="en-US" altLang="en-US">
              <a:solidFill>
                <a:srgbClr val="000000"/>
              </a:solidFill>
            </a:endParaRPr>
          </a:p>
        </p:txBody>
      </p:sp>
      <p:sp>
        <p:nvSpPr>
          <p:cNvPr id="53255" name="Freeform 7"/>
          <p:cNvSpPr>
            <a:spLocks noChangeArrowheads="1"/>
          </p:cNvSpPr>
          <p:nvPr/>
        </p:nvSpPr>
        <p:spPr bwMode="auto">
          <a:xfrm>
            <a:off x="381000" y="228600"/>
            <a:ext cx="8229600" cy="609600"/>
          </a:xfrm>
          <a:custGeom>
            <a:avLst/>
            <a:gdLst/>
            <a:ahLst/>
            <a:cxnLst>
              <a:cxn ang="0">
                <a:pos x="0" y="1000"/>
              </a:cxn>
              <a:cxn ang="0">
                <a:pos x="0" y="0"/>
              </a:cxn>
              <a:cxn ang="0">
                <a:pos x="1000" y="0"/>
              </a:cxn>
            </a:cxnLst>
            <a:rect l="0" t="0" r="r" b="b"/>
            <a:pathLst>
              <a:path w="1000" h="1000">
                <a:moveTo>
                  <a:pt x="0" y="1000"/>
                </a:moveTo>
                <a:lnTo>
                  <a:pt x="0" y="0"/>
                </a:lnTo>
                <a:lnTo>
                  <a:pt x="1000" y="0"/>
                </a:lnTo>
              </a:path>
            </a:pathLst>
          </a:custGeom>
          <a:noFill/>
          <a:ln w="19050" cap="flat" cmpd="sng">
            <a:solidFill>
              <a:schemeClr val="accent1"/>
            </a:solidFill>
            <a:prstDash val="solid"/>
            <a:miter lim="800000"/>
            <a:headEnd/>
            <a:tailEnd/>
          </a:ln>
        </p:spPr>
        <p:txBody>
          <a:bodyPr/>
          <a:lstStyle/>
          <a:p>
            <a:pPr defTabSz="4572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IN" sz="18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3256" name="Line 8"/>
          <p:cNvSpPr>
            <a:spLocks noChangeShapeType="1"/>
          </p:cNvSpPr>
          <p:nvPr/>
        </p:nvSpPr>
        <p:spPr bwMode="auto">
          <a:xfrm>
            <a:off x="457200" y="6172200"/>
            <a:ext cx="8229600" cy="0"/>
          </a:xfrm>
          <a:prstGeom prst="line">
            <a:avLst/>
          </a:prstGeom>
          <a:noFill/>
          <a:ln w="19050">
            <a:solidFill>
              <a:schemeClr val="accent1"/>
            </a:solidFill>
            <a:round/>
            <a:headEnd/>
            <a:tailEnd/>
          </a:ln>
          <a:effectLst/>
        </p:spPr>
        <p:txBody>
          <a:bodyPr/>
          <a:lstStyle/>
          <a:p>
            <a:pPr defTabSz="457200" eaLnBrk="1" fontAlgn="auto" hangingPunct="1">
              <a:spcBef>
                <a:spcPts val="0"/>
              </a:spcBef>
              <a:spcAft>
                <a:spcPts val="0"/>
              </a:spcAft>
              <a:buFont typeface="Wingdings" pitchFamily="-110" charset="2"/>
              <a:buChar char="n"/>
              <a:defRPr/>
            </a:pPr>
            <a:endParaRPr lang="en-IN" sz="18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1943054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80" r:id="rId1"/>
    <p:sldLayoutId id="2147484181" r:id="rId2"/>
    <p:sldLayoutId id="2147484182" r:id="rId3"/>
    <p:sldLayoutId id="2147484183" r:id="rId4"/>
    <p:sldLayoutId id="2147484184" r:id="rId5"/>
    <p:sldLayoutId id="2147484185" r:id="rId6"/>
    <p:sldLayoutId id="2147484186" r:id="rId7"/>
    <p:sldLayoutId id="2147484187" r:id="rId8"/>
    <p:sldLayoutId id="2147484188" r:id="rId9"/>
    <p:sldLayoutId id="2147484189" r:id="rId10"/>
    <p:sldLayoutId id="2147484190" r:id="rId11"/>
    <p:sldLayoutId id="2147484191" r:id="rId12"/>
    <p:sldLayoutId id="2147484192" r:id="rId13"/>
    <p:sldLayoutId id="2147484193" r:id="rId14"/>
    <p:sldLayoutId id="2147484194" r:id="rId15"/>
  </p:sldLayoutIdLst>
  <p:transition/>
  <p:timing>
    <p:tnLst>
      <p:par>
        <p:cTn id="1" dur="indefinite" restart="never" nodeType="tmRoot"/>
      </p:par>
    </p:tnLst>
  </p:timing>
  <p:hf hd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4200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200">
          <a:solidFill>
            <a:schemeClr val="tx2"/>
          </a:solidFill>
          <a:latin typeface="Garamond" pitchFamily="18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200">
          <a:solidFill>
            <a:schemeClr val="tx2"/>
          </a:solidFill>
          <a:latin typeface="Garamond" pitchFamily="18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200">
          <a:solidFill>
            <a:schemeClr val="tx2"/>
          </a:solidFill>
          <a:latin typeface="Garamond" pitchFamily="18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200">
          <a:solidFill>
            <a:schemeClr val="tx2"/>
          </a:solidFill>
          <a:latin typeface="Garamond" pitchFamily="18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4200">
          <a:solidFill>
            <a:schemeClr val="tx2"/>
          </a:solidFill>
          <a:latin typeface="Garamond" pitchFamily="18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4200">
          <a:solidFill>
            <a:schemeClr val="tx2"/>
          </a:solidFill>
          <a:latin typeface="Garamond" pitchFamily="18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4200">
          <a:solidFill>
            <a:schemeClr val="tx2"/>
          </a:solidFill>
          <a:latin typeface="Garamond" pitchFamily="18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4200">
          <a:solidFill>
            <a:schemeClr val="tx2"/>
          </a:solidFill>
          <a:latin typeface="Garamond" pitchFamily="18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lr>
          <a:schemeClr val="accent1"/>
        </a:buClr>
        <a:buSzPct val="65000"/>
        <a:buFont typeface="Wingdings" pitchFamily="2" charset="2"/>
        <a:buChar char="n"/>
        <a:defRPr sz="3000">
          <a:solidFill>
            <a:schemeClr val="tx1"/>
          </a:solidFill>
          <a:latin typeface="+mn-lt"/>
          <a:ea typeface="+mn-ea"/>
          <a:cs typeface="+mn-cs"/>
        </a:defRPr>
      </a:lvl1pPr>
      <a:lvl2pPr marL="669925" indent="-325438" algn="l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SzPct val="60000"/>
        <a:buFont typeface="Wingdings" pitchFamily="2" charset="2"/>
        <a:buChar char="q"/>
        <a:defRPr sz="2600">
          <a:solidFill>
            <a:schemeClr val="tx1"/>
          </a:solidFill>
          <a:latin typeface="+mn-lt"/>
        </a:defRPr>
      </a:lvl2pPr>
      <a:lvl3pPr marL="1022350" indent="-350838" algn="l" rtl="0" eaLnBrk="0" fontAlgn="base" hangingPunct="0">
        <a:spcBef>
          <a:spcPct val="20000"/>
        </a:spcBef>
        <a:spcAft>
          <a:spcPct val="0"/>
        </a:spcAft>
        <a:buClr>
          <a:schemeClr val="accent1"/>
        </a:buClr>
        <a:buSzPct val="65000"/>
        <a:buFont typeface="Wingdings" pitchFamily="2" charset="2"/>
        <a:buChar char="n"/>
        <a:defRPr sz="2200">
          <a:solidFill>
            <a:schemeClr val="tx1"/>
          </a:solidFill>
          <a:latin typeface="+mn-lt"/>
        </a:defRPr>
      </a:lvl3pPr>
      <a:lvl4pPr marL="1339850" indent="-315913" algn="l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SzPct val="70000"/>
        <a:buFont typeface="Wingdings" pitchFamily="2" charset="2"/>
        <a:buChar char="q"/>
        <a:defRPr sz="2000">
          <a:solidFill>
            <a:schemeClr val="tx1"/>
          </a:solidFill>
          <a:latin typeface="+mn-lt"/>
        </a:defRPr>
      </a:lvl4pPr>
      <a:lvl5pPr marL="1681163" indent="-339725" algn="l" rtl="0" eaLnBrk="0" fontAlgn="base" hangingPunct="0">
        <a:spcBef>
          <a:spcPct val="20000"/>
        </a:spcBef>
        <a:spcAft>
          <a:spcPct val="0"/>
        </a:spcAft>
        <a:buClr>
          <a:schemeClr val="accent1"/>
        </a:buClr>
        <a:buSzPct val="75000"/>
        <a:buFont typeface="Wingdings" pitchFamily="2" charset="2"/>
        <a:buChar char="§"/>
        <a:defRPr sz="2000">
          <a:solidFill>
            <a:schemeClr val="tx1"/>
          </a:solidFill>
          <a:latin typeface="+mn-lt"/>
        </a:defRPr>
      </a:lvl5pPr>
      <a:lvl6pPr marL="2138363" indent="-339725" algn="l" rtl="0" fontAlgn="base">
        <a:spcBef>
          <a:spcPct val="20000"/>
        </a:spcBef>
        <a:spcAft>
          <a:spcPct val="0"/>
        </a:spcAft>
        <a:buClr>
          <a:schemeClr val="accent1"/>
        </a:buClr>
        <a:buSzPct val="75000"/>
        <a:buFont typeface="Wingdings" pitchFamily="-110" charset="2"/>
        <a:buChar char="§"/>
        <a:defRPr sz="2000">
          <a:solidFill>
            <a:schemeClr val="tx1"/>
          </a:solidFill>
          <a:latin typeface="+mn-lt"/>
        </a:defRPr>
      </a:lvl6pPr>
      <a:lvl7pPr marL="2595563" indent="-339725" algn="l" rtl="0" fontAlgn="base">
        <a:spcBef>
          <a:spcPct val="20000"/>
        </a:spcBef>
        <a:spcAft>
          <a:spcPct val="0"/>
        </a:spcAft>
        <a:buClr>
          <a:schemeClr val="accent1"/>
        </a:buClr>
        <a:buSzPct val="75000"/>
        <a:buFont typeface="Wingdings" pitchFamily="-110" charset="2"/>
        <a:buChar char="§"/>
        <a:defRPr sz="2000">
          <a:solidFill>
            <a:schemeClr val="tx1"/>
          </a:solidFill>
          <a:latin typeface="+mn-lt"/>
        </a:defRPr>
      </a:lvl7pPr>
      <a:lvl8pPr marL="3052763" indent="-339725" algn="l" rtl="0" fontAlgn="base">
        <a:spcBef>
          <a:spcPct val="20000"/>
        </a:spcBef>
        <a:spcAft>
          <a:spcPct val="0"/>
        </a:spcAft>
        <a:buClr>
          <a:schemeClr val="accent1"/>
        </a:buClr>
        <a:buSzPct val="75000"/>
        <a:buFont typeface="Wingdings" pitchFamily="-110" charset="2"/>
        <a:buChar char="§"/>
        <a:defRPr sz="2000">
          <a:solidFill>
            <a:schemeClr val="tx1"/>
          </a:solidFill>
          <a:latin typeface="+mn-lt"/>
        </a:defRPr>
      </a:lvl8pPr>
      <a:lvl9pPr marL="3509963" indent="-339725" algn="l" rtl="0" fontAlgn="base">
        <a:spcBef>
          <a:spcPct val="20000"/>
        </a:spcBef>
        <a:spcAft>
          <a:spcPct val="0"/>
        </a:spcAft>
        <a:buClr>
          <a:schemeClr val="accent1"/>
        </a:buClr>
        <a:buSzPct val="75000"/>
        <a:buFont typeface="Wingdings" pitchFamily="-110" charset="2"/>
        <a:buChar char="§"/>
        <a:defRPr sz="20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0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57200" y="277813"/>
            <a:ext cx="8229600" cy="1139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Click to edit Master title style</a:t>
            </a:r>
          </a:p>
        </p:txBody>
      </p:sp>
      <p:sp>
        <p:nvSpPr>
          <p:cNvPr id="22531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600200"/>
            <a:ext cx="8229600" cy="4530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Click to edit Master text styles</a:t>
            </a:r>
          </a:p>
          <a:p>
            <a:pPr lvl="1"/>
            <a:r>
              <a:rPr lang="en-US" altLang="en-US" smtClean="0"/>
              <a:t>Second level</a:t>
            </a:r>
          </a:p>
          <a:p>
            <a:pPr lvl="2"/>
            <a:r>
              <a:rPr lang="en-US" altLang="en-US" smtClean="0"/>
              <a:t>Third level</a:t>
            </a:r>
          </a:p>
          <a:p>
            <a:pPr lvl="3"/>
            <a:r>
              <a:rPr lang="en-US" altLang="en-US" smtClean="0"/>
              <a:t>Fourth level</a:t>
            </a:r>
          </a:p>
          <a:p>
            <a:pPr lvl="4"/>
            <a:r>
              <a:rPr lang="en-US" altLang="en-US" smtClean="0"/>
              <a:t>Fifth level</a:t>
            </a:r>
          </a:p>
        </p:txBody>
      </p:sp>
      <p:sp>
        <p:nvSpPr>
          <p:cNvPr id="53253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457200" y="6248400"/>
            <a:ext cx="55626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buClrTx/>
              <a:buSzTx/>
              <a:buFontTx/>
              <a:buNone/>
              <a:defRPr sz="1200">
                <a:latin typeface="+mj-lt"/>
              </a:defRPr>
            </a:lvl1pPr>
          </a:lstStyle>
          <a:p>
            <a:pPr defTabSz="457200" eaLnBrk="1" fontAlgn="auto" hangingPunct="1">
              <a:spcAft>
                <a:spcPts val="0"/>
              </a:spcAft>
              <a:defRPr/>
            </a:pPr>
            <a:r>
              <a:rPr lang="en-US" altLang="en-US">
                <a:solidFill>
                  <a:srgbClr val="000000"/>
                </a:solidFill>
              </a:rPr>
              <a:t>CS511, Bing Liu, UIC</a:t>
            </a:r>
          </a:p>
        </p:txBody>
      </p:sp>
      <p:sp>
        <p:nvSpPr>
          <p:cNvPr id="53254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553200" y="6243638"/>
            <a:ext cx="21336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spcBef>
                <a:spcPct val="0"/>
              </a:spcBef>
              <a:buClrTx/>
              <a:buSzTx/>
              <a:buFontTx/>
              <a:buNone/>
              <a:defRPr sz="1200" smtClean="0">
                <a:latin typeface="Garamond" pitchFamily="18" charset="0"/>
              </a:defRPr>
            </a:lvl1pPr>
          </a:lstStyle>
          <a:p>
            <a:pPr defTabSz="457200" eaLnBrk="1" fontAlgn="auto" hangingPunct="1">
              <a:spcAft>
                <a:spcPts val="0"/>
              </a:spcAft>
              <a:defRPr/>
            </a:pPr>
            <a:fld id="{D474AAF1-4BB3-49A9-A968-BAB6D17A1D8C}" type="slidenum">
              <a:rPr lang="en-US" altLang="en-US">
                <a:solidFill>
                  <a:srgbClr val="000000"/>
                </a:solidFill>
              </a:rPr>
              <a:pPr defTabSz="457200" eaLnBrk="1" fontAlgn="auto" hangingPunct="1">
                <a:spcAft>
                  <a:spcPts val="0"/>
                </a:spcAft>
                <a:defRPr/>
              </a:pPr>
              <a:t>‹#›</a:t>
            </a:fld>
            <a:endParaRPr lang="en-US" altLang="en-US">
              <a:solidFill>
                <a:srgbClr val="000000"/>
              </a:solidFill>
            </a:endParaRPr>
          </a:p>
        </p:txBody>
      </p:sp>
      <p:sp>
        <p:nvSpPr>
          <p:cNvPr id="53255" name="Freeform 7"/>
          <p:cNvSpPr>
            <a:spLocks noChangeArrowheads="1"/>
          </p:cNvSpPr>
          <p:nvPr/>
        </p:nvSpPr>
        <p:spPr bwMode="auto">
          <a:xfrm>
            <a:off x="381000" y="228600"/>
            <a:ext cx="8229600" cy="609600"/>
          </a:xfrm>
          <a:custGeom>
            <a:avLst/>
            <a:gdLst/>
            <a:ahLst/>
            <a:cxnLst>
              <a:cxn ang="0">
                <a:pos x="0" y="1000"/>
              </a:cxn>
              <a:cxn ang="0">
                <a:pos x="0" y="0"/>
              </a:cxn>
              <a:cxn ang="0">
                <a:pos x="1000" y="0"/>
              </a:cxn>
            </a:cxnLst>
            <a:rect l="0" t="0" r="r" b="b"/>
            <a:pathLst>
              <a:path w="1000" h="1000">
                <a:moveTo>
                  <a:pt x="0" y="1000"/>
                </a:moveTo>
                <a:lnTo>
                  <a:pt x="0" y="0"/>
                </a:lnTo>
                <a:lnTo>
                  <a:pt x="1000" y="0"/>
                </a:lnTo>
              </a:path>
            </a:pathLst>
          </a:custGeom>
          <a:noFill/>
          <a:ln w="19050" cap="flat" cmpd="sng">
            <a:solidFill>
              <a:schemeClr val="accent1"/>
            </a:solidFill>
            <a:prstDash val="solid"/>
            <a:miter lim="800000"/>
            <a:headEnd/>
            <a:tailEnd/>
          </a:ln>
        </p:spPr>
        <p:txBody>
          <a:bodyPr/>
          <a:lstStyle/>
          <a:p>
            <a:pPr defTabSz="4572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IN" sz="18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3256" name="Line 8"/>
          <p:cNvSpPr>
            <a:spLocks noChangeShapeType="1"/>
          </p:cNvSpPr>
          <p:nvPr/>
        </p:nvSpPr>
        <p:spPr bwMode="auto">
          <a:xfrm>
            <a:off x="457200" y="6172200"/>
            <a:ext cx="8229600" cy="0"/>
          </a:xfrm>
          <a:prstGeom prst="line">
            <a:avLst/>
          </a:prstGeom>
          <a:noFill/>
          <a:ln w="19050">
            <a:solidFill>
              <a:schemeClr val="accent1"/>
            </a:solidFill>
            <a:round/>
            <a:headEnd/>
            <a:tailEnd/>
          </a:ln>
          <a:effectLst/>
        </p:spPr>
        <p:txBody>
          <a:bodyPr/>
          <a:lstStyle/>
          <a:p>
            <a:pPr defTabSz="457200" eaLnBrk="1" fontAlgn="auto" hangingPunct="1">
              <a:spcBef>
                <a:spcPts val="0"/>
              </a:spcBef>
              <a:spcAft>
                <a:spcPts val="0"/>
              </a:spcAft>
              <a:buFont typeface="Wingdings" pitchFamily="-110" charset="2"/>
              <a:buChar char="n"/>
              <a:defRPr/>
            </a:pPr>
            <a:endParaRPr lang="en-IN" sz="18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9874360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00" r:id="rId1"/>
    <p:sldLayoutId id="2147483901" r:id="rId2"/>
    <p:sldLayoutId id="2147483902" r:id="rId3"/>
    <p:sldLayoutId id="2147483903" r:id="rId4"/>
    <p:sldLayoutId id="2147483904" r:id="rId5"/>
    <p:sldLayoutId id="2147483905" r:id="rId6"/>
    <p:sldLayoutId id="2147483906" r:id="rId7"/>
    <p:sldLayoutId id="2147483907" r:id="rId8"/>
    <p:sldLayoutId id="2147483908" r:id="rId9"/>
    <p:sldLayoutId id="2147483909" r:id="rId10"/>
    <p:sldLayoutId id="2147483910" r:id="rId11"/>
    <p:sldLayoutId id="2147483911" r:id="rId12"/>
    <p:sldLayoutId id="2147483912" r:id="rId13"/>
    <p:sldLayoutId id="2147483913" r:id="rId14"/>
    <p:sldLayoutId id="2147483914" r:id="rId15"/>
  </p:sldLayoutIdLst>
  <p:transition/>
  <p:timing>
    <p:tnLst>
      <p:par>
        <p:cTn id="1" dur="indefinite" restart="never" nodeType="tmRoot"/>
      </p:par>
    </p:tnLst>
  </p:timing>
  <p:hf hd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4200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200">
          <a:solidFill>
            <a:schemeClr val="tx2"/>
          </a:solidFill>
          <a:latin typeface="Garamond" pitchFamily="18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200">
          <a:solidFill>
            <a:schemeClr val="tx2"/>
          </a:solidFill>
          <a:latin typeface="Garamond" pitchFamily="18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200">
          <a:solidFill>
            <a:schemeClr val="tx2"/>
          </a:solidFill>
          <a:latin typeface="Garamond" pitchFamily="18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200">
          <a:solidFill>
            <a:schemeClr val="tx2"/>
          </a:solidFill>
          <a:latin typeface="Garamond" pitchFamily="18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4200">
          <a:solidFill>
            <a:schemeClr val="tx2"/>
          </a:solidFill>
          <a:latin typeface="Garamond" pitchFamily="18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4200">
          <a:solidFill>
            <a:schemeClr val="tx2"/>
          </a:solidFill>
          <a:latin typeface="Garamond" pitchFamily="18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4200">
          <a:solidFill>
            <a:schemeClr val="tx2"/>
          </a:solidFill>
          <a:latin typeface="Garamond" pitchFamily="18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4200">
          <a:solidFill>
            <a:schemeClr val="tx2"/>
          </a:solidFill>
          <a:latin typeface="Garamond" pitchFamily="18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lr>
          <a:schemeClr val="accent1"/>
        </a:buClr>
        <a:buSzPct val="65000"/>
        <a:buFont typeface="Wingdings" pitchFamily="2" charset="2"/>
        <a:buChar char="n"/>
        <a:defRPr sz="3000">
          <a:solidFill>
            <a:schemeClr val="tx1"/>
          </a:solidFill>
          <a:latin typeface="+mn-lt"/>
          <a:ea typeface="+mn-ea"/>
          <a:cs typeface="+mn-cs"/>
        </a:defRPr>
      </a:lvl1pPr>
      <a:lvl2pPr marL="669925" indent="-325438" algn="l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SzPct val="60000"/>
        <a:buFont typeface="Wingdings" pitchFamily="2" charset="2"/>
        <a:buChar char="q"/>
        <a:defRPr sz="2600">
          <a:solidFill>
            <a:schemeClr val="tx1"/>
          </a:solidFill>
          <a:latin typeface="+mn-lt"/>
        </a:defRPr>
      </a:lvl2pPr>
      <a:lvl3pPr marL="1022350" indent="-350838" algn="l" rtl="0" eaLnBrk="0" fontAlgn="base" hangingPunct="0">
        <a:spcBef>
          <a:spcPct val="20000"/>
        </a:spcBef>
        <a:spcAft>
          <a:spcPct val="0"/>
        </a:spcAft>
        <a:buClr>
          <a:schemeClr val="accent1"/>
        </a:buClr>
        <a:buSzPct val="65000"/>
        <a:buFont typeface="Wingdings" pitchFamily="2" charset="2"/>
        <a:buChar char="n"/>
        <a:defRPr sz="2200">
          <a:solidFill>
            <a:schemeClr val="tx1"/>
          </a:solidFill>
          <a:latin typeface="+mn-lt"/>
        </a:defRPr>
      </a:lvl3pPr>
      <a:lvl4pPr marL="1339850" indent="-315913" algn="l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SzPct val="70000"/>
        <a:buFont typeface="Wingdings" pitchFamily="2" charset="2"/>
        <a:buChar char="q"/>
        <a:defRPr sz="2000">
          <a:solidFill>
            <a:schemeClr val="tx1"/>
          </a:solidFill>
          <a:latin typeface="+mn-lt"/>
        </a:defRPr>
      </a:lvl4pPr>
      <a:lvl5pPr marL="1681163" indent="-339725" algn="l" rtl="0" eaLnBrk="0" fontAlgn="base" hangingPunct="0">
        <a:spcBef>
          <a:spcPct val="20000"/>
        </a:spcBef>
        <a:spcAft>
          <a:spcPct val="0"/>
        </a:spcAft>
        <a:buClr>
          <a:schemeClr val="accent1"/>
        </a:buClr>
        <a:buSzPct val="75000"/>
        <a:buFont typeface="Wingdings" pitchFamily="2" charset="2"/>
        <a:buChar char="§"/>
        <a:defRPr sz="2000">
          <a:solidFill>
            <a:schemeClr val="tx1"/>
          </a:solidFill>
          <a:latin typeface="+mn-lt"/>
        </a:defRPr>
      </a:lvl5pPr>
      <a:lvl6pPr marL="2138363" indent="-339725" algn="l" rtl="0" fontAlgn="base">
        <a:spcBef>
          <a:spcPct val="20000"/>
        </a:spcBef>
        <a:spcAft>
          <a:spcPct val="0"/>
        </a:spcAft>
        <a:buClr>
          <a:schemeClr val="accent1"/>
        </a:buClr>
        <a:buSzPct val="75000"/>
        <a:buFont typeface="Wingdings" pitchFamily="-110" charset="2"/>
        <a:buChar char="§"/>
        <a:defRPr sz="2000">
          <a:solidFill>
            <a:schemeClr val="tx1"/>
          </a:solidFill>
          <a:latin typeface="+mn-lt"/>
        </a:defRPr>
      </a:lvl6pPr>
      <a:lvl7pPr marL="2595563" indent="-339725" algn="l" rtl="0" fontAlgn="base">
        <a:spcBef>
          <a:spcPct val="20000"/>
        </a:spcBef>
        <a:spcAft>
          <a:spcPct val="0"/>
        </a:spcAft>
        <a:buClr>
          <a:schemeClr val="accent1"/>
        </a:buClr>
        <a:buSzPct val="75000"/>
        <a:buFont typeface="Wingdings" pitchFamily="-110" charset="2"/>
        <a:buChar char="§"/>
        <a:defRPr sz="2000">
          <a:solidFill>
            <a:schemeClr val="tx1"/>
          </a:solidFill>
          <a:latin typeface="+mn-lt"/>
        </a:defRPr>
      </a:lvl7pPr>
      <a:lvl8pPr marL="3052763" indent="-339725" algn="l" rtl="0" fontAlgn="base">
        <a:spcBef>
          <a:spcPct val="20000"/>
        </a:spcBef>
        <a:spcAft>
          <a:spcPct val="0"/>
        </a:spcAft>
        <a:buClr>
          <a:schemeClr val="accent1"/>
        </a:buClr>
        <a:buSzPct val="75000"/>
        <a:buFont typeface="Wingdings" pitchFamily="-110" charset="2"/>
        <a:buChar char="§"/>
        <a:defRPr sz="2000">
          <a:solidFill>
            <a:schemeClr val="tx1"/>
          </a:solidFill>
          <a:latin typeface="+mn-lt"/>
        </a:defRPr>
      </a:lvl8pPr>
      <a:lvl9pPr marL="3509963" indent="-339725" algn="l" rtl="0" fontAlgn="base">
        <a:spcBef>
          <a:spcPct val="20000"/>
        </a:spcBef>
        <a:spcAft>
          <a:spcPct val="0"/>
        </a:spcAft>
        <a:buClr>
          <a:schemeClr val="accent1"/>
        </a:buClr>
        <a:buSzPct val="75000"/>
        <a:buFont typeface="Wingdings" pitchFamily="-110" charset="2"/>
        <a:buChar char="§"/>
        <a:defRPr sz="20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0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57200" y="277813"/>
            <a:ext cx="8229600" cy="1139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Click to edit Master title style</a:t>
            </a:r>
          </a:p>
        </p:txBody>
      </p:sp>
      <p:sp>
        <p:nvSpPr>
          <p:cNvPr id="22531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600200"/>
            <a:ext cx="8229600" cy="4530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Click to edit Master text styles</a:t>
            </a:r>
          </a:p>
          <a:p>
            <a:pPr lvl="1"/>
            <a:r>
              <a:rPr lang="en-US" altLang="en-US" smtClean="0"/>
              <a:t>Second level</a:t>
            </a:r>
          </a:p>
          <a:p>
            <a:pPr lvl="2"/>
            <a:r>
              <a:rPr lang="en-US" altLang="en-US" smtClean="0"/>
              <a:t>Third level</a:t>
            </a:r>
          </a:p>
          <a:p>
            <a:pPr lvl="3"/>
            <a:r>
              <a:rPr lang="en-US" altLang="en-US" smtClean="0"/>
              <a:t>Fourth level</a:t>
            </a:r>
          </a:p>
          <a:p>
            <a:pPr lvl="4"/>
            <a:r>
              <a:rPr lang="en-US" altLang="en-US" smtClean="0"/>
              <a:t>Fifth level</a:t>
            </a:r>
          </a:p>
        </p:txBody>
      </p:sp>
      <p:sp>
        <p:nvSpPr>
          <p:cNvPr id="53253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457200" y="6248400"/>
            <a:ext cx="55626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buClrTx/>
              <a:buSzTx/>
              <a:buFontTx/>
              <a:buNone/>
              <a:defRPr sz="1200">
                <a:latin typeface="+mj-lt"/>
              </a:defRPr>
            </a:lvl1pPr>
          </a:lstStyle>
          <a:p>
            <a:pPr eaLnBrk="1" fontAlgn="auto" hangingPunct="1">
              <a:spcAft>
                <a:spcPts val="0"/>
              </a:spcAft>
              <a:defRPr/>
            </a:pPr>
            <a:r>
              <a:rPr lang="en-US" altLang="en-US">
                <a:solidFill>
                  <a:srgbClr val="000000"/>
                </a:solidFill>
              </a:rPr>
              <a:t>CS511, Bing Liu, UIC</a:t>
            </a:r>
          </a:p>
        </p:txBody>
      </p:sp>
      <p:sp>
        <p:nvSpPr>
          <p:cNvPr id="53254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553200" y="6243638"/>
            <a:ext cx="21336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spcBef>
                <a:spcPct val="0"/>
              </a:spcBef>
              <a:buClrTx/>
              <a:buSzTx/>
              <a:buFontTx/>
              <a:buNone/>
              <a:defRPr sz="1200" smtClean="0">
                <a:latin typeface="Garamond" pitchFamily="18" charset="0"/>
              </a:defRPr>
            </a:lvl1pPr>
          </a:lstStyle>
          <a:p>
            <a:pPr eaLnBrk="1" fontAlgn="auto" hangingPunct="1">
              <a:spcAft>
                <a:spcPts val="0"/>
              </a:spcAft>
              <a:defRPr/>
            </a:pPr>
            <a:fld id="{D474AAF1-4BB3-49A9-A968-BAB6D17A1D8C}" type="slidenum">
              <a:rPr lang="en-US" altLang="en-US">
                <a:solidFill>
                  <a:srgbClr val="000000"/>
                </a:solidFill>
              </a:rPr>
              <a:pPr eaLnBrk="1" fontAlgn="auto" hangingPunct="1">
                <a:spcAft>
                  <a:spcPts val="0"/>
                </a:spcAft>
                <a:defRPr/>
              </a:pPr>
              <a:t>‹#›</a:t>
            </a:fld>
            <a:endParaRPr lang="en-US" altLang="en-US">
              <a:solidFill>
                <a:srgbClr val="000000"/>
              </a:solidFill>
            </a:endParaRPr>
          </a:p>
        </p:txBody>
      </p:sp>
      <p:sp>
        <p:nvSpPr>
          <p:cNvPr id="53255" name="Freeform 7"/>
          <p:cNvSpPr>
            <a:spLocks noChangeArrowheads="1"/>
          </p:cNvSpPr>
          <p:nvPr/>
        </p:nvSpPr>
        <p:spPr bwMode="auto">
          <a:xfrm>
            <a:off x="381000" y="228600"/>
            <a:ext cx="8229600" cy="609600"/>
          </a:xfrm>
          <a:custGeom>
            <a:avLst/>
            <a:gdLst/>
            <a:ahLst/>
            <a:cxnLst>
              <a:cxn ang="0">
                <a:pos x="0" y="1000"/>
              </a:cxn>
              <a:cxn ang="0">
                <a:pos x="0" y="0"/>
              </a:cxn>
              <a:cxn ang="0">
                <a:pos x="1000" y="0"/>
              </a:cxn>
            </a:cxnLst>
            <a:rect l="0" t="0" r="r" b="b"/>
            <a:pathLst>
              <a:path w="1000" h="1000">
                <a:moveTo>
                  <a:pt x="0" y="1000"/>
                </a:moveTo>
                <a:lnTo>
                  <a:pt x="0" y="0"/>
                </a:lnTo>
                <a:lnTo>
                  <a:pt x="1000" y="0"/>
                </a:lnTo>
              </a:path>
            </a:pathLst>
          </a:custGeom>
          <a:noFill/>
          <a:ln w="19050" cap="flat" cmpd="sng">
            <a:solidFill>
              <a:schemeClr val="accent1"/>
            </a:solidFill>
            <a:prstDash val="solid"/>
            <a:miter lim="800000"/>
            <a:headEnd/>
            <a:tailEnd/>
          </a:ln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IN" sz="18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3256" name="Line 8"/>
          <p:cNvSpPr>
            <a:spLocks noChangeShapeType="1"/>
          </p:cNvSpPr>
          <p:nvPr/>
        </p:nvSpPr>
        <p:spPr bwMode="auto">
          <a:xfrm>
            <a:off x="457200" y="6172200"/>
            <a:ext cx="8229600" cy="0"/>
          </a:xfrm>
          <a:prstGeom prst="line">
            <a:avLst/>
          </a:prstGeom>
          <a:noFill/>
          <a:ln w="19050">
            <a:solidFill>
              <a:schemeClr val="accent1"/>
            </a:solidFill>
            <a:round/>
            <a:headEnd/>
            <a:tailEnd/>
          </a:ln>
          <a:effectLst/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buFont typeface="Wingdings" pitchFamily="-110" charset="2"/>
              <a:buChar char="n"/>
              <a:defRPr/>
            </a:pPr>
            <a:endParaRPr lang="en-IN" sz="18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6781479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16" r:id="rId1"/>
    <p:sldLayoutId id="2147483917" r:id="rId2"/>
    <p:sldLayoutId id="2147483918" r:id="rId3"/>
    <p:sldLayoutId id="2147483919" r:id="rId4"/>
    <p:sldLayoutId id="2147483920" r:id="rId5"/>
    <p:sldLayoutId id="2147483921" r:id="rId6"/>
    <p:sldLayoutId id="2147483922" r:id="rId7"/>
    <p:sldLayoutId id="2147483923" r:id="rId8"/>
    <p:sldLayoutId id="2147483924" r:id="rId9"/>
    <p:sldLayoutId id="2147483925" r:id="rId10"/>
    <p:sldLayoutId id="2147483926" r:id="rId11"/>
    <p:sldLayoutId id="2147483927" r:id="rId12"/>
    <p:sldLayoutId id="2147483928" r:id="rId13"/>
    <p:sldLayoutId id="2147483929" r:id="rId14"/>
    <p:sldLayoutId id="2147483930" r:id="rId15"/>
  </p:sldLayoutIdLst>
  <p:transition/>
  <p:timing>
    <p:tnLst>
      <p:par>
        <p:cTn id="1" dur="indefinite" restart="never" nodeType="tmRoot"/>
      </p:par>
    </p:tnLst>
  </p:timing>
  <p:hf hd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4200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200">
          <a:solidFill>
            <a:schemeClr val="tx2"/>
          </a:solidFill>
          <a:latin typeface="Garamond" pitchFamily="18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200">
          <a:solidFill>
            <a:schemeClr val="tx2"/>
          </a:solidFill>
          <a:latin typeface="Garamond" pitchFamily="18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200">
          <a:solidFill>
            <a:schemeClr val="tx2"/>
          </a:solidFill>
          <a:latin typeface="Garamond" pitchFamily="18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200">
          <a:solidFill>
            <a:schemeClr val="tx2"/>
          </a:solidFill>
          <a:latin typeface="Garamond" pitchFamily="18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4200">
          <a:solidFill>
            <a:schemeClr val="tx2"/>
          </a:solidFill>
          <a:latin typeface="Garamond" pitchFamily="18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4200">
          <a:solidFill>
            <a:schemeClr val="tx2"/>
          </a:solidFill>
          <a:latin typeface="Garamond" pitchFamily="18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4200">
          <a:solidFill>
            <a:schemeClr val="tx2"/>
          </a:solidFill>
          <a:latin typeface="Garamond" pitchFamily="18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4200">
          <a:solidFill>
            <a:schemeClr val="tx2"/>
          </a:solidFill>
          <a:latin typeface="Garamond" pitchFamily="18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lr>
          <a:schemeClr val="accent1"/>
        </a:buClr>
        <a:buSzPct val="65000"/>
        <a:buFont typeface="Wingdings" pitchFamily="2" charset="2"/>
        <a:buChar char="n"/>
        <a:defRPr sz="3000">
          <a:solidFill>
            <a:schemeClr val="tx1"/>
          </a:solidFill>
          <a:latin typeface="+mn-lt"/>
          <a:ea typeface="+mn-ea"/>
          <a:cs typeface="+mn-cs"/>
        </a:defRPr>
      </a:lvl1pPr>
      <a:lvl2pPr marL="669925" indent="-325438" algn="l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SzPct val="60000"/>
        <a:buFont typeface="Wingdings" pitchFamily="2" charset="2"/>
        <a:buChar char="q"/>
        <a:defRPr sz="2600">
          <a:solidFill>
            <a:schemeClr val="tx1"/>
          </a:solidFill>
          <a:latin typeface="+mn-lt"/>
        </a:defRPr>
      </a:lvl2pPr>
      <a:lvl3pPr marL="1022350" indent="-350838" algn="l" rtl="0" eaLnBrk="0" fontAlgn="base" hangingPunct="0">
        <a:spcBef>
          <a:spcPct val="20000"/>
        </a:spcBef>
        <a:spcAft>
          <a:spcPct val="0"/>
        </a:spcAft>
        <a:buClr>
          <a:schemeClr val="accent1"/>
        </a:buClr>
        <a:buSzPct val="65000"/>
        <a:buFont typeface="Wingdings" pitchFamily="2" charset="2"/>
        <a:buChar char="n"/>
        <a:defRPr sz="2200">
          <a:solidFill>
            <a:schemeClr val="tx1"/>
          </a:solidFill>
          <a:latin typeface="+mn-lt"/>
        </a:defRPr>
      </a:lvl3pPr>
      <a:lvl4pPr marL="1339850" indent="-315913" algn="l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SzPct val="70000"/>
        <a:buFont typeface="Wingdings" pitchFamily="2" charset="2"/>
        <a:buChar char="q"/>
        <a:defRPr sz="2000">
          <a:solidFill>
            <a:schemeClr val="tx1"/>
          </a:solidFill>
          <a:latin typeface="+mn-lt"/>
        </a:defRPr>
      </a:lvl4pPr>
      <a:lvl5pPr marL="1681163" indent="-339725" algn="l" rtl="0" eaLnBrk="0" fontAlgn="base" hangingPunct="0">
        <a:spcBef>
          <a:spcPct val="20000"/>
        </a:spcBef>
        <a:spcAft>
          <a:spcPct val="0"/>
        </a:spcAft>
        <a:buClr>
          <a:schemeClr val="accent1"/>
        </a:buClr>
        <a:buSzPct val="75000"/>
        <a:buFont typeface="Wingdings" pitchFamily="2" charset="2"/>
        <a:buChar char="§"/>
        <a:defRPr sz="2000">
          <a:solidFill>
            <a:schemeClr val="tx1"/>
          </a:solidFill>
          <a:latin typeface="+mn-lt"/>
        </a:defRPr>
      </a:lvl5pPr>
      <a:lvl6pPr marL="2138363" indent="-339725" algn="l" rtl="0" fontAlgn="base">
        <a:spcBef>
          <a:spcPct val="20000"/>
        </a:spcBef>
        <a:spcAft>
          <a:spcPct val="0"/>
        </a:spcAft>
        <a:buClr>
          <a:schemeClr val="accent1"/>
        </a:buClr>
        <a:buSzPct val="75000"/>
        <a:buFont typeface="Wingdings" pitchFamily="-110" charset="2"/>
        <a:buChar char="§"/>
        <a:defRPr sz="2000">
          <a:solidFill>
            <a:schemeClr val="tx1"/>
          </a:solidFill>
          <a:latin typeface="+mn-lt"/>
        </a:defRPr>
      </a:lvl6pPr>
      <a:lvl7pPr marL="2595563" indent="-339725" algn="l" rtl="0" fontAlgn="base">
        <a:spcBef>
          <a:spcPct val="20000"/>
        </a:spcBef>
        <a:spcAft>
          <a:spcPct val="0"/>
        </a:spcAft>
        <a:buClr>
          <a:schemeClr val="accent1"/>
        </a:buClr>
        <a:buSzPct val="75000"/>
        <a:buFont typeface="Wingdings" pitchFamily="-110" charset="2"/>
        <a:buChar char="§"/>
        <a:defRPr sz="2000">
          <a:solidFill>
            <a:schemeClr val="tx1"/>
          </a:solidFill>
          <a:latin typeface="+mn-lt"/>
        </a:defRPr>
      </a:lvl7pPr>
      <a:lvl8pPr marL="3052763" indent="-339725" algn="l" rtl="0" fontAlgn="base">
        <a:spcBef>
          <a:spcPct val="20000"/>
        </a:spcBef>
        <a:spcAft>
          <a:spcPct val="0"/>
        </a:spcAft>
        <a:buClr>
          <a:schemeClr val="accent1"/>
        </a:buClr>
        <a:buSzPct val="75000"/>
        <a:buFont typeface="Wingdings" pitchFamily="-110" charset="2"/>
        <a:buChar char="§"/>
        <a:defRPr sz="2000">
          <a:solidFill>
            <a:schemeClr val="tx1"/>
          </a:solidFill>
          <a:latin typeface="+mn-lt"/>
        </a:defRPr>
      </a:lvl8pPr>
      <a:lvl9pPr marL="3509963" indent="-339725" algn="l" rtl="0" fontAlgn="base">
        <a:spcBef>
          <a:spcPct val="20000"/>
        </a:spcBef>
        <a:spcAft>
          <a:spcPct val="0"/>
        </a:spcAft>
        <a:buClr>
          <a:schemeClr val="accent1"/>
        </a:buClr>
        <a:buSzPct val="75000"/>
        <a:buFont typeface="Wingdings" pitchFamily="-110" charset="2"/>
        <a:buChar char="§"/>
        <a:defRPr sz="20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Google Shape;6;p1"/>
          <p:cNvSpPr txBox="1">
            <a:spLocks noGrp="1"/>
          </p:cNvSpPr>
          <p:nvPr>
            <p:ph type="title"/>
          </p:nvPr>
        </p:nvSpPr>
        <p:spPr>
          <a:xfrm>
            <a:off x="311700" y="593367"/>
            <a:ext cx="8520600" cy="76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lv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2pPr>
            <a:lvl3pPr lvl="2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3pPr>
            <a:lvl4pPr lvl="3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4pPr>
            <a:lvl5pPr lvl="4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5pPr>
            <a:lvl6pPr lvl="5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6pPr>
            <a:lvl7pPr lvl="6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7pPr>
            <a:lvl8pPr lvl="7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8pPr>
            <a:lvl9pPr lvl="8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9pPr>
          </a:lstStyle>
          <a:p>
            <a:endParaRPr/>
          </a:p>
        </p:txBody>
      </p:sp>
      <p:sp>
        <p:nvSpPr>
          <p:cNvPr id="7" name="Google Shape;7;p1"/>
          <p:cNvSpPr txBox="1">
            <a:spLocks noGrp="1"/>
          </p:cNvSpPr>
          <p:nvPr>
            <p:ph type="body" idx="1"/>
          </p:nvPr>
        </p:nvSpPr>
        <p:spPr>
          <a:xfrm>
            <a:off x="311700" y="1536633"/>
            <a:ext cx="8520600" cy="455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457200" lvl="0" indent="-3429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Char char="●"/>
              <a:defRPr sz="1800">
                <a:solidFill>
                  <a:schemeClr val="dk2"/>
                </a:solidFill>
              </a:defRPr>
            </a:lvl1pPr>
            <a:lvl2pPr marL="914400" lvl="1" indent="-3175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Char char="○"/>
              <a:defRPr>
                <a:solidFill>
                  <a:schemeClr val="dk2"/>
                </a:solidFill>
              </a:defRPr>
            </a:lvl2pPr>
            <a:lvl3pPr marL="1371600" lvl="2" indent="-3175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Char char="■"/>
              <a:defRPr>
                <a:solidFill>
                  <a:schemeClr val="dk2"/>
                </a:solidFill>
              </a:defRPr>
            </a:lvl3pPr>
            <a:lvl4pPr marL="1828800" lvl="3" indent="-3175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Char char="●"/>
              <a:defRPr>
                <a:solidFill>
                  <a:schemeClr val="dk2"/>
                </a:solidFill>
              </a:defRPr>
            </a:lvl4pPr>
            <a:lvl5pPr marL="2286000" lvl="4" indent="-3175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Char char="○"/>
              <a:defRPr>
                <a:solidFill>
                  <a:schemeClr val="dk2"/>
                </a:solidFill>
              </a:defRPr>
            </a:lvl5pPr>
            <a:lvl6pPr marL="2743200" lvl="5" indent="-3175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Char char="■"/>
              <a:defRPr>
                <a:solidFill>
                  <a:schemeClr val="dk2"/>
                </a:solidFill>
              </a:defRPr>
            </a:lvl6pPr>
            <a:lvl7pPr marL="3200400" lvl="6" indent="-3175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Char char="●"/>
              <a:defRPr>
                <a:solidFill>
                  <a:schemeClr val="dk2"/>
                </a:solidFill>
              </a:defRPr>
            </a:lvl7pPr>
            <a:lvl8pPr marL="3657600" lvl="7" indent="-3175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Char char="○"/>
              <a:defRPr>
                <a:solidFill>
                  <a:schemeClr val="dk2"/>
                </a:solidFill>
              </a:defRPr>
            </a:lvl8pPr>
            <a:lvl9pPr marL="4114800" lvl="8" indent="-317500">
              <a:lnSpc>
                <a:spcPct val="115000"/>
              </a:lnSpc>
              <a:spcBef>
                <a:spcPts val="1600"/>
              </a:spcBef>
              <a:spcAft>
                <a:spcPts val="1600"/>
              </a:spcAft>
              <a:buClr>
                <a:schemeClr val="dk2"/>
              </a:buClr>
              <a:buSzPts val="1400"/>
              <a:buChar char="■"/>
              <a:defRPr>
                <a:solidFill>
                  <a:schemeClr val="dk2"/>
                </a:solidFill>
              </a:defRPr>
            </a:lvl9pPr>
          </a:lstStyle>
          <a:p>
            <a:endParaRPr/>
          </a:p>
        </p:txBody>
      </p:sp>
      <p:sp>
        <p:nvSpPr>
          <p:cNvPr id="8" name="Google Shape;8;p1"/>
          <p:cNvSpPr txBox="1">
            <a:spLocks noGrp="1"/>
          </p:cNvSpPr>
          <p:nvPr>
            <p:ph type="sldNum" idx="12"/>
          </p:nvPr>
        </p:nvSpPr>
        <p:spPr>
          <a:xfrm>
            <a:off x="8472458" y="6217623"/>
            <a:ext cx="548700" cy="52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r">
              <a:buNone/>
              <a:defRPr sz="1000">
                <a:solidFill>
                  <a:schemeClr val="dk2"/>
                </a:solidFill>
              </a:defRPr>
            </a:lvl1pPr>
            <a:lvl2pPr lvl="1" algn="r">
              <a:buNone/>
              <a:defRPr sz="1000">
                <a:solidFill>
                  <a:schemeClr val="dk2"/>
                </a:solidFill>
              </a:defRPr>
            </a:lvl2pPr>
            <a:lvl3pPr lvl="2" algn="r">
              <a:buNone/>
              <a:defRPr sz="1000">
                <a:solidFill>
                  <a:schemeClr val="dk2"/>
                </a:solidFill>
              </a:defRPr>
            </a:lvl3pPr>
            <a:lvl4pPr lvl="3" algn="r">
              <a:buNone/>
              <a:defRPr sz="1000">
                <a:solidFill>
                  <a:schemeClr val="dk2"/>
                </a:solidFill>
              </a:defRPr>
            </a:lvl4pPr>
            <a:lvl5pPr lvl="4" algn="r">
              <a:buNone/>
              <a:defRPr sz="1000">
                <a:solidFill>
                  <a:schemeClr val="dk2"/>
                </a:solidFill>
              </a:defRPr>
            </a:lvl5pPr>
            <a:lvl6pPr lvl="5" algn="r">
              <a:buNone/>
              <a:defRPr sz="1000">
                <a:solidFill>
                  <a:schemeClr val="dk2"/>
                </a:solidFill>
              </a:defRPr>
            </a:lvl6pPr>
            <a:lvl7pPr lvl="6" algn="r">
              <a:buNone/>
              <a:defRPr sz="1000">
                <a:solidFill>
                  <a:schemeClr val="dk2"/>
                </a:solidFill>
              </a:defRPr>
            </a:lvl7pPr>
            <a:lvl8pPr lvl="7" algn="r">
              <a:buNone/>
              <a:defRPr sz="1000">
                <a:solidFill>
                  <a:schemeClr val="dk2"/>
                </a:solidFill>
              </a:defRPr>
            </a:lvl8pPr>
            <a:lvl9pPr lvl="8" algn="r">
              <a:buNone/>
              <a:defRPr sz="1000">
                <a:solidFill>
                  <a:schemeClr val="dk2"/>
                </a:solidFill>
              </a:defRPr>
            </a:lvl9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</a:pPr>
            <a:fld id="{00000000-1234-1234-1234-123412341234}" type="slidenum">
              <a:rPr lang="en" kern="0" smtClean="0">
                <a:solidFill>
                  <a:srgbClr val="595959"/>
                </a:solidFill>
                <a:latin typeface="Arial"/>
                <a:cs typeface="Arial"/>
                <a:sym typeface="Arial"/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</a:pPr>
              <a:t>‹#›</a:t>
            </a:fld>
            <a:endParaRPr lang="en" kern="0">
              <a:solidFill>
                <a:srgbClr val="595959"/>
              </a:solidFill>
              <a:latin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120964708"/>
      </p:ext>
    </p:extLst>
  </p:cSld>
  <p:clrMap bg1="lt1" tx1="dk1" bg2="dk2" tx2="lt2" accent1="accent1" accent2="accent2" accent3="accent3" accent4="accent4" accent5="accent5" accent6="accent6" hlink="hlink" folHlink="folHlink"/>
  <p:sldLayoutIdLst>
    <p:sldLayoutId id="2147483932" r:id="rId1"/>
    <p:sldLayoutId id="2147483933" r:id="rId2"/>
    <p:sldLayoutId id="2147483934" r:id="rId3"/>
    <p:sldLayoutId id="2147483935" r:id="rId4"/>
    <p:sldLayoutId id="2147483936" r:id="rId5"/>
    <p:sldLayoutId id="2147483937" r:id="rId6"/>
    <p:sldLayoutId id="2147483938" r:id="rId7"/>
    <p:sldLayoutId id="2147483939" r:id="rId8"/>
    <p:sldLayoutId id="2147483940" r:id="rId9"/>
    <p:sldLayoutId id="2147483941" r:id="rId10"/>
    <p:sldLayoutId id="2147483942" r:id="rId11"/>
    <p:sldLayoutId id="2147483943" r:id="rId12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 bwMode="ltGray">
          <a:xfrm>
            <a:off x="0" y="0"/>
            <a:ext cx="9144000" cy="609600"/>
          </a:xfrm>
          <a:prstGeom prst="rect">
            <a:avLst/>
          </a:prstGeom>
          <a:solidFill>
            <a:srgbClr val="000000"/>
          </a:solidFill>
          <a:ln w="48000" cap="flat" cmpd="thickThin" algn="ctr">
            <a:noFill/>
            <a:prstDash val="solid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9pPr>
          </a:lstStyle>
          <a:p>
            <a:pPr algn="ctr" eaLnBrk="1" hangingPunct="1"/>
            <a:endParaRPr lang="en-US" altLang="en-US" sz="1800">
              <a:solidFill>
                <a:srgbClr val="FFFFFF"/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52400" y="0"/>
            <a:ext cx="8839200" cy="609600"/>
          </a:xfrm>
          <a:prstGeom prst="rect">
            <a:avLst/>
          </a:prstGeom>
        </p:spPr>
        <p:txBody>
          <a:bodyPr vert="horz" lIns="91440" rIns="45720" rtlCol="0" anchor="ctr">
            <a:noAutofit/>
            <a:scene3d>
              <a:camera prst="orthographicFront"/>
              <a:lightRig rig="threePt" dir="t">
                <a:rot lat="0" lon="0" rev="4800000"/>
              </a:lightRig>
            </a:scene3d>
            <a:sp3d prstMaterial="matte">
              <a:bevelT w="50800" h="10160"/>
            </a:sp3d>
          </a:bodyPr>
          <a:lstStyle>
            <a:extLst/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1028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152400" y="685800"/>
            <a:ext cx="8839200" cy="609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54864" tIns="9144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Click to edit Master text styles</a:t>
            </a:r>
          </a:p>
          <a:p>
            <a:pPr lvl="1"/>
            <a:r>
              <a:rPr lang="en-US" altLang="en-US" smtClean="0"/>
              <a:t>Second level</a:t>
            </a:r>
          </a:p>
          <a:p>
            <a:pPr lvl="2"/>
            <a:r>
              <a:rPr lang="en-US" altLang="en-US" smtClean="0"/>
              <a:t>Third level</a:t>
            </a:r>
          </a:p>
          <a:p>
            <a:pPr lvl="3"/>
            <a:r>
              <a:rPr lang="en-US" altLang="en-US" smtClean="0"/>
              <a:t>Fourth level</a:t>
            </a:r>
          </a:p>
          <a:p>
            <a:pPr lvl="4"/>
            <a:r>
              <a:rPr lang="en-US" altLang="en-US" smtClean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52400" y="6553200"/>
            <a:ext cx="2133600" cy="274638"/>
          </a:xfrm>
          <a:prstGeom prst="rect">
            <a:avLst/>
          </a:prstGeom>
        </p:spPr>
        <p:txBody>
          <a:bodyPr vert="horz" wrap="square" lIns="109728" tIns="45720" rIns="45720" bIns="0" numCol="1" anchor="b" anchorCtr="0" compatLnSpc="1">
            <a:prstTxWarp prst="textNoShape">
              <a:avLst/>
            </a:prstTxWarp>
          </a:bodyPr>
          <a:lstStyle>
            <a:lvl1pPr>
              <a:defRPr sz="1200">
                <a:solidFill>
                  <a:srgbClr val="3F3F3F"/>
                </a:solidFill>
                <a:latin typeface="Corbel" panose="020B0503020204020204" pitchFamily="34" charset="0"/>
              </a:defRPr>
            </a:lvl1pPr>
          </a:lstStyle>
          <a:p>
            <a:pPr eaLnBrk="1" hangingPunct="1"/>
            <a:fld id="{BFF70EC6-2EB6-4869-BF86-5B6F89633D27}" type="datetime1">
              <a:rPr lang="en-US" altLang="en-US">
                <a:cs typeface="Arial" panose="020B0604020202020204" pitchFamily="34" charset="0"/>
              </a:rPr>
              <a:pPr eaLnBrk="1" hangingPunct="1"/>
              <a:t>2/26/2019</a:t>
            </a:fld>
            <a:endParaRPr lang="en-US" altLang="en-US">
              <a:cs typeface="Arial" panose="020B0604020202020204" pitchFamily="34" charset="0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362200" y="6553200"/>
            <a:ext cx="6019800" cy="274638"/>
          </a:xfrm>
          <a:prstGeom prst="rect">
            <a:avLst/>
          </a:prstGeom>
        </p:spPr>
        <p:txBody>
          <a:bodyPr vert="horz" wrap="square" lIns="45720" tIns="45720" rIns="45720" bIns="0" numCol="1" anchor="b" anchorCtr="0" compatLnSpc="1">
            <a:prstTxWarp prst="textNoShape">
              <a:avLst/>
            </a:prstTxWarp>
          </a:bodyPr>
          <a:lstStyle>
            <a:lvl1pPr>
              <a:defRPr sz="1200">
                <a:solidFill>
                  <a:srgbClr val="3F3F3F"/>
                </a:solidFill>
                <a:latin typeface="Corbel" panose="020B0503020204020204" pitchFamily="34" charset="0"/>
              </a:defRPr>
            </a:lvl1pPr>
          </a:lstStyle>
          <a:p>
            <a:pPr eaLnBrk="1" hangingPunct="1"/>
            <a:endParaRPr lang="en-US" altLang="en-US">
              <a:cs typeface="Arial" panose="020B0604020202020204" pitchFamily="34" charset="0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458200" y="6553200"/>
            <a:ext cx="685800" cy="274638"/>
          </a:xfrm>
          <a:prstGeom prst="rect">
            <a:avLst/>
          </a:prstGeom>
        </p:spPr>
        <p:txBody>
          <a:bodyPr vert="horz" wrap="square" lIns="91440" tIns="45720" rIns="91440" bIns="0" numCol="1" anchor="b" anchorCtr="0" compatLnSpc="1">
            <a:prstTxWarp prst="textNoShape">
              <a:avLst/>
            </a:prstTxWarp>
          </a:bodyPr>
          <a:lstStyle>
            <a:lvl1pPr algn="r">
              <a:defRPr sz="1200">
                <a:solidFill>
                  <a:srgbClr val="3F3F3F"/>
                </a:solidFill>
                <a:latin typeface="Corbel" panose="020B0503020204020204" pitchFamily="34" charset="0"/>
              </a:defRPr>
            </a:lvl1pPr>
          </a:lstStyle>
          <a:p>
            <a:pPr eaLnBrk="1" hangingPunct="1"/>
            <a:fld id="{925E923A-4321-410A-8B62-594982172D97}" type="slidenum">
              <a:rPr lang="en-US" altLang="en-US">
                <a:cs typeface="Arial" panose="020B0604020202020204" pitchFamily="34" charset="0"/>
              </a:rPr>
              <a:pPr eaLnBrk="1" hangingPunct="1"/>
              <a:t>‹#›</a:t>
            </a:fld>
            <a:endParaRPr lang="en-US" altLang="en-US"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9932854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45" r:id="rId1"/>
    <p:sldLayoutId id="2147483946" r:id="rId2"/>
    <p:sldLayoutId id="2147483947" r:id="rId3"/>
    <p:sldLayoutId id="2147483948" r:id="rId4"/>
    <p:sldLayoutId id="2147483949" r:id="rId5"/>
    <p:sldLayoutId id="2147483950" r:id="rId6"/>
    <p:sldLayoutId id="2147483951" r:id="rId7"/>
    <p:sldLayoutId id="2147483952" r:id="rId8"/>
    <p:sldLayoutId id="2147483953" r:id="rId9"/>
  </p:sldLayoutIdLst>
  <p:hf hdr="0" ftr="0" dt="0"/>
  <p:txStyles>
    <p:titleStyle>
      <a:lvl1pPr algn="l" rtl="0" fontAlgn="base">
        <a:spcBef>
          <a:spcPct val="0"/>
        </a:spcBef>
        <a:spcAft>
          <a:spcPct val="0"/>
        </a:spcAft>
        <a:defRPr sz="4400" b="1" kern="1200">
          <a:solidFill>
            <a:srgbClr val="FFC800"/>
          </a:solidFill>
          <a:latin typeface="+mj-lt"/>
          <a:ea typeface="+mj-ea"/>
          <a:cs typeface="+mj-cs"/>
        </a:defRPr>
      </a:lvl1pPr>
      <a:lvl2pPr algn="l" rtl="0" fontAlgn="base">
        <a:spcBef>
          <a:spcPct val="0"/>
        </a:spcBef>
        <a:spcAft>
          <a:spcPct val="0"/>
        </a:spcAft>
        <a:defRPr sz="4400" b="1">
          <a:solidFill>
            <a:srgbClr val="FFC800"/>
          </a:solidFill>
          <a:latin typeface="Corbel" panose="020B0503020204020204" pitchFamily="34" charset="0"/>
        </a:defRPr>
      </a:lvl2pPr>
      <a:lvl3pPr algn="l" rtl="0" fontAlgn="base">
        <a:spcBef>
          <a:spcPct val="0"/>
        </a:spcBef>
        <a:spcAft>
          <a:spcPct val="0"/>
        </a:spcAft>
        <a:defRPr sz="4400" b="1">
          <a:solidFill>
            <a:srgbClr val="FFC800"/>
          </a:solidFill>
          <a:latin typeface="Corbel" panose="020B0503020204020204" pitchFamily="34" charset="0"/>
        </a:defRPr>
      </a:lvl3pPr>
      <a:lvl4pPr algn="l" rtl="0" fontAlgn="base">
        <a:spcBef>
          <a:spcPct val="0"/>
        </a:spcBef>
        <a:spcAft>
          <a:spcPct val="0"/>
        </a:spcAft>
        <a:defRPr sz="4400" b="1">
          <a:solidFill>
            <a:srgbClr val="FFC800"/>
          </a:solidFill>
          <a:latin typeface="Corbel" panose="020B0503020204020204" pitchFamily="34" charset="0"/>
        </a:defRPr>
      </a:lvl4pPr>
      <a:lvl5pPr algn="l" rtl="0" fontAlgn="base">
        <a:spcBef>
          <a:spcPct val="0"/>
        </a:spcBef>
        <a:spcAft>
          <a:spcPct val="0"/>
        </a:spcAft>
        <a:defRPr sz="4400" b="1">
          <a:solidFill>
            <a:srgbClr val="FFC800"/>
          </a:solidFill>
          <a:latin typeface="Corbel" panose="020B0503020204020204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4400" b="1">
          <a:solidFill>
            <a:srgbClr val="FFC800"/>
          </a:solidFill>
          <a:latin typeface="Corbel" panose="020B0503020204020204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4400" b="1">
          <a:solidFill>
            <a:srgbClr val="FFC800"/>
          </a:solidFill>
          <a:latin typeface="Corbel" panose="020B0503020204020204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4400" b="1">
          <a:solidFill>
            <a:srgbClr val="FFC800"/>
          </a:solidFill>
          <a:latin typeface="Corbel" panose="020B0503020204020204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4400" b="1">
          <a:solidFill>
            <a:srgbClr val="FFC800"/>
          </a:solidFill>
          <a:latin typeface="Corbel" panose="020B0503020204020204" pitchFamily="34" charset="0"/>
        </a:defRPr>
      </a:lvl9pPr>
      <a:extLst/>
    </p:titleStyle>
    <p:bodyStyle>
      <a:lvl1pPr marL="438150" indent="-319088" algn="l" rtl="0" fontAlgn="base">
        <a:spcBef>
          <a:spcPct val="0"/>
        </a:spcBef>
        <a:spcAft>
          <a:spcPct val="0"/>
        </a:spcAft>
        <a:buClr>
          <a:schemeClr val="accent1"/>
        </a:buClr>
        <a:buSzPct val="80000"/>
        <a:buFont typeface="Wingdings 2" panose="05020102010507070707" pitchFamily="18" charset="2"/>
        <a:buChar char="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30250" indent="-273050" algn="l" rtl="0" fontAlgn="base">
        <a:spcBef>
          <a:spcPct val="20000"/>
        </a:spcBef>
        <a:spcAft>
          <a:spcPct val="0"/>
        </a:spcAft>
        <a:buClr>
          <a:schemeClr val="accent2"/>
        </a:buClr>
        <a:buSzPct val="90000"/>
        <a:buFont typeface="Wingdings" panose="05000000000000000000" pitchFamily="2" charset="2"/>
        <a:buChar char="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995363" indent="-228600" algn="l" rtl="0" fontAlgn="base">
        <a:spcBef>
          <a:spcPct val="20000"/>
        </a:spcBef>
        <a:spcAft>
          <a:spcPct val="0"/>
        </a:spcAft>
        <a:buClr>
          <a:srgbClr val="E66C7D"/>
        </a:buClr>
        <a:buFont typeface="Arial" panose="020B0604020202020204" pitchFamily="34" charset="0"/>
        <a:buChar char="▪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216025" indent="-182563" algn="l" rtl="0" fontAlgn="base">
        <a:spcBef>
          <a:spcPct val="20000"/>
        </a:spcBef>
        <a:spcAft>
          <a:spcPct val="0"/>
        </a:spcAft>
        <a:buClr>
          <a:srgbClr val="6BB76D"/>
        </a:buClr>
        <a:buFont typeface="Arial" panose="020B0604020202020204" pitchFamily="34" charset="0"/>
        <a:buChar char="▪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425575" indent="-182563" algn="l" rtl="0" fontAlgn="base">
        <a:spcBef>
          <a:spcPct val="20000"/>
        </a:spcBef>
        <a:spcAft>
          <a:spcPct val="0"/>
        </a:spcAft>
        <a:buClr>
          <a:srgbClr val="E88651"/>
        </a:buClr>
        <a:buFont typeface="Wingdings 3" panose="05040102010807070707" pitchFamily="18" charset="2"/>
        <a:buChar char=""/>
        <a:defRPr lang="en-US"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1627632" indent="-182880" algn="l" rtl="0" eaLnBrk="1" latinLnBrk="0" hangingPunct="1">
        <a:spcBef>
          <a:spcPct val="20000"/>
        </a:spcBef>
        <a:buClr>
          <a:schemeClr val="accent6"/>
        </a:buClr>
        <a:buSzPct val="100000"/>
        <a:buFont typeface="Wingdings 2"/>
        <a:buChar char=""/>
        <a:defRPr kumimoji="0"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1828800" indent="-182880" algn="l" rtl="0" eaLnBrk="1" latinLnBrk="0" hangingPunct="1">
        <a:spcBef>
          <a:spcPct val="20000"/>
        </a:spcBef>
        <a:buClr>
          <a:schemeClr val="accent1"/>
        </a:buClr>
        <a:buSzPct val="100000"/>
        <a:buFont typeface="Wingdings 2"/>
        <a:buChar char=""/>
        <a:defRPr kumimoji="0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2029968" indent="-182880" algn="l" rtl="0" eaLnBrk="1" latinLnBrk="0" hangingPunct="1">
        <a:spcBef>
          <a:spcPct val="20000"/>
        </a:spcBef>
        <a:buClr>
          <a:schemeClr val="accent2"/>
        </a:buClr>
        <a:buFont typeface="Wingdings 2" pitchFamily="18" charset="2"/>
        <a:buChar char=""/>
        <a:defRPr kumimoji="0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2231136" indent="-182880" algn="l" rtl="0" eaLnBrk="1" latinLnBrk="0" hangingPunct="1">
        <a:spcBef>
          <a:spcPct val="20000"/>
        </a:spcBef>
        <a:buClr>
          <a:schemeClr val="accent3"/>
        </a:buClr>
        <a:buFont typeface="Wingdings 2" pitchFamily="18" charset="2"/>
        <a:buChar char=""/>
        <a:defRPr kumimoji="0" sz="1800" kern="1200" baseline="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Click to edit Master title style</a:t>
            </a:r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Click to edit Master text styles</a:t>
            </a:r>
          </a:p>
          <a:p>
            <a:pPr lvl="1"/>
            <a:r>
              <a:rPr lang="en-US" altLang="en-US" smtClean="0"/>
              <a:t>Second level</a:t>
            </a:r>
          </a:p>
          <a:p>
            <a:pPr lvl="2"/>
            <a:r>
              <a:rPr lang="en-US" altLang="en-US" smtClean="0"/>
              <a:t>Third level</a:t>
            </a:r>
          </a:p>
          <a:p>
            <a:pPr lvl="3"/>
            <a:r>
              <a:rPr lang="en-US" altLang="en-US" smtClean="0"/>
              <a:t>Fourth level</a:t>
            </a:r>
          </a:p>
          <a:p>
            <a:pPr lvl="4"/>
            <a:r>
              <a:rPr lang="en-US" altLang="en-US" smtClean="0"/>
              <a:t>Fifth level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57200" y="6245225"/>
            <a:ext cx="21336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400">
                <a:solidFill>
                  <a:srgbClr val="000000"/>
                </a:solidFill>
                <a:latin typeface="Arial" charset="0"/>
                <a:cs typeface="+mn-cs"/>
              </a:defRPr>
            </a:lvl1pPr>
          </a:lstStyle>
          <a:p>
            <a:pPr eaLnBrk="1" hangingPunct="1">
              <a:defRPr/>
            </a:pPr>
            <a:endParaRPr lang="en-US"/>
          </a:p>
        </p:txBody>
      </p:sp>
      <p:sp>
        <p:nvSpPr>
          <p:cNvPr id="1029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124200" y="6245225"/>
            <a:ext cx="28956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sz="1400">
                <a:solidFill>
                  <a:srgbClr val="000000"/>
                </a:solidFill>
                <a:latin typeface="Arial" charset="0"/>
                <a:cs typeface="+mn-cs"/>
              </a:defRPr>
            </a:lvl1pPr>
          </a:lstStyle>
          <a:p>
            <a:pPr eaLnBrk="1" hangingPunct="1">
              <a:defRPr/>
            </a:pPr>
            <a:endParaRPr lang="en-US"/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553200" y="6245225"/>
            <a:ext cx="21336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solidFill>
                  <a:srgbClr val="000000"/>
                </a:solidFill>
              </a:defRPr>
            </a:lvl1pPr>
          </a:lstStyle>
          <a:p>
            <a:pPr eaLnBrk="1" hangingPunct="1"/>
            <a:fld id="{B80DE8CA-1B5B-449F-AEB8-A7F878777CF0}" type="slidenum">
              <a:rPr lang="en-US" altLang="en-US">
                <a:cs typeface="Arial" panose="020B0604020202020204" pitchFamily="34" charset="0"/>
              </a:rPr>
              <a:pPr eaLnBrk="1" hangingPunct="1"/>
              <a:t>‹#›</a:t>
            </a:fld>
            <a:endParaRPr lang="en-US" altLang="en-US"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406358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55" r:id="rId1"/>
    <p:sldLayoutId id="2147483956" r:id="rId2"/>
    <p:sldLayoutId id="2147483957" r:id="rId3"/>
    <p:sldLayoutId id="2147483958" r:id="rId4"/>
    <p:sldLayoutId id="2147483959" r:id="rId5"/>
    <p:sldLayoutId id="2147483960" r:id="rId6"/>
    <p:sldLayoutId id="2147483961" r:id="rId7"/>
    <p:sldLayoutId id="2147483962" r:id="rId8"/>
    <p:sldLayoutId id="2147483963" r:id="rId9"/>
    <p:sldLayoutId id="2147483964" r:id="rId10"/>
    <p:sldLayoutId id="2147483965" r:id="rId11"/>
    <p:sldLayoutId id="2147483966" r:id="rId12"/>
    <p:sldLayoutId id="2147483967" r:id="rId13"/>
  </p:sldLayoutIdLst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28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400">
          <a:solidFill>
            <a:schemeClr val="tx1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Title Placeholder 1"/>
          <p:cNvSpPr>
            <a:spLocks noGrp="1"/>
          </p:cNvSpPr>
          <p:nvPr>
            <p:ph type="title"/>
          </p:nvPr>
        </p:nvSpPr>
        <p:spPr bwMode="auto">
          <a:xfrm>
            <a:off x="457200" y="0"/>
            <a:ext cx="8229600" cy="914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Click to edit Master title style</a:t>
            </a:r>
          </a:p>
        </p:txBody>
      </p:sp>
      <p:sp>
        <p:nvSpPr>
          <p:cNvPr id="5123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57200" y="1066800"/>
            <a:ext cx="8229600" cy="5181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Click to edit Master text styles</a:t>
            </a:r>
          </a:p>
          <a:p>
            <a:pPr lvl="1"/>
            <a:r>
              <a:rPr lang="en-US" altLang="en-US" smtClean="0"/>
              <a:t>Second level</a:t>
            </a:r>
          </a:p>
          <a:p>
            <a:pPr lvl="2"/>
            <a:r>
              <a:rPr lang="en-US" altLang="en-US" smtClean="0"/>
              <a:t>Third level</a:t>
            </a:r>
          </a:p>
          <a:p>
            <a:pPr lvl="3"/>
            <a:r>
              <a:rPr lang="en-US" altLang="en-US" smtClean="0"/>
              <a:t>Fourth level</a:t>
            </a:r>
          </a:p>
          <a:p>
            <a:pPr lvl="4"/>
            <a:r>
              <a:rPr lang="en-US" altLang="en-US" smtClean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solidFill>
                  <a:prstClr val="black">
                    <a:tint val="75000"/>
                  </a:prstClr>
                </a:solidFill>
                <a:latin typeface="+mn-lt"/>
                <a:cs typeface="+mn-cs"/>
              </a:defRPr>
            </a:lvl1pPr>
          </a:lstStyle>
          <a:p>
            <a:pPr eaLnBrk="1" hangingPunct="1">
              <a:defRPr/>
            </a:pPr>
            <a:fld id="{BCE1C4E6-81D5-477A-B2B3-F3C1E28E542F}" type="datetimeFigureOut">
              <a:rPr lang="en-US"/>
              <a:pPr eaLnBrk="1" hangingPunct="1">
                <a:defRPr/>
              </a:pPr>
              <a:t>2/26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prstClr val="black">
                    <a:tint val="75000"/>
                  </a:prstClr>
                </a:solidFill>
                <a:latin typeface="+mn-lt"/>
                <a:cs typeface="+mn-cs"/>
              </a:defRPr>
            </a:lvl1pPr>
          </a:lstStyle>
          <a:p>
            <a:pPr eaLnBrk="1" hangingPunct="1"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>
              <a:defRPr sz="1200">
                <a:solidFill>
                  <a:srgbClr val="898989"/>
                </a:solidFill>
                <a:latin typeface="Calibri" panose="020F0502020204030204" pitchFamily="34" charset="0"/>
              </a:defRPr>
            </a:lvl1pPr>
          </a:lstStyle>
          <a:p>
            <a:pPr eaLnBrk="1" hangingPunct="1"/>
            <a:fld id="{1D82411F-BC60-4DF6-9EC1-883E7493B09C}" type="slidenum">
              <a:rPr lang="en-US" altLang="en-US">
                <a:cs typeface="Arial" panose="020B0604020202020204" pitchFamily="34" charset="0"/>
              </a:rPr>
              <a:pPr eaLnBrk="1" hangingPunct="1"/>
              <a:t>‹#›</a:t>
            </a:fld>
            <a:endParaRPr lang="en-US" altLang="en-US"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223338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69" r:id="rId1"/>
    <p:sldLayoutId id="2147483970" r:id="rId2"/>
    <p:sldLayoutId id="2147483971" r:id="rId3"/>
    <p:sldLayoutId id="2147483972" r:id="rId4"/>
    <p:sldLayoutId id="2147483973" r:id="rId5"/>
    <p:sldLayoutId id="2147483974" r:id="rId6"/>
    <p:sldLayoutId id="2147483975" r:id="rId7"/>
    <p:sldLayoutId id="2147483976" r:id="rId8"/>
    <p:sldLayoutId id="2147483977" r:id="rId9"/>
    <p:sldLayoutId id="2147483978" r:id="rId10"/>
    <p:sldLayoutId id="2147483979" r:id="rId11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360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Calibri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Calibri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Calibri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Calibri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Calibri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Calibri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Calibri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 bwMode="ltGray">
          <a:xfrm>
            <a:off x="0" y="0"/>
            <a:ext cx="9144000" cy="609600"/>
          </a:xfrm>
          <a:prstGeom prst="rect">
            <a:avLst/>
          </a:prstGeom>
          <a:solidFill>
            <a:srgbClr val="000000"/>
          </a:solidFill>
          <a:ln w="48000" cap="flat" cmpd="thickThin" algn="ctr">
            <a:noFill/>
            <a:prstDash val="solid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9pPr>
          </a:lstStyle>
          <a:p>
            <a:pPr algn="ctr" eaLnBrk="1" hangingPunct="1"/>
            <a:endParaRPr lang="en-US" altLang="en-US" sz="1800">
              <a:solidFill>
                <a:srgbClr val="FFFFFF"/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52400" y="0"/>
            <a:ext cx="8839200" cy="609600"/>
          </a:xfrm>
          <a:prstGeom prst="rect">
            <a:avLst/>
          </a:prstGeom>
        </p:spPr>
        <p:txBody>
          <a:bodyPr vert="horz" lIns="91440" rIns="45720" rtlCol="0" anchor="ctr">
            <a:noAutofit/>
            <a:scene3d>
              <a:camera prst="orthographicFront"/>
              <a:lightRig rig="threePt" dir="t">
                <a:rot lat="0" lon="0" rev="4800000"/>
              </a:lightRig>
            </a:scene3d>
            <a:sp3d prstMaterial="matte">
              <a:bevelT w="50800" h="10160"/>
            </a:sp3d>
          </a:bodyPr>
          <a:lstStyle>
            <a:extLst/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1028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152400" y="685800"/>
            <a:ext cx="8839200" cy="609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54864" tIns="9144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Click to edit Master text styles</a:t>
            </a:r>
          </a:p>
          <a:p>
            <a:pPr lvl="1"/>
            <a:r>
              <a:rPr lang="en-US" altLang="en-US" smtClean="0"/>
              <a:t>Second level</a:t>
            </a:r>
          </a:p>
          <a:p>
            <a:pPr lvl="2"/>
            <a:r>
              <a:rPr lang="en-US" altLang="en-US" smtClean="0"/>
              <a:t>Third level</a:t>
            </a:r>
          </a:p>
          <a:p>
            <a:pPr lvl="3"/>
            <a:r>
              <a:rPr lang="en-US" altLang="en-US" smtClean="0"/>
              <a:t>Fourth level</a:t>
            </a:r>
          </a:p>
          <a:p>
            <a:pPr lvl="4"/>
            <a:r>
              <a:rPr lang="en-US" altLang="en-US" smtClean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52400" y="6553200"/>
            <a:ext cx="2133600" cy="274638"/>
          </a:xfrm>
          <a:prstGeom prst="rect">
            <a:avLst/>
          </a:prstGeom>
        </p:spPr>
        <p:txBody>
          <a:bodyPr vert="horz" wrap="square" lIns="109728" tIns="45720" rIns="45720" bIns="0" numCol="1" anchor="b" anchorCtr="0" compatLnSpc="1">
            <a:prstTxWarp prst="textNoShape">
              <a:avLst/>
            </a:prstTxWarp>
          </a:bodyPr>
          <a:lstStyle>
            <a:lvl1pPr>
              <a:defRPr sz="1200">
                <a:solidFill>
                  <a:srgbClr val="3F3F3F"/>
                </a:solidFill>
                <a:latin typeface="Corbel" panose="020B0503020204020204" pitchFamily="34" charset="0"/>
              </a:defRPr>
            </a:lvl1pPr>
          </a:lstStyle>
          <a:p>
            <a:pPr eaLnBrk="1" hangingPunct="1"/>
            <a:fld id="{BFF70EC6-2EB6-4869-BF86-5B6F89633D27}" type="datetime1">
              <a:rPr lang="en-US" altLang="en-US">
                <a:cs typeface="Arial" panose="020B0604020202020204" pitchFamily="34" charset="0"/>
              </a:rPr>
              <a:pPr eaLnBrk="1" hangingPunct="1"/>
              <a:t>2/26/2019</a:t>
            </a:fld>
            <a:endParaRPr lang="en-US" altLang="en-US">
              <a:cs typeface="Arial" panose="020B0604020202020204" pitchFamily="34" charset="0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362200" y="6553200"/>
            <a:ext cx="6019800" cy="274638"/>
          </a:xfrm>
          <a:prstGeom prst="rect">
            <a:avLst/>
          </a:prstGeom>
        </p:spPr>
        <p:txBody>
          <a:bodyPr vert="horz" wrap="square" lIns="45720" tIns="45720" rIns="45720" bIns="0" numCol="1" anchor="b" anchorCtr="0" compatLnSpc="1">
            <a:prstTxWarp prst="textNoShape">
              <a:avLst/>
            </a:prstTxWarp>
          </a:bodyPr>
          <a:lstStyle>
            <a:lvl1pPr>
              <a:defRPr sz="1200">
                <a:solidFill>
                  <a:srgbClr val="3F3F3F"/>
                </a:solidFill>
                <a:latin typeface="Corbel" panose="020B0503020204020204" pitchFamily="34" charset="0"/>
              </a:defRPr>
            </a:lvl1pPr>
          </a:lstStyle>
          <a:p>
            <a:pPr eaLnBrk="1" hangingPunct="1"/>
            <a:endParaRPr lang="en-US" altLang="en-US">
              <a:cs typeface="Arial" panose="020B0604020202020204" pitchFamily="34" charset="0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458200" y="6553200"/>
            <a:ext cx="685800" cy="274638"/>
          </a:xfrm>
          <a:prstGeom prst="rect">
            <a:avLst/>
          </a:prstGeom>
        </p:spPr>
        <p:txBody>
          <a:bodyPr vert="horz" wrap="square" lIns="91440" tIns="45720" rIns="91440" bIns="0" numCol="1" anchor="b" anchorCtr="0" compatLnSpc="1">
            <a:prstTxWarp prst="textNoShape">
              <a:avLst/>
            </a:prstTxWarp>
          </a:bodyPr>
          <a:lstStyle>
            <a:lvl1pPr algn="r">
              <a:defRPr sz="1200">
                <a:solidFill>
                  <a:srgbClr val="3F3F3F"/>
                </a:solidFill>
                <a:latin typeface="Corbel" panose="020B0503020204020204" pitchFamily="34" charset="0"/>
              </a:defRPr>
            </a:lvl1pPr>
          </a:lstStyle>
          <a:p>
            <a:pPr eaLnBrk="1" hangingPunct="1"/>
            <a:fld id="{925E923A-4321-410A-8B62-594982172D97}" type="slidenum">
              <a:rPr lang="en-US" altLang="en-US">
                <a:cs typeface="Arial" panose="020B0604020202020204" pitchFamily="34" charset="0"/>
              </a:rPr>
              <a:pPr eaLnBrk="1" hangingPunct="1"/>
              <a:t>‹#›</a:t>
            </a:fld>
            <a:endParaRPr lang="en-US" altLang="en-US"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784313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81" r:id="rId1"/>
    <p:sldLayoutId id="2147483982" r:id="rId2"/>
    <p:sldLayoutId id="2147483983" r:id="rId3"/>
    <p:sldLayoutId id="2147483984" r:id="rId4"/>
    <p:sldLayoutId id="2147483985" r:id="rId5"/>
    <p:sldLayoutId id="2147483986" r:id="rId6"/>
    <p:sldLayoutId id="2147483987" r:id="rId7"/>
    <p:sldLayoutId id="2147483988" r:id="rId8"/>
    <p:sldLayoutId id="2147483989" r:id="rId9"/>
  </p:sldLayoutIdLst>
  <p:hf hdr="0" ftr="0" dt="0"/>
  <p:txStyles>
    <p:titleStyle>
      <a:lvl1pPr algn="l" rtl="0" fontAlgn="base">
        <a:spcBef>
          <a:spcPct val="0"/>
        </a:spcBef>
        <a:spcAft>
          <a:spcPct val="0"/>
        </a:spcAft>
        <a:defRPr sz="4400" b="1" kern="1200">
          <a:solidFill>
            <a:srgbClr val="FFC800"/>
          </a:solidFill>
          <a:latin typeface="+mj-lt"/>
          <a:ea typeface="+mj-ea"/>
          <a:cs typeface="+mj-cs"/>
        </a:defRPr>
      </a:lvl1pPr>
      <a:lvl2pPr algn="l" rtl="0" fontAlgn="base">
        <a:spcBef>
          <a:spcPct val="0"/>
        </a:spcBef>
        <a:spcAft>
          <a:spcPct val="0"/>
        </a:spcAft>
        <a:defRPr sz="4400" b="1">
          <a:solidFill>
            <a:srgbClr val="FFC800"/>
          </a:solidFill>
          <a:latin typeface="Corbel" panose="020B0503020204020204" pitchFamily="34" charset="0"/>
        </a:defRPr>
      </a:lvl2pPr>
      <a:lvl3pPr algn="l" rtl="0" fontAlgn="base">
        <a:spcBef>
          <a:spcPct val="0"/>
        </a:spcBef>
        <a:spcAft>
          <a:spcPct val="0"/>
        </a:spcAft>
        <a:defRPr sz="4400" b="1">
          <a:solidFill>
            <a:srgbClr val="FFC800"/>
          </a:solidFill>
          <a:latin typeface="Corbel" panose="020B0503020204020204" pitchFamily="34" charset="0"/>
        </a:defRPr>
      </a:lvl3pPr>
      <a:lvl4pPr algn="l" rtl="0" fontAlgn="base">
        <a:spcBef>
          <a:spcPct val="0"/>
        </a:spcBef>
        <a:spcAft>
          <a:spcPct val="0"/>
        </a:spcAft>
        <a:defRPr sz="4400" b="1">
          <a:solidFill>
            <a:srgbClr val="FFC800"/>
          </a:solidFill>
          <a:latin typeface="Corbel" panose="020B0503020204020204" pitchFamily="34" charset="0"/>
        </a:defRPr>
      </a:lvl4pPr>
      <a:lvl5pPr algn="l" rtl="0" fontAlgn="base">
        <a:spcBef>
          <a:spcPct val="0"/>
        </a:spcBef>
        <a:spcAft>
          <a:spcPct val="0"/>
        </a:spcAft>
        <a:defRPr sz="4400" b="1">
          <a:solidFill>
            <a:srgbClr val="FFC800"/>
          </a:solidFill>
          <a:latin typeface="Corbel" panose="020B0503020204020204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4400" b="1">
          <a:solidFill>
            <a:srgbClr val="FFC800"/>
          </a:solidFill>
          <a:latin typeface="Corbel" panose="020B0503020204020204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4400" b="1">
          <a:solidFill>
            <a:srgbClr val="FFC800"/>
          </a:solidFill>
          <a:latin typeface="Corbel" panose="020B0503020204020204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4400" b="1">
          <a:solidFill>
            <a:srgbClr val="FFC800"/>
          </a:solidFill>
          <a:latin typeface="Corbel" panose="020B0503020204020204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4400" b="1">
          <a:solidFill>
            <a:srgbClr val="FFC800"/>
          </a:solidFill>
          <a:latin typeface="Corbel" panose="020B0503020204020204" pitchFamily="34" charset="0"/>
        </a:defRPr>
      </a:lvl9pPr>
      <a:extLst/>
    </p:titleStyle>
    <p:bodyStyle>
      <a:lvl1pPr marL="438150" indent="-319088" algn="l" rtl="0" fontAlgn="base">
        <a:spcBef>
          <a:spcPct val="0"/>
        </a:spcBef>
        <a:spcAft>
          <a:spcPct val="0"/>
        </a:spcAft>
        <a:buClr>
          <a:schemeClr val="accent1"/>
        </a:buClr>
        <a:buSzPct val="80000"/>
        <a:buFont typeface="Wingdings 2" panose="05020102010507070707" pitchFamily="18" charset="2"/>
        <a:buChar char="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30250" indent="-273050" algn="l" rtl="0" fontAlgn="base">
        <a:spcBef>
          <a:spcPct val="20000"/>
        </a:spcBef>
        <a:spcAft>
          <a:spcPct val="0"/>
        </a:spcAft>
        <a:buClr>
          <a:schemeClr val="accent2"/>
        </a:buClr>
        <a:buSzPct val="90000"/>
        <a:buFont typeface="Wingdings" panose="05000000000000000000" pitchFamily="2" charset="2"/>
        <a:buChar char="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995363" indent="-228600" algn="l" rtl="0" fontAlgn="base">
        <a:spcBef>
          <a:spcPct val="20000"/>
        </a:spcBef>
        <a:spcAft>
          <a:spcPct val="0"/>
        </a:spcAft>
        <a:buClr>
          <a:srgbClr val="E66C7D"/>
        </a:buClr>
        <a:buFont typeface="Arial" panose="020B0604020202020204" pitchFamily="34" charset="0"/>
        <a:buChar char="▪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216025" indent="-182563" algn="l" rtl="0" fontAlgn="base">
        <a:spcBef>
          <a:spcPct val="20000"/>
        </a:spcBef>
        <a:spcAft>
          <a:spcPct val="0"/>
        </a:spcAft>
        <a:buClr>
          <a:srgbClr val="6BB76D"/>
        </a:buClr>
        <a:buFont typeface="Arial" panose="020B0604020202020204" pitchFamily="34" charset="0"/>
        <a:buChar char="▪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425575" indent="-182563" algn="l" rtl="0" fontAlgn="base">
        <a:spcBef>
          <a:spcPct val="20000"/>
        </a:spcBef>
        <a:spcAft>
          <a:spcPct val="0"/>
        </a:spcAft>
        <a:buClr>
          <a:srgbClr val="E88651"/>
        </a:buClr>
        <a:buFont typeface="Wingdings 3" panose="05040102010807070707" pitchFamily="18" charset="2"/>
        <a:buChar char=""/>
        <a:defRPr lang="en-US"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1627632" indent="-182880" algn="l" rtl="0" eaLnBrk="1" latinLnBrk="0" hangingPunct="1">
        <a:spcBef>
          <a:spcPct val="20000"/>
        </a:spcBef>
        <a:buClr>
          <a:schemeClr val="accent6"/>
        </a:buClr>
        <a:buSzPct val="100000"/>
        <a:buFont typeface="Wingdings 2"/>
        <a:buChar char=""/>
        <a:defRPr kumimoji="0"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1828800" indent="-182880" algn="l" rtl="0" eaLnBrk="1" latinLnBrk="0" hangingPunct="1">
        <a:spcBef>
          <a:spcPct val="20000"/>
        </a:spcBef>
        <a:buClr>
          <a:schemeClr val="accent1"/>
        </a:buClr>
        <a:buSzPct val="100000"/>
        <a:buFont typeface="Wingdings 2"/>
        <a:buChar char=""/>
        <a:defRPr kumimoji="0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2029968" indent="-182880" algn="l" rtl="0" eaLnBrk="1" latinLnBrk="0" hangingPunct="1">
        <a:spcBef>
          <a:spcPct val="20000"/>
        </a:spcBef>
        <a:buClr>
          <a:schemeClr val="accent2"/>
        </a:buClr>
        <a:buFont typeface="Wingdings 2" pitchFamily="18" charset="2"/>
        <a:buChar char=""/>
        <a:defRPr kumimoji="0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2231136" indent="-182880" algn="l" rtl="0" eaLnBrk="1" latinLnBrk="0" hangingPunct="1">
        <a:spcBef>
          <a:spcPct val="20000"/>
        </a:spcBef>
        <a:buClr>
          <a:schemeClr val="accent3"/>
        </a:buClr>
        <a:buFont typeface="Wingdings 2" pitchFamily="18" charset="2"/>
        <a:buChar char=""/>
        <a:defRPr kumimoji="0" sz="1800" kern="1200" baseline="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16.xml"/></Relationships>
</file>

<file path=ppt/slides/_rels/slide10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0.xml"/></Relationships>
</file>

<file path=ppt/slides/_rels/slide1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2.jpeg"/><Relationship Id="rId1" Type="http://schemas.openxmlformats.org/officeDocument/2006/relationships/slideLayout" Target="../slideLayouts/slideLayout100.xml"/></Relationships>
</file>

<file path=ppt/slides/_rels/slide1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3.png"/><Relationship Id="rId1" Type="http://schemas.openxmlformats.org/officeDocument/2006/relationships/slideLayout" Target="../slideLayouts/slideLayout256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6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17.png"/><Relationship Id="rId4" Type="http://schemas.openxmlformats.org/officeDocument/2006/relationships/image" Target="../media/image16.png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3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3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19.png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emf"/><Relationship Id="rId1" Type="http://schemas.openxmlformats.org/officeDocument/2006/relationships/slideLayout" Target="../slideLayouts/slideLayout36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emf"/><Relationship Id="rId1" Type="http://schemas.openxmlformats.org/officeDocument/2006/relationships/slideLayout" Target="../slideLayouts/slideLayout36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emf"/><Relationship Id="rId1" Type="http://schemas.openxmlformats.org/officeDocument/2006/relationships/slideLayout" Target="../slideLayouts/slideLayout36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emf"/><Relationship Id="rId1" Type="http://schemas.openxmlformats.org/officeDocument/2006/relationships/slideLayout" Target="../slideLayouts/slideLayout36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109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emf"/><Relationship Id="rId1" Type="http://schemas.openxmlformats.org/officeDocument/2006/relationships/slideLayout" Target="../slideLayouts/slideLayout31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emf"/><Relationship Id="rId1" Type="http://schemas.openxmlformats.org/officeDocument/2006/relationships/slideLayout" Target="../slideLayouts/slideLayout31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emf"/><Relationship Id="rId1" Type="http://schemas.openxmlformats.org/officeDocument/2006/relationships/slideLayout" Target="../slideLayouts/slideLayout31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emf"/><Relationship Id="rId1" Type="http://schemas.openxmlformats.org/officeDocument/2006/relationships/slideLayout" Target="../slideLayouts/slideLayout36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1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1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1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45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9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56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13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56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56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56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275.xml"/></Relationships>
</file>

<file path=ppt/slides/_rels/slide3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7.png"/><Relationship Id="rId3" Type="http://schemas.openxmlformats.org/officeDocument/2006/relationships/slideLayout" Target="../slideLayouts/slideLayout58.xml"/><Relationship Id="rId7" Type="http://schemas.openxmlformats.org/officeDocument/2006/relationships/image" Target="../media/image36.png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image" Target="../media/image35.png"/><Relationship Id="rId5" Type="http://schemas.openxmlformats.org/officeDocument/2006/relationships/image" Target="../media/image34.png"/><Relationship Id="rId4" Type="http://schemas.openxmlformats.org/officeDocument/2006/relationships/image" Target="../media/image33.png"/><Relationship Id="rId9" Type="http://schemas.openxmlformats.org/officeDocument/2006/relationships/image" Target="../media/image38.png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8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5" Type="http://schemas.openxmlformats.org/officeDocument/2006/relationships/image" Target="../media/image40.png"/><Relationship Id="rId4" Type="http://schemas.openxmlformats.org/officeDocument/2006/relationships/image" Target="../media/image39.png"/></Relationships>
</file>

<file path=ppt/slides/_rels/slide3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1.png"/><Relationship Id="rId13" Type="http://schemas.openxmlformats.org/officeDocument/2006/relationships/image" Target="../media/image46.png"/><Relationship Id="rId3" Type="http://schemas.openxmlformats.org/officeDocument/2006/relationships/tags" Target="../tags/tag8.xml"/><Relationship Id="rId7" Type="http://schemas.openxmlformats.org/officeDocument/2006/relationships/slideLayout" Target="../slideLayouts/slideLayout58.xml"/><Relationship Id="rId12" Type="http://schemas.openxmlformats.org/officeDocument/2006/relationships/image" Target="../media/image45.png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tags" Target="../tags/tag11.xml"/><Relationship Id="rId11" Type="http://schemas.openxmlformats.org/officeDocument/2006/relationships/image" Target="../media/image44.png"/><Relationship Id="rId5" Type="http://schemas.openxmlformats.org/officeDocument/2006/relationships/tags" Target="../tags/tag10.xml"/><Relationship Id="rId10" Type="http://schemas.openxmlformats.org/officeDocument/2006/relationships/image" Target="../media/image43.png"/><Relationship Id="rId4" Type="http://schemas.openxmlformats.org/officeDocument/2006/relationships/tags" Target="../tags/tag9.xml"/><Relationship Id="rId9" Type="http://schemas.openxmlformats.org/officeDocument/2006/relationships/image" Target="../media/image42.png"/></Relationships>
</file>

<file path=ppt/slides/_rels/slide37.xml.rels><?xml version="1.0" encoding="UTF-8" standalone="yes"?>
<Relationships xmlns="http://schemas.openxmlformats.org/package/2006/relationships"><Relationship Id="rId8" Type="http://schemas.openxmlformats.org/officeDocument/2006/relationships/image" Target="../media/image48.png"/><Relationship Id="rId3" Type="http://schemas.openxmlformats.org/officeDocument/2006/relationships/tags" Target="../tags/tag14.xml"/><Relationship Id="rId7" Type="http://schemas.openxmlformats.org/officeDocument/2006/relationships/image" Target="../media/image47.png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6" Type="http://schemas.openxmlformats.org/officeDocument/2006/relationships/slideLayout" Target="../slideLayouts/slideLayout58.xml"/><Relationship Id="rId11" Type="http://schemas.openxmlformats.org/officeDocument/2006/relationships/image" Target="../media/image51.png"/><Relationship Id="rId5" Type="http://schemas.openxmlformats.org/officeDocument/2006/relationships/tags" Target="../tags/tag16.xml"/><Relationship Id="rId10" Type="http://schemas.openxmlformats.org/officeDocument/2006/relationships/image" Target="../media/image50.png"/><Relationship Id="rId4" Type="http://schemas.openxmlformats.org/officeDocument/2006/relationships/tags" Target="../tags/tag15.xml"/><Relationship Id="rId9" Type="http://schemas.openxmlformats.org/officeDocument/2006/relationships/image" Target="../media/image49.png"/></Relationships>
</file>

<file path=ppt/slides/_rels/slide38.xml.rels><?xml version="1.0" encoding="UTF-8" standalone="yes"?>
<Relationships xmlns="http://schemas.openxmlformats.org/package/2006/relationships"><Relationship Id="rId8" Type="http://schemas.openxmlformats.org/officeDocument/2006/relationships/image" Target="../media/image53.png"/><Relationship Id="rId3" Type="http://schemas.openxmlformats.org/officeDocument/2006/relationships/tags" Target="../tags/tag19.xml"/><Relationship Id="rId7" Type="http://schemas.openxmlformats.org/officeDocument/2006/relationships/image" Target="../media/image52.png"/><Relationship Id="rId2" Type="http://schemas.openxmlformats.org/officeDocument/2006/relationships/tags" Target="../tags/tag18.xml"/><Relationship Id="rId1" Type="http://schemas.openxmlformats.org/officeDocument/2006/relationships/tags" Target="../tags/tag17.xml"/><Relationship Id="rId6" Type="http://schemas.openxmlformats.org/officeDocument/2006/relationships/image" Target="../media/image44.png"/><Relationship Id="rId5" Type="http://schemas.openxmlformats.org/officeDocument/2006/relationships/slideLayout" Target="../slideLayouts/slideLayout58.xml"/><Relationship Id="rId4" Type="http://schemas.openxmlformats.org/officeDocument/2006/relationships/tags" Target="../tags/tag20.xml"/><Relationship Id="rId9" Type="http://schemas.openxmlformats.org/officeDocument/2006/relationships/image" Target="../media/image54.png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67.xml"/><Relationship Id="rId4" Type="http://schemas.openxmlformats.org/officeDocument/2006/relationships/image" Target="../media/image55.png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67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80.xml"/><Relationship Id="rId4" Type="http://schemas.openxmlformats.org/officeDocument/2006/relationships/image" Target="../media/image57.png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.xml"/><Relationship Id="rId2" Type="http://schemas.openxmlformats.org/officeDocument/2006/relationships/slideLayout" Target="../slideLayouts/slideLayout80.xml"/><Relationship Id="rId1" Type="http://schemas.openxmlformats.org/officeDocument/2006/relationships/tags" Target="../tags/tag21.xml"/><Relationship Id="rId4" Type="http://schemas.openxmlformats.org/officeDocument/2006/relationships/image" Target="../media/image58.png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.xml"/><Relationship Id="rId2" Type="http://schemas.openxmlformats.org/officeDocument/2006/relationships/slideLayout" Target="../slideLayouts/slideLayout80.xml"/><Relationship Id="rId1" Type="http://schemas.openxmlformats.org/officeDocument/2006/relationships/tags" Target="../tags/tag22.xml"/><Relationship Id="rId5" Type="http://schemas.openxmlformats.org/officeDocument/2006/relationships/image" Target="../media/image60.wmf"/><Relationship Id="rId4" Type="http://schemas.openxmlformats.org/officeDocument/2006/relationships/image" Target="../media/image59.wmf"/></Relationships>
</file>

<file path=ppt/slides/_rels/slide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1.png"/><Relationship Id="rId1" Type="http://schemas.openxmlformats.org/officeDocument/2006/relationships/slideLayout" Target="../slideLayouts/slideLayout80.xml"/></Relationships>
</file>

<file path=ppt/slides/_rels/slide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80.xml"/></Relationships>
</file>

<file path=ppt/slides/_rels/slide4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80.xml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3.png"/><Relationship Id="rId2" Type="http://schemas.openxmlformats.org/officeDocument/2006/relationships/image" Target="../media/image62.png"/><Relationship Id="rId1" Type="http://schemas.openxmlformats.org/officeDocument/2006/relationships/slideLayout" Target="../slideLayouts/slideLayout121.xml"/></Relationships>
</file>

<file path=ppt/slides/_rels/slide48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4.bin"/><Relationship Id="rId13" Type="http://schemas.openxmlformats.org/officeDocument/2006/relationships/oleObject" Target="../embeddings/oleObject7.bin"/><Relationship Id="rId18" Type="http://schemas.openxmlformats.org/officeDocument/2006/relationships/image" Target="../media/image70.wmf"/><Relationship Id="rId3" Type="http://schemas.openxmlformats.org/officeDocument/2006/relationships/notesSlide" Target="../notesSlides/notesSlide14.xml"/><Relationship Id="rId7" Type="http://schemas.openxmlformats.org/officeDocument/2006/relationships/image" Target="../media/image65.wmf"/><Relationship Id="rId12" Type="http://schemas.openxmlformats.org/officeDocument/2006/relationships/image" Target="../media/image67.wmf"/><Relationship Id="rId17" Type="http://schemas.openxmlformats.org/officeDocument/2006/relationships/oleObject" Target="../embeddings/oleObject9.bin"/><Relationship Id="rId2" Type="http://schemas.openxmlformats.org/officeDocument/2006/relationships/slideLayout" Target="../slideLayouts/slideLayout268.xml"/><Relationship Id="rId16" Type="http://schemas.openxmlformats.org/officeDocument/2006/relationships/image" Target="../media/image69.wmf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3.bin"/><Relationship Id="rId11" Type="http://schemas.openxmlformats.org/officeDocument/2006/relationships/oleObject" Target="../embeddings/oleObject6.bin"/><Relationship Id="rId5" Type="http://schemas.openxmlformats.org/officeDocument/2006/relationships/image" Target="../media/image64.wmf"/><Relationship Id="rId15" Type="http://schemas.openxmlformats.org/officeDocument/2006/relationships/oleObject" Target="../embeddings/oleObject8.bin"/><Relationship Id="rId10" Type="http://schemas.openxmlformats.org/officeDocument/2006/relationships/oleObject" Target="../embeddings/oleObject5.bin"/><Relationship Id="rId4" Type="http://schemas.openxmlformats.org/officeDocument/2006/relationships/oleObject" Target="../embeddings/oleObject2.bin"/><Relationship Id="rId9" Type="http://schemas.openxmlformats.org/officeDocument/2006/relationships/image" Target="../media/image66.wmf"/><Relationship Id="rId14" Type="http://schemas.openxmlformats.org/officeDocument/2006/relationships/image" Target="../media/image68.wmf"/></Relationships>
</file>

<file path=ppt/slides/_rels/slide49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2.bin"/><Relationship Id="rId13" Type="http://schemas.openxmlformats.org/officeDocument/2006/relationships/image" Target="../media/image70.wmf"/><Relationship Id="rId3" Type="http://schemas.openxmlformats.org/officeDocument/2006/relationships/notesSlide" Target="../notesSlides/notesSlide15.xml"/><Relationship Id="rId7" Type="http://schemas.openxmlformats.org/officeDocument/2006/relationships/image" Target="../media/image64.wmf"/><Relationship Id="rId12" Type="http://schemas.openxmlformats.org/officeDocument/2006/relationships/oleObject" Target="../embeddings/oleObject14.bin"/><Relationship Id="rId2" Type="http://schemas.openxmlformats.org/officeDocument/2006/relationships/slideLayout" Target="../slideLayouts/slideLayout268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11.bin"/><Relationship Id="rId11" Type="http://schemas.openxmlformats.org/officeDocument/2006/relationships/image" Target="../media/image69.wmf"/><Relationship Id="rId5" Type="http://schemas.openxmlformats.org/officeDocument/2006/relationships/image" Target="../media/image66.wmf"/><Relationship Id="rId10" Type="http://schemas.openxmlformats.org/officeDocument/2006/relationships/oleObject" Target="../embeddings/oleObject13.bin"/><Relationship Id="rId4" Type="http://schemas.openxmlformats.org/officeDocument/2006/relationships/oleObject" Target="../embeddings/oleObject10.bin"/><Relationship Id="rId9" Type="http://schemas.openxmlformats.org/officeDocument/2006/relationships/image" Target="../media/image67.wmf"/><Relationship Id="rId14" Type="http://schemas.openxmlformats.org/officeDocument/2006/relationships/image" Target="../media/image71.pn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3.xml"/></Relationships>
</file>

<file path=ppt/slides/_rels/slide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80.xml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3.png"/><Relationship Id="rId2" Type="http://schemas.openxmlformats.org/officeDocument/2006/relationships/image" Target="../media/image72.png"/><Relationship Id="rId1" Type="http://schemas.openxmlformats.org/officeDocument/2006/relationships/slideLayout" Target="../slideLayouts/slideLayout91.xml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4.png"/><Relationship Id="rId2" Type="http://schemas.openxmlformats.org/officeDocument/2006/relationships/slideLayout" Target="../slideLayouts/slideLayout91.xml"/><Relationship Id="rId1" Type="http://schemas.openxmlformats.org/officeDocument/2006/relationships/tags" Target="../tags/tag23.xml"/><Relationship Id="rId6" Type="http://schemas.openxmlformats.org/officeDocument/2006/relationships/image" Target="../media/image77.png"/><Relationship Id="rId5" Type="http://schemas.openxmlformats.org/officeDocument/2006/relationships/image" Target="../media/image76.png"/><Relationship Id="rId4" Type="http://schemas.openxmlformats.org/officeDocument/2006/relationships/image" Target="../media/image75.png"/></Relationships>
</file>

<file path=ppt/slides/_rels/slide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80.xml"/></Relationships>
</file>

<file path=ppt/slides/_rels/slide5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0.xml"/></Relationships>
</file>

<file path=ppt/slides/_rels/slide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9.png"/><Relationship Id="rId2" Type="http://schemas.openxmlformats.org/officeDocument/2006/relationships/image" Target="../media/image78.png"/><Relationship Id="rId1" Type="http://schemas.openxmlformats.org/officeDocument/2006/relationships/slideLayout" Target="../slideLayouts/slideLayout100.xml"/></Relationships>
</file>

<file path=ppt/slides/_rels/slide56.xml.rels><?xml version="1.0" encoding="UTF-8" standalone="yes"?>
<Relationships xmlns="http://schemas.openxmlformats.org/package/2006/relationships"><Relationship Id="rId8" Type="http://schemas.openxmlformats.org/officeDocument/2006/relationships/image" Target="../media/image82.png"/><Relationship Id="rId3" Type="http://schemas.openxmlformats.org/officeDocument/2006/relationships/tags" Target="../tags/tag26.xml"/><Relationship Id="rId7" Type="http://schemas.openxmlformats.org/officeDocument/2006/relationships/image" Target="../media/image81.png"/><Relationship Id="rId2" Type="http://schemas.openxmlformats.org/officeDocument/2006/relationships/tags" Target="../tags/tag25.xml"/><Relationship Id="rId1" Type="http://schemas.openxmlformats.org/officeDocument/2006/relationships/tags" Target="../tags/tag24.xml"/><Relationship Id="rId6" Type="http://schemas.openxmlformats.org/officeDocument/2006/relationships/image" Target="../media/image80.png"/><Relationship Id="rId5" Type="http://schemas.openxmlformats.org/officeDocument/2006/relationships/notesSlide" Target="../notesSlides/notesSlide16.xml"/><Relationship Id="rId4" Type="http://schemas.openxmlformats.org/officeDocument/2006/relationships/slideLayout" Target="../slideLayouts/slideLayout100.xml"/></Relationships>
</file>

<file path=ppt/slides/_rels/slide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3.jpeg"/><Relationship Id="rId1" Type="http://schemas.openxmlformats.org/officeDocument/2006/relationships/slideLayout" Target="../slideLayouts/slideLayout100.xml"/></Relationships>
</file>

<file path=ppt/slides/_rels/slide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4.jpeg"/><Relationship Id="rId1" Type="http://schemas.openxmlformats.org/officeDocument/2006/relationships/slideLayout" Target="../slideLayouts/slideLayout100.xml"/></Relationships>
</file>

<file path=ppt/slides/_rels/slide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5.jpeg"/><Relationship Id="rId1" Type="http://schemas.openxmlformats.org/officeDocument/2006/relationships/slideLayout" Target="../slideLayouts/slideLayout100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14.xml"/></Relationships>
</file>

<file path=ppt/slides/_rels/slide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6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30.xml"/></Relationships>
</file>

<file path=ppt/slides/_rels/slide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7.emf"/><Relationship Id="rId1" Type="http://schemas.openxmlformats.org/officeDocument/2006/relationships/slideLayout" Target="../slideLayouts/slideLayout150.xml"/></Relationships>
</file>

<file path=ppt/slides/_rels/slide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8.jpeg"/><Relationship Id="rId1" Type="http://schemas.openxmlformats.org/officeDocument/2006/relationships/slideLayout" Target="../slideLayouts/slideLayout160.xml"/></Relationships>
</file>

<file path=ppt/slides/_rels/slide6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0.xml"/></Relationships>
</file>

<file path=ppt/slides/_rels/slide6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0.xml"/></Relationships>
</file>

<file path=ppt/slides/_rels/slide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9.gif"/><Relationship Id="rId2" Type="http://schemas.openxmlformats.org/officeDocument/2006/relationships/hyperlink" Target="http://www.iro.umontreal.ca/~bengioy/dlbook/" TargetMode="External"/><Relationship Id="rId1" Type="http://schemas.openxmlformats.org/officeDocument/2006/relationships/slideLayout" Target="../slideLayouts/slideLayout187.xml"/><Relationship Id="rId4" Type="http://schemas.openxmlformats.org/officeDocument/2006/relationships/hyperlink" Target="https://www.linkedin.com/in/brohrer" TargetMode="External"/></Relationships>
</file>

<file path=ppt/slides/_rels/slide6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174.xml"/></Relationships>
</file>

<file path=ppt/slides/_rels/slide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0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175.xml"/></Relationships>
</file>

<file path=ppt/slides/_rels/slide68.xml.rels><?xml version="1.0" encoding="UTF-8" standalone="yes"?>
<Relationships xmlns="http://schemas.openxmlformats.org/package/2006/relationships"><Relationship Id="rId8" Type="http://schemas.openxmlformats.org/officeDocument/2006/relationships/image" Target="../media/image92.wmf"/><Relationship Id="rId3" Type="http://schemas.openxmlformats.org/officeDocument/2006/relationships/notesSlide" Target="../notesSlides/notesSlide20.xml"/><Relationship Id="rId7" Type="http://schemas.openxmlformats.org/officeDocument/2006/relationships/oleObject" Target="../embeddings/oleObject16.bin"/><Relationship Id="rId2" Type="http://schemas.openxmlformats.org/officeDocument/2006/relationships/slideLayout" Target="../slideLayouts/slideLayout178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91.wmf"/><Relationship Id="rId5" Type="http://schemas.openxmlformats.org/officeDocument/2006/relationships/oleObject" Target="../embeddings/oleObject15.bin"/><Relationship Id="rId10" Type="http://schemas.openxmlformats.org/officeDocument/2006/relationships/image" Target="../media/image93.wmf"/><Relationship Id="rId4" Type="http://schemas.openxmlformats.org/officeDocument/2006/relationships/image" Target="../media/image90.png"/><Relationship Id="rId9" Type="http://schemas.openxmlformats.org/officeDocument/2006/relationships/oleObject" Target="../embeddings/oleObject17.bin"/></Relationships>
</file>

<file path=ppt/slides/_rels/slide69.xml.rels><?xml version="1.0" encoding="UTF-8" standalone="yes"?>
<Relationships xmlns="http://schemas.openxmlformats.org/package/2006/relationships"><Relationship Id="rId8" Type="http://schemas.openxmlformats.org/officeDocument/2006/relationships/image" Target="../media/image92.wmf"/><Relationship Id="rId3" Type="http://schemas.openxmlformats.org/officeDocument/2006/relationships/notesSlide" Target="../notesSlides/notesSlide21.xml"/><Relationship Id="rId7" Type="http://schemas.openxmlformats.org/officeDocument/2006/relationships/oleObject" Target="../embeddings/oleObject19.bin"/><Relationship Id="rId12" Type="http://schemas.openxmlformats.org/officeDocument/2006/relationships/image" Target="../media/image83.png"/><Relationship Id="rId2" Type="http://schemas.openxmlformats.org/officeDocument/2006/relationships/slideLayout" Target="../slideLayouts/slideLayout175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91.wmf"/><Relationship Id="rId11" Type="http://schemas.openxmlformats.org/officeDocument/2006/relationships/image" Target="../media/image820.png"/><Relationship Id="rId5" Type="http://schemas.openxmlformats.org/officeDocument/2006/relationships/oleObject" Target="../embeddings/oleObject18.bin"/><Relationship Id="rId10" Type="http://schemas.openxmlformats.org/officeDocument/2006/relationships/image" Target="../media/image93.wmf"/><Relationship Id="rId4" Type="http://schemas.openxmlformats.org/officeDocument/2006/relationships/image" Target="../media/image90.png"/><Relationship Id="rId9" Type="http://schemas.openxmlformats.org/officeDocument/2006/relationships/oleObject" Target="../embeddings/oleObject20.bin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214.xml"/></Relationships>
</file>

<file path=ppt/slides/_rels/slide70.xml.rels><?xml version="1.0" encoding="UTF-8" standalone="yes"?>
<Relationships xmlns="http://schemas.openxmlformats.org/package/2006/relationships"><Relationship Id="rId8" Type="http://schemas.openxmlformats.org/officeDocument/2006/relationships/image" Target="../media/image95.wmf"/><Relationship Id="rId13" Type="http://schemas.openxmlformats.org/officeDocument/2006/relationships/oleObject" Target="../embeddings/oleObject25.bin"/><Relationship Id="rId18" Type="http://schemas.openxmlformats.org/officeDocument/2006/relationships/image" Target="../media/image100.wmf"/><Relationship Id="rId26" Type="http://schemas.openxmlformats.org/officeDocument/2006/relationships/image" Target="../media/image104.wmf"/><Relationship Id="rId3" Type="http://schemas.openxmlformats.org/officeDocument/2006/relationships/notesSlide" Target="../notesSlides/notesSlide22.xml"/><Relationship Id="rId21" Type="http://schemas.openxmlformats.org/officeDocument/2006/relationships/oleObject" Target="../embeddings/oleObject29.bin"/><Relationship Id="rId7" Type="http://schemas.openxmlformats.org/officeDocument/2006/relationships/oleObject" Target="../embeddings/oleObject22.bin"/><Relationship Id="rId12" Type="http://schemas.openxmlformats.org/officeDocument/2006/relationships/image" Target="../media/image97.wmf"/><Relationship Id="rId17" Type="http://schemas.openxmlformats.org/officeDocument/2006/relationships/oleObject" Target="../embeddings/oleObject27.bin"/><Relationship Id="rId25" Type="http://schemas.openxmlformats.org/officeDocument/2006/relationships/oleObject" Target="../embeddings/oleObject31.bin"/><Relationship Id="rId2" Type="http://schemas.openxmlformats.org/officeDocument/2006/relationships/slideLayout" Target="../slideLayouts/slideLayout175.xml"/><Relationship Id="rId16" Type="http://schemas.openxmlformats.org/officeDocument/2006/relationships/image" Target="../media/image99.wmf"/><Relationship Id="rId20" Type="http://schemas.openxmlformats.org/officeDocument/2006/relationships/image" Target="../media/image101.wmf"/><Relationship Id="rId1" Type="http://schemas.openxmlformats.org/officeDocument/2006/relationships/vmlDrawing" Target="../drawings/vmlDrawing6.vml"/><Relationship Id="rId6" Type="http://schemas.openxmlformats.org/officeDocument/2006/relationships/image" Target="../media/image96.png"/><Relationship Id="rId11" Type="http://schemas.openxmlformats.org/officeDocument/2006/relationships/oleObject" Target="../embeddings/oleObject24.bin"/><Relationship Id="rId24" Type="http://schemas.openxmlformats.org/officeDocument/2006/relationships/image" Target="../media/image103.wmf"/><Relationship Id="rId5" Type="http://schemas.openxmlformats.org/officeDocument/2006/relationships/image" Target="../media/image94.wmf"/><Relationship Id="rId15" Type="http://schemas.openxmlformats.org/officeDocument/2006/relationships/oleObject" Target="../embeddings/oleObject26.bin"/><Relationship Id="rId23" Type="http://schemas.openxmlformats.org/officeDocument/2006/relationships/oleObject" Target="../embeddings/oleObject30.bin"/><Relationship Id="rId28" Type="http://schemas.openxmlformats.org/officeDocument/2006/relationships/image" Target="../media/image105.wmf"/><Relationship Id="rId10" Type="http://schemas.openxmlformats.org/officeDocument/2006/relationships/image" Target="../media/image96.wmf"/><Relationship Id="rId19" Type="http://schemas.openxmlformats.org/officeDocument/2006/relationships/oleObject" Target="../embeddings/oleObject28.bin"/><Relationship Id="rId4" Type="http://schemas.openxmlformats.org/officeDocument/2006/relationships/oleObject" Target="../embeddings/oleObject21.bin"/><Relationship Id="rId9" Type="http://schemas.openxmlformats.org/officeDocument/2006/relationships/oleObject" Target="../embeddings/oleObject23.bin"/><Relationship Id="rId14" Type="http://schemas.openxmlformats.org/officeDocument/2006/relationships/image" Target="../media/image98.wmf"/><Relationship Id="rId22" Type="http://schemas.openxmlformats.org/officeDocument/2006/relationships/image" Target="../media/image102.wmf"/><Relationship Id="rId27" Type="http://schemas.openxmlformats.org/officeDocument/2006/relationships/oleObject" Target="../embeddings/oleObject32.bin"/></Relationships>
</file>

<file path=ppt/slides/_rels/slide7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5.bin"/><Relationship Id="rId3" Type="http://schemas.openxmlformats.org/officeDocument/2006/relationships/notesSlide" Target="../notesSlides/notesSlide23.xml"/><Relationship Id="rId7" Type="http://schemas.openxmlformats.org/officeDocument/2006/relationships/image" Target="../media/image92.wmf"/><Relationship Id="rId2" Type="http://schemas.openxmlformats.org/officeDocument/2006/relationships/slideLayout" Target="../slideLayouts/slideLayout175.xml"/><Relationship Id="rId1" Type="http://schemas.openxmlformats.org/officeDocument/2006/relationships/vmlDrawing" Target="../drawings/vmlDrawing7.vml"/><Relationship Id="rId6" Type="http://schemas.openxmlformats.org/officeDocument/2006/relationships/oleObject" Target="../embeddings/oleObject34.bin"/><Relationship Id="rId5" Type="http://schemas.openxmlformats.org/officeDocument/2006/relationships/image" Target="../media/image91.wmf"/><Relationship Id="rId4" Type="http://schemas.openxmlformats.org/officeDocument/2006/relationships/oleObject" Target="../embeddings/oleObject33.bin"/><Relationship Id="rId9" Type="http://schemas.openxmlformats.org/officeDocument/2006/relationships/image" Target="../media/image106.wmf"/></Relationships>
</file>

<file path=ppt/slides/_rels/slide7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8.bin"/><Relationship Id="rId3" Type="http://schemas.openxmlformats.org/officeDocument/2006/relationships/notesSlide" Target="../notesSlides/notesSlide24.xml"/><Relationship Id="rId7" Type="http://schemas.openxmlformats.org/officeDocument/2006/relationships/image" Target="../media/image92.wmf"/><Relationship Id="rId12" Type="http://schemas.openxmlformats.org/officeDocument/2006/relationships/image" Target="../media/image100.png"/><Relationship Id="rId2" Type="http://schemas.openxmlformats.org/officeDocument/2006/relationships/slideLayout" Target="../slideLayouts/slideLayout175.xml"/><Relationship Id="rId1" Type="http://schemas.openxmlformats.org/officeDocument/2006/relationships/vmlDrawing" Target="../drawings/vmlDrawing8.vml"/><Relationship Id="rId6" Type="http://schemas.openxmlformats.org/officeDocument/2006/relationships/oleObject" Target="../embeddings/oleObject37.bin"/><Relationship Id="rId11" Type="http://schemas.openxmlformats.org/officeDocument/2006/relationships/image" Target="../media/image99.png"/><Relationship Id="rId5" Type="http://schemas.openxmlformats.org/officeDocument/2006/relationships/image" Target="../media/image91.wmf"/><Relationship Id="rId10" Type="http://schemas.openxmlformats.org/officeDocument/2006/relationships/image" Target="../media/image98.png"/><Relationship Id="rId4" Type="http://schemas.openxmlformats.org/officeDocument/2006/relationships/oleObject" Target="../embeddings/oleObject36.bin"/><Relationship Id="rId9" Type="http://schemas.openxmlformats.org/officeDocument/2006/relationships/image" Target="../media/image106.wmf"/></Relationships>
</file>

<file path=ppt/slides/_rels/slide7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40.bin"/><Relationship Id="rId13" Type="http://schemas.openxmlformats.org/officeDocument/2006/relationships/image" Target="../media/image104.png"/><Relationship Id="rId3" Type="http://schemas.openxmlformats.org/officeDocument/2006/relationships/notesSlide" Target="../notesSlides/notesSlide25.xml"/><Relationship Id="rId7" Type="http://schemas.openxmlformats.org/officeDocument/2006/relationships/image" Target="../media/image91.wmf"/><Relationship Id="rId12" Type="http://schemas.openxmlformats.org/officeDocument/2006/relationships/image" Target="../media/image103.png"/><Relationship Id="rId2" Type="http://schemas.openxmlformats.org/officeDocument/2006/relationships/slideLayout" Target="../slideLayouts/slideLayout175.xml"/><Relationship Id="rId1" Type="http://schemas.openxmlformats.org/officeDocument/2006/relationships/vmlDrawing" Target="../drawings/vmlDrawing9.vml"/><Relationship Id="rId6" Type="http://schemas.openxmlformats.org/officeDocument/2006/relationships/oleObject" Target="../embeddings/oleObject39.bin"/><Relationship Id="rId11" Type="http://schemas.openxmlformats.org/officeDocument/2006/relationships/image" Target="../media/image106.wmf"/><Relationship Id="rId5" Type="http://schemas.openxmlformats.org/officeDocument/2006/relationships/image" Target="../media/image102.png"/><Relationship Id="rId10" Type="http://schemas.openxmlformats.org/officeDocument/2006/relationships/oleObject" Target="../embeddings/oleObject41.bin"/><Relationship Id="rId4" Type="http://schemas.openxmlformats.org/officeDocument/2006/relationships/image" Target="../media/image101.png"/><Relationship Id="rId9" Type="http://schemas.openxmlformats.org/officeDocument/2006/relationships/image" Target="../media/image92.wmf"/></Relationships>
</file>

<file path=ppt/slides/_rels/slide74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44.bin"/><Relationship Id="rId13" Type="http://schemas.openxmlformats.org/officeDocument/2006/relationships/image" Target="../media/image1080.png"/><Relationship Id="rId3" Type="http://schemas.openxmlformats.org/officeDocument/2006/relationships/image" Target="../media/image90.png"/><Relationship Id="rId7" Type="http://schemas.openxmlformats.org/officeDocument/2006/relationships/image" Target="../media/image92.wmf"/><Relationship Id="rId12" Type="http://schemas.openxmlformats.org/officeDocument/2006/relationships/image" Target="../media/image108.png"/><Relationship Id="rId2" Type="http://schemas.openxmlformats.org/officeDocument/2006/relationships/slideLayout" Target="../slideLayouts/slideLayout175.xml"/><Relationship Id="rId1" Type="http://schemas.openxmlformats.org/officeDocument/2006/relationships/vmlDrawing" Target="../drawings/vmlDrawing10.vml"/><Relationship Id="rId6" Type="http://schemas.openxmlformats.org/officeDocument/2006/relationships/oleObject" Target="../embeddings/oleObject43.bin"/><Relationship Id="rId11" Type="http://schemas.openxmlformats.org/officeDocument/2006/relationships/image" Target="../media/image107.png"/><Relationship Id="rId5" Type="http://schemas.openxmlformats.org/officeDocument/2006/relationships/image" Target="../media/image91.wmf"/><Relationship Id="rId10" Type="http://schemas.openxmlformats.org/officeDocument/2006/relationships/image" Target="../media/image105.png"/><Relationship Id="rId4" Type="http://schemas.openxmlformats.org/officeDocument/2006/relationships/oleObject" Target="../embeddings/oleObject42.bin"/><Relationship Id="rId9" Type="http://schemas.openxmlformats.org/officeDocument/2006/relationships/image" Target="../media/image93.wmf"/></Relationships>
</file>

<file path=ppt/slides/_rels/slide7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5.png"/><Relationship Id="rId3" Type="http://schemas.openxmlformats.org/officeDocument/2006/relationships/image" Target="../media/image110.png"/><Relationship Id="rId7" Type="http://schemas.openxmlformats.org/officeDocument/2006/relationships/image" Target="../media/image114.png"/><Relationship Id="rId2" Type="http://schemas.openxmlformats.org/officeDocument/2006/relationships/image" Target="../media/image109.png"/><Relationship Id="rId1" Type="http://schemas.openxmlformats.org/officeDocument/2006/relationships/slideLayout" Target="../slideLayouts/slideLayout175.xml"/><Relationship Id="rId6" Type="http://schemas.openxmlformats.org/officeDocument/2006/relationships/image" Target="../media/image113.png"/><Relationship Id="rId5" Type="http://schemas.openxmlformats.org/officeDocument/2006/relationships/image" Target="../media/image112.png"/><Relationship Id="rId4" Type="http://schemas.openxmlformats.org/officeDocument/2006/relationships/image" Target="../media/image111.png"/><Relationship Id="rId9" Type="http://schemas.openxmlformats.org/officeDocument/2006/relationships/image" Target="../media/image116.png"/></Relationships>
</file>

<file path=ppt/slides/_rels/slide7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47.bin"/><Relationship Id="rId3" Type="http://schemas.openxmlformats.org/officeDocument/2006/relationships/notesSlide" Target="../notesSlides/notesSlide26.xml"/><Relationship Id="rId7" Type="http://schemas.openxmlformats.org/officeDocument/2006/relationships/image" Target="../media/image92.wmf"/><Relationship Id="rId12" Type="http://schemas.openxmlformats.org/officeDocument/2006/relationships/image" Target="../media/image118.png"/><Relationship Id="rId2" Type="http://schemas.openxmlformats.org/officeDocument/2006/relationships/slideLayout" Target="../slideLayouts/slideLayout175.xml"/><Relationship Id="rId1" Type="http://schemas.openxmlformats.org/officeDocument/2006/relationships/vmlDrawing" Target="../drawings/vmlDrawing11.vml"/><Relationship Id="rId6" Type="http://schemas.openxmlformats.org/officeDocument/2006/relationships/oleObject" Target="../embeddings/oleObject46.bin"/><Relationship Id="rId11" Type="http://schemas.openxmlformats.org/officeDocument/2006/relationships/image" Target="../media/image117.png"/><Relationship Id="rId5" Type="http://schemas.openxmlformats.org/officeDocument/2006/relationships/image" Target="../media/image91.wmf"/><Relationship Id="rId10" Type="http://schemas.openxmlformats.org/officeDocument/2006/relationships/image" Target="../media/image112.png"/><Relationship Id="rId4" Type="http://schemas.openxmlformats.org/officeDocument/2006/relationships/oleObject" Target="../embeddings/oleObject45.bin"/><Relationship Id="rId9" Type="http://schemas.openxmlformats.org/officeDocument/2006/relationships/image" Target="../media/image93.wmf"/></Relationships>
</file>

<file path=ppt/slides/_rels/slide7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9.png"/><Relationship Id="rId13" Type="http://schemas.openxmlformats.org/officeDocument/2006/relationships/image" Target="../media/image125.png"/><Relationship Id="rId3" Type="http://schemas.openxmlformats.org/officeDocument/2006/relationships/image" Target="../media/image119.png"/><Relationship Id="rId7" Type="http://schemas.openxmlformats.org/officeDocument/2006/relationships/image" Target="../media/image123.png"/><Relationship Id="rId12" Type="http://schemas.openxmlformats.org/officeDocument/2006/relationships/image" Target="../media/image124.png"/><Relationship Id="rId17" Type="http://schemas.openxmlformats.org/officeDocument/2006/relationships/image" Target="../media/image129.png"/><Relationship Id="rId2" Type="http://schemas.openxmlformats.org/officeDocument/2006/relationships/notesSlide" Target="../notesSlides/notesSlide27.xml"/><Relationship Id="rId16" Type="http://schemas.openxmlformats.org/officeDocument/2006/relationships/image" Target="../media/image128.png"/><Relationship Id="rId1" Type="http://schemas.openxmlformats.org/officeDocument/2006/relationships/slideLayout" Target="../slideLayouts/slideLayout175.xml"/><Relationship Id="rId6" Type="http://schemas.openxmlformats.org/officeDocument/2006/relationships/image" Target="../media/image122.png"/><Relationship Id="rId11" Type="http://schemas.openxmlformats.org/officeDocument/2006/relationships/image" Target="../media/image112.png"/><Relationship Id="rId5" Type="http://schemas.openxmlformats.org/officeDocument/2006/relationships/image" Target="../media/image121.png"/><Relationship Id="rId15" Type="http://schemas.openxmlformats.org/officeDocument/2006/relationships/image" Target="../media/image127.png"/><Relationship Id="rId10" Type="http://schemas.openxmlformats.org/officeDocument/2006/relationships/image" Target="../media/image111.png"/><Relationship Id="rId4" Type="http://schemas.openxmlformats.org/officeDocument/2006/relationships/image" Target="../media/image120.png"/><Relationship Id="rId9" Type="http://schemas.openxmlformats.org/officeDocument/2006/relationships/image" Target="../media/image110.png"/><Relationship Id="rId14" Type="http://schemas.openxmlformats.org/officeDocument/2006/relationships/image" Target="../media/image126.png"/></Relationships>
</file>

<file path=ppt/slides/_rels/slide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0.png"/><Relationship Id="rId1" Type="http://schemas.openxmlformats.org/officeDocument/2006/relationships/slideLayout" Target="../slideLayouts/slideLayout175.xml"/></Relationships>
</file>

<file path=ppt/slides/_rels/slide7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8.xml"/><Relationship Id="rId2" Type="http://schemas.openxmlformats.org/officeDocument/2006/relationships/slideLayout" Target="../slideLayouts/slideLayout175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31.wmf"/><Relationship Id="rId5" Type="http://schemas.openxmlformats.org/officeDocument/2006/relationships/oleObject" Target="../embeddings/oleObject48.bin"/><Relationship Id="rId4" Type="http://schemas.openxmlformats.org/officeDocument/2006/relationships/image" Target="../media/image132.png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3.xml"/></Relationships>
</file>

<file path=ppt/slides/_rels/slide80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51.bin"/><Relationship Id="rId3" Type="http://schemas.openxmlformats.org/officeDocument/2006/relationships/notesSlide" Target="../notesSlides/notesSlide29.xml"/><Relationship Id="rId7" Type="http://schemas.openxmlformats.org/officeDocument/2006/relationships/image" Target="../media/image92.wmf"/><Relationship Id="rId12" Type="http://schemas.openxmlformats.org/officeDocument/2006/relationships/oleObject" Target="../embeddings/oleObject54.bin"/><Relationship Id="rId2" Type="http://schemas.openxmlformats.org/officeDocument/2006/relationships/slideLayout" Target="../slideLayouts/slideLayout175.xml"/><Relationship Id="rId1" Type="http://schemas.openxmlformats.org/officeDocument/2006/relationships/vmlDrawing" Target="../drawings/vmlDrawing13.vml"/><Relationship Id="rId6" Type="http://schemas.openxmlformats.org/officeDocument/2006/relationships/oleObject" Target="../embeddings/oleObject50.bin"/><Relationship Id="rId11" Type="http://schemas.openxmlformats.org/officeDocument/2006/relationships/oleObject" Target="../embeddings/oleObject53.bin"/><Relationship Id="rId5" Type="http://schemas.openxmlformats.org/officeDocument/2006/relationships/image" Target="../media/image91.wmf"/><Relationship Id="rId10" Type="http://schemas.openxmlformats.org/officeDocument/2006/relationships/oleObject" Target="../embeddings/oleObject52.bin"/><Relationship Id="rId4" Type="http://schemas.openxmlformats.org/officeDocument/2006/relationships/oleObject" Target="../embeddings/oleObject49.bin"/><Relationship Id="rId9" Type="http://schemas.openxmlformats.org/officeDocument/2006/relationships/image" Target="../media/image133.wmf"/></Relationships>
</file>

<file path=ppt/slides/_rels/slide8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175.xml"/></Relationships>
</file>

<file path=ppt/slides/_rels/slide8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175.xml"/></Relationships>
</file>

<file path=ppt/slides/_rels/slide8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175.xml"/></Relationships>
</file>

<file path=ppt/slides/_rels/slide84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57.bin"/><Relationship Id="rId3" Type="http://schemas.openxmlformats.org/officeDocument/2006/relationships/notesSlide" Target="../notesSlides/notesSlide33.xml"/><Relationship Id="rId7" Type="http://schemas.openxmlformats.org/officeDocument/2006/relationships/image" Target="../media/image92.wmf"/><Relationship Id="rId2" Type="http://schemas.openxmlformats.org/officeDocument/2006/relationships/slideLayout" Target="../slideLayouts/slideLayout175.xml"/><Relationship Id="rId1" Type="http://schemas.openxmlformats.org/officeDocument/2006/relationships/vmlDrawing" Target="../drawings/vmlDrawing14.vml"/><Relationship Id="rId6" Type="http://schemas.openxmlformats.org/officeDocument/2006/relationships/oleObject" Target="../embeddings/oleObject56.bin"/><Relationship Id="rId5" Type="http://schemas.openxmlformats.org/officeDocument/2006/relationships/image" Target="../media/image91.wmf"/><Relationship Id="rId4" Type="http://schemas.openxmlformats.org/officeDocument/2006/relationships/oleObject" Target="../embeddings/oleObject55.bin"/><Relationship Id="rId9" Type="http://schemas.openxmlformats.org/officeDocument/2006/relationships/image" Target="../media/image106.wmf"/></Relationships>
</file>

<file path=ppt/slides/_rels/slide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4.png"/><Relationship Id="rId1" Type="http://schemas.openxmlformats.org/officeDocument/2006/relationships/slideLayout" Target="../slideLayouts/slideLayout175.xml"/></Relationships>
</file>

<file path=ppt/slides/_rels/slide86.xml.rels><?xml version="1.0" encoding="UTF-8" standalone="yes"?>
<Relationships xmlns="http://schemas.openxmlformats.org/package/2006/relationships"><Relationship Id="rId3" Type="http://schemas.openxmlformats.org/officeDocument/2006/relationships/hyperlink" Target="https://arxiv.org/abs/1406.2661" TargetMode="External"/><Relationship Id="rId2" Type="http://schemas.openxmlformats.org/officeDocument/2006/relationships/hyperlink" Target="https://en.wikipedia.org/wiki/ArXiv" TargetMode="External"/><Relationship Id="rId1" Type="http://schemas.openxmlformats.org/officeDocument/2006/relationships/slideLayout" Target="../slideLayouts/slideLayout202.xml"/><Relationship Id="rId4" Type="http://schemas.openxmlformats.org/officeDocument/2006/relationships/image" Target="../media/image135.png"/></Relationships>
</file>

<file path=ppt/slides/_rels/slide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6.emf"/><Relationship Id="rId1" Type="http://schemas.openxmlformats.org/officeDocument/2006/relationships/slideLayout" Target="../slideLayouts/slideLayout202.xml"/></Relationships>
</file>

<file path=ppt/slides/_rels/slide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7.emf"/><Relationship Id="rId1" Type="http://schemas.openxmlformats.org/officeDocument/2006/relationships/slideLayout" Target="../slideLayouts/slideLayout202.xml"/></Relationships>
</file>

<file path=ppt/slides/_rels/slide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8.emf"/><Relationship Id="rId1" Type="http://schemas.openxmlformats.org/officeDocument/2006/relationships/slideLayout" Target="../slideLayouts/slideLayout20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6.xml"/></Relationships>
</file>

<file path=ppt/slides/_rels/slide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9.emf"/><Relationship Id="rId1" Type="http://schemas.openxmlformats.org/officeDocument/2006/relationships/slideLayout" Target="../slideLayouts/slideLayout202.xml"/></Relationships>
</file>

<file path=ppt/slides/_rels/slide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0.emf"/><Relationship Id="rId1" Type="http://schemas.openxmlformats.org/officeDocument/2006/relationships/slideLayout" Target="../slideLayouts/slideLayout202.xml"/></Relationships>
</file>

<file path=ppt/slides/_rels/slide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1.emf"/><Relationship Id="rId1" Type="http://schemas.openxmlformats.org/officeDocument/2006/relationships/slideLayout" Target="../slideLayouts/slideLayout202.xml"/></Relationships>
</file>

<file path=ppt/slides/_rels/slide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2.emf"/><Relationship Id="rId1" Type="http://schemas.openxmlformats.org/officeDocument/2006/relationships/slideLayout" Target="../slideLayouts/slideLayout202.xml"/></Relationships>
</file>

<file path=ppt/slides/_rels/slide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3.emf"/><Relationship Id="rId1" Type="http://schemas.openxmlformats.org/officeDocument/2006/relationships/slideLayout" Target="../slideLayouts/slideLayout100.xml"/></Relationships>
</file>

<file path=ppt/slides/_rels/slide9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5.emf"/><Relationship Id="rId2" Type="http://schemas.openxmlformats.org/officeDocument/2006/relationships/image" Target="../media/image144.emf"/><Relationship Id="rId1" Type="http://schemas.openxmlformats.org/officeDocument/2006/relationships/slideLayout" Target="../slideLayouts/slideLayout100.xml"/></Relationships>
</file>

<file path=ppt/slides/_rels/slide9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7.emf"/><Relationship Id="rId2" Type="http://schemas.openxmlformats.org/officeDocument/2006/relationships/image" Target="../media/image146.emf"/><Relationship Id="rId1" Type="http://schemas.openxmlformats.org/officeDocument/2006/relationships/slideLayout" Target="../slideLayouts/slideLayout100.xml"/></Relationships>
</file>

<file path=ppt/slides/_rels/slide9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9.gif"/><Relationship Id="rId2" Type="http://schemas.openxmlformats.org/officeDocument/2006/relationships/image" Target="../media/image148.png"/><Relationship Id="rId1" Type="http://schemas.openxmlformats.org/officeDocument/2006/relationships/slideLayout" Target="../slideLayouts/slideLayout100.xml"/></Relationships>
</file>

<file path=ppt/slides/_rels/slide98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40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9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1.emf"/><Relationship Id="rId2" Type="http://schemas.openxmlformats.org/officeDocument/2006/relationships/image" Target="../media/image150.emf"/><Relationship Id="rId1" Type="http://schemas.openxmlformats.org/officeDocument/2006/relationships/slideLayout" Target="../slideLayouts/slideLayout24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8" name="Rectangle 2"/>
          <p:cNvSpPr>
            <a:spLocks noGrp="1" noChangeArrowheads="1"/>
          </p:cNvSpPr>
          <p:nvPr>
            <p:ph type="ctrTitle" idx="4294967295"/>
          </p:nvPr>
        </p:nvSpPr>
        <p:spPr>
          <a:xfrm>
            <a:off x="609600" y="609600"/>
            <a:ext cx="7848600" cy="1828800"/>
          </a:xfrm>
        </p:spPr>
        <p:txBody>
          <a:bodyPr/>
          <a:lstStyle/>
          <a:p>
            <a:pPr eaLnBrk="1" hangingPunct="1"/>
            <a:r>
              <a:rPr lang="en-US" altLang="en-US" sz="4000" b="1" smtClean="0">
                <a:solidFill>
                  <a:srgbClr val="66FFCC"/>
                </a:solidFill>
                <a:latin typeface="Comic Sans MS" panose="030F0702030302020204" pitchFamily="66" charset="0"/>
              </a:rPr>
              <a:t>Machine Learning: A Bird’s Eye View</a:t>
            </a:r>
            <a:br>
              <a:rPr lang="en-US" altLang="en-US" sz="4000" b="1" smtClean="0">
                <a:solidFill>
                  <a:srgbClr val="66FFCC"/>
                </a:solidFill>
                <a:latin typeface="Comic Sans MS" panose="030F0702030302020204" pitchFamily="66" charset="0"/>
              </a:rPr>
            </a:br>
            <a:r>
              <a:rPr lang="en-US" altLang="en-US" sz="4000" b="1" smtClean="0">
                <a:solidFill>
                  <a:srgbClr val="66FFCC"/>
                </a:solidFill>
                <a:latin typeface="Comic Sans MS" panose="030F0702030302020204" pitchFamily="66" charset="0"/>
              </a:rPr>
              <a:t/>
            </a:r>
            <a:br>
              <a:rPr lang="en-US" altLang="en-US" sz="4000" b="1" smtClean="0">
                <a:solidFill>
                  <a:srgbClr val="66FFCC"/>
                </a:solidFill>
                <a:latin typeface="Comic Sans MS" panose="030F0702030302020204" pitchFamily="66" charset="0"/>
              </a:rPr>
            </a:br>
            <a:endParaRPr lang="en-US" altLang="en-US" sz="2400" b="1" smtClean="0">
              <a:solidFill>
                <a:srgbClr val="66FFCC"/>
              </a:solidFill>
              <a:latin typeface="Comic Sans MS" panose="030F0702030302020204" pitchFamily="66" charset="0"/>
            </a:endParaRPr>
          </a:p>
        </p:txBody>
      </p:sp>
      <p:sp>
        <p:nvSpPr>
          <p:cNvPr id="19459" name="Rectangle 3"/>
          <p:cNvSpPr>
            <a:spLocks noGrp="1" noChangeArrowheads="1"/>
          </p:cNvSpPr>
          <p:nvPr>
            <p:ph type="subTitle" idx="4294967295"/>
          </p:nvPr>
        </p:nvSpPr>
        <p:spPr>
          <a:xfrm>
            <a:off x="609600" y="3048000"/>
            <a:ext cx="7924800" cy="2438400"/>
          </a:xfrm>
        </p:spPr>
        <p:txBody>
          <a:bodyPr/>
          <a:lstStyle/>
          <a:p>
            <a:pPr marL="0" indent="0" algn="ctr" eaLnBrk="1" hangingPunct="1">
              <a:lnSpc>
                <a:spcPct val="80000"/>
              </a:lnSpc>
              <a:buFontTx/>
              <a:buNone/>
            </a:pPr>
            <a:r>
              <a:rPr lang="en-US" altLang="en-US" sz="2400" dirty="0" smtClean="0">
                <a:solidFill>
                  <a:srgbClr val="FFFF66"/>
                </a:solidFill>
              </a:rPr>
              <a:t>By</a:t>
            </a:r>
          </a:p>
          <a:p>
            <a:pPr marL="0" indent="0" algn="ctr" eaLnBrk="1" hangingPunct="1">
              <a:lnSpc>
                <a:spcPct val="80000"/>
              </a:lnSpc>
              <a:buFontTx/>
              <a:buNone/>
            </a:pPr>
            <a:endParaRPr lang="en-US" altLang="en-US" sz="2400" dirty="0" smtClean="0">
              <a:solidFill>
                <a:srgbClr val="FFFF66"/>
              </a:solidFill>
            </a:endParaRPr>
          </a:p>
          <a:p>
            <a:pPr marL="0" indent="0" algn="ctr" eaLnBrk="1" hangingPunct="1">
              <a:lnSpc>
                <a:spcPct val="80000"/>
              </a:lnSpc>
              <a:buFontTx/>
              <a:buNone/>
            </a:pPr>
            <a:r>
              <a:rPr lang="en-US" altLang="en-US" sz="2400" b="1" dirty="0" err="1" smtClean="0">
                <a:solidFill>
                  <a:srgbClr val="00FFFF"/>
                </a:solidFill>
              </a:rPr>
              <a:t>Swagatam</a:t>
            </a:r>
            <a:r>
              <a:rPr lang="en-US" altLang="en-US" sz="2400" b="1" dirty="0" smtClean="0">
                <a:solidFill>
                  <a:srgbClr val="00FFFF"/>
                </a:solidFill>
              </a:rPr>
              <a:t> Das</a:t>
            </a:r>
          </a:p>
          <a:p>
            <a:pPr marL="0" indent="0" algn="ctr" eaLnBrk="1" hangingPunct="1">
              <a:lnSpc>
                <a:spcPct val="80000"/>
              </a:lnSpc>
              <a:buFontTx/>
              <a:buNone/>
            </a:pPr>
            <a:endParaRPr lang="en-US" altLang="en-US" sz="2400" b="1" dirty="0" smtClean="0">
              <a:solidFill>
                <a:srgbClr val="00FFFF"/>
              </a:solidFill>
            </a:endParaRPr>
          </a:p>
          <a:p>
            <a:pPr marL="0" indent="0" algn="ctr" eaLnBrk="1" hangingPunct="1">
              <a:lnSpc>
                <a:spcPct val="80000"/>
              </a:lnSpc>
              <a:buFontTx/>
              <a:buNone/>
            </a:pPr>
            <a:r>
              <a:rPr lang="en-US" altLang="en-US" b="1" baseline="30000" dirty="0" smtClean="0">
                <a:solidFill>
                  <a:srgbClr val="00FFFF"/>
                </a:solidFill>
                <a:latin typeface="+mj-lt"/>
                <a:cs typeface="Times New Roman" panose="02020603050405020304" pitchFamily="18" charset="0"/>
              </a:rPr>
              <a:t>E-mail: swagatam.das@isical.ac.in</a:t>
            </a:r>
          </a:p>
          <a:p>
            <a:pPr marL="0" indent="0" algn="ctr" eaLnBrk="1" hangingPunct="1">
              <a:lnSpc>
                <a:spcPct val="80000"/>
              </a:lnSpc>
              <a:buFontTx/>
              <a:buNone/>
            </a:pPr>
            <a:endParaRPr lang="en-US" altLang="en-US" sz="2400" b="1" baseline="30000" dirty="0" smtClean="0">
              <a:solidFill>
                <a:srgbClr val="00FFFF"/>
              </a:solidFill>
              <a:latin typeface="+mj-lt"/>
            </a:endParaRPr>
          </a:p>
          <a:p>
            <a:pPr marL="0" indent="0" algn="ctr" eaLnBrk="1" hangingPunct="1">
              <a:lnSpc>
                <a:spcPct val="80000"/>
              </a:lnSpc>
              <a:buFontTx/>
              <a:buNone/>
            </a:pPr>
            <a:r>
              <a:rPr lang="en-US" altLang="en-US" sz="2800" b="1" baseline="30000" dirty="0" smtClean="0">
                <a:solidFill>
                  <a:srgbClr val="66FF33"/>
                </a:solidFill>
                <a:latin typeface="+mj-lt"/>
              </a:rPr>
              <a:t>Electronics and Communication Sciences Unit, </a:t>
            </a:r>
          </a:p>
          <a:p>
            <a:pPr marL="0" indent="0" algn="ctr" eaLnBrk="1" hangingPunct="1">
              <a:lnSpc>
                <a:spcPct val="80000"/>
              </a:lnSpc>
              <a:buFontTx/>
              <a:buNone/>
            </a:pPr>
            <a:r>
              <a:rPr lang="en-US" altLang="en-US" sz="2800" b="1" baseline="30000" dirty="0" smtClean="0">
                <a:solidFill>
                  <a:srgbClr val="66FF33"/>
                </a:solidFill>
                <a:latin typeface="+mj-lt"/>
              </a:rPr>
              <a:t>Indian Statistical Institute, Kolkata – 700 108, India.</a:t>
            </a:r>
            <a:endParaRPr lang="en-US" altLang="en-US" sz="2800" b="1" dirty="0" smtClean="0">
              <a:solidFill>
                <a:srgbClr val="66FF33"/>
              </a:solidFill>
              <a:latin typeface="+mj-lt"/>
            </a:endParaRPr>
          </a:p>
        </p:txBody>
      </p:sp>
    </p:spTree>
  </p:cSld>
  <p:clrMapOvr>
    <a:masterClrMapping/>
  </p:clrMapOvr>
  <p:transition advClick="0">
    <p:randomBar/>
  </p:transition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082" name="Slide Number Placeholder 4"/>
          <p:cNvSpPr>
            <a:spLocks noGrp="1"/>
          </p:cNvSpPr>
          <p:nvPr>
            <p:ph type="sldNum" sz="quarter" idx="11"/>
          </p:nvPr>
        </p:nvSpPr>
        <p:spPr>
          <a:noFill/>
        </p:spPr>
        <p:txBody>
          <a:bodyPr/>
          <a:lstStyle/>
          <a:p>
            <a:fld id="{C315E0FF-28C4-4892-8C98-BB1FFA07F9F8}" type="slidenum">
              <a:rPr lang="en-US" altLang="en-US"/>
              <a:pPr/>
              <a:t>10</a:t>
            </a:fld>
            <a:endParaRPr lang="en-US" altLang="en-US"/>
          </a:p>
        </p:txBody>
      </p:sp>
      <p:sp>
        <p:nvSpPr>
          <p:cNvPr id="46083" name="Rectangle 2"/>
          <p:cNvSpPr>
            <a:spLocks noGrp="1" noChangeArrowheads="1"/>
          </p:cNvSpPr>
          <p:nvPr>
            <p:ph type="title"/>
          </p:nvPr>
        </p:nvSpPr>
        <p:spPr>
          <a:xfrm>
            <a:off x="395288" y="225425"/>
            <a:ext cx="8212137" cy="871538"/>
          </a:xfrm>
        </p:spPr>
        <p:txBody>
          <a:bodyPr/>
          <a:lstStyle/>
          <a:p>
            <a:pPr eaLnBrk="1" hangingPunct="1"/>
            <a:r>
              <a:rPr lang="en-US" smtClean="0"/>
              <a:t>An example: data (loan application)</a:t>
            </a:r>
          </a:p>
        </p:txBody>
      </p:sp>
      <p:sp>
        <p:nvSpPr>
          <p:cNvPr id="46084" name="Text Box 7"/>
          <p:cNvSpPr txBox="1">
            <a:spLocks noChangeArrowheads="1"/>
          </p:cNvSpPr>
          <p:nvPr/>
        </p:nvSpPr>
        <p:spPr bwMode="auto">
          <a:xfrm>
            <a:off x="6985000" y="944563"/>
            <a:ext cx="1871663" cy="3667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342900" indent="-342900">
              <a:spcBef>
                <a:spcPct val="50000"/>
              </a:spcBef>
              <a:buFont typeface="Wingdings" pitchFamily="2" charset="2"/>
              <a:buNone/>
            </a:pPr>
            <a:r>
              <a:rPr lang="en-US" sz="1800"/>
              <a:t>Approved or not</a:t>
            </a:r>
          </a:p>
        </p:txBody>
      </p:sp>
      <p:pic>
        <p:nvPicPr>
          <p:cNvPr id="46085" name="Picture 8"/>
          <p:cNvPicPr>
            <a:picLocks noGrp="1" noChangeAspect="1" noChangeArrowheads="1"/>
          </p:cNvPicPr>
          <p:nvPr>
            <p:ph idx="1"/>
          </p:nvPr>
        </p:nvPicPr>
        <p:blipFill>
          <a:blip r:embed="rId2"/>
          <a:srcRect/>
          <a:stretch>
            <a:fillRect/>
          </a:stretch>
        </p:blipFill>
        <p:spPr>
          <a:xfrm>
            <a:off x="358775" y="1341438"/>
            <a:ext cx="8229600" cy="4789487"/>
          </a:xfrm>
        </p:spPr>
      </p:pic>
    </p:spTree>
    <p:extLst>
      <p:ext uri="{BB962C8B-B14F-4D97-AF65-F5344CB8AC3E}">
        <p14:creationId xmlns:p14="http://schemas.microsoft.com/office/powerpoint/2010/main" val="1143738844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00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287524" y="188640"/>
            <a:ext cx="7467109" cy="101566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Many other facets of machine learning are </a:t>
            </a:r>
          </a:p>
          <a:p>
            <a:r>
              <a:rPr lang="en-US" dirty="0" smtClean="0"/>
              <a:t>gaining momentum….</a:t>
            </a:r>
            <a:endParaRPr lang="en-US" dirty="0"/>
          </a:p>
        </p:txBody>
      </p:sp>
      <p:sp>
        <p:nvSpPr>
          <p:cNvPr id="3" name="TextBox 2"/>
          <p:cNvSpPr txBox="1"/>
          <p:nvPr/>
        </p:nvSpPr>
        <p:spPr>
          <a:xfrm>
            <a:off x="287524" y="1736812"/>
            <a:ext cx="8856476" cy="44627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800" dirty="0" smtClean="0"/>
              <a:t>Few Shot Learning </a:t>
            </a:r>
          </a:p>
          <a:p>
            <a:r>
              <a:rPr lang="en-US" sz="1800" dirty="0">
                <a:solidFill>
                  <a:srgbClr val="3333CC"/>
                </a:solidFill>
              </a:rPr>
              <a:t> </a:t>
            </a:r>
            <a:r>
              <a:rPr lang="en-US" sz="1800" dirty="0" smtClean="0">
                <a:solidFill>
                  <a:srgbClr val="3333CC"/>
                </a:solidFill>
              </a:rPr>
              <a:t>         </a:t>
            </a:r>
            <a:r>
              <a:rPr lang="en-US" sz="1400" dirty="0" smtClean="0">
                <a:solidFill>
                  <a:srgbClr val="3333CC"/>
                </a:solidFill>
              </a:rPr>
              <a:t>(ICLR 2019 </a:t>
            </a:r>
            <a:r>
              <a:rPr lang="en-US" sz="1400" dirty="0">
                <a:solidFill>
                  <a:srgbClr val="3333CC"/>
                </a:solidFill>
              </a:rPr>
              <a:t>Open Review: https://</a:t>
            </a:r>
            <a:r>
              <a:rPr lang="en-US" sz="1400" dirty="0" smtClean="0">
                <a:solidFill>
                  <a:srgbClr val="3333CC"/>
                </a:solidFill>
              </a:rPr>
              <a:t>openreview.net/forum?id=HkxLXnAcFQ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400" dirty="0" smtClean="0">
              <a:solidFill>
                <a:srgbClr val="00B050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800" dirty="0" smtClean="0"/>
              <a:t>Extreme Class Classification Problems</a:t>
            </a:r>
          </a:p>
          <a:p>
            <a:r>
              <a:rPr lang="en-US" sz="1800" dirty="0" smtClean="0"/>
              <a:t>           </a:t>
            </a:r>
            <a:r>
              <a:rPr lang="en-US" sz="1400" dirty="0" smtClean="0">
                <a:solidFill>
                  <a:srgbClr val="3333CC"/>
                </a:solidFill>
              </a:rPr>
              <a:t>(NIPS </a:t>
            </a:r>
            <a:r>
              <a:rPr lang="en-US" sz="1400" dirty="0">
                <a:solidFill>
                  <a:srgbClr val="3333CC"/>
                </a:solidFill>
              </a:rPr>
              <a:t>2017 Workshop: http://</a:t>
            </a:r>
            <a:r>
              <a:rPr lang="en-US" sz="1400" dirty="0" smtClean="0">
                <a:solidFill>
                  <a:srgbClr val="3333CC"/>
                </a:solidFill>
              </a:rPr>
              <a:t>manikvarma.org/events/XC17/index.html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80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800" dirty="0" smtClean="0"/>
              <a:t>Privacy preserving learning </a:t>
            </a:r>
          </a:p>
          <a:p>
            <a:r>
              <a:rPr lang="en-US" sz="1800" dirty="0"/>
              <a:t> </a:t>
            </a:r>
            <a:r>
              <a:rPr lang="en-US" sz="1800" dirty="0" smtClean="0"/>
              <a:t>      </a:t>
            </a:r>
            <a:r>
              <a:rPr lang="en-US" sz="1400" dirty="0" smtClean="0">
                <a:solidFill>
                  <a:srgbClr val="3333CC"/>
                </a:solidFill>
              </a:rPr>
              <a:t>(</a:t>
            </a:r>
            <a:r>
              <a:rPr lang="en-US" sz="1400" dirty="0" err="1" smtClean="0">
                <a:solidFill>
                  <a:srgbClr val="3333CC"/>
                </a:solidFill>
              </a:rPr>
              <a:t>NeurIPS</a:t>
            </a:r>
            <a:r>
              <a:rPr lang="en-US" sz="1400" dirty="0" smtClean="0">
                <a:solidFill>
                  <a:srgbClr val="3333CC"/>
                </a:solidFill>
              </a:rPr>
              <a:t> </a:t>
            </a:r>
            <a:r>
              <a:rPr lang="en-US" sz="1400" dirty="0">
                <a:solidFill>
                  <a:srgbClr val="3333CC"/>
                </a:solidFill>
              </a:rPr>
              <a:t>2018 Workshop on </a:t>
            </a:r>
            <a:r>
              <a:rPr lang="en-US" sz="1400" dirty="0" err="1">
                <a:solidFill>
                  <a:srgbClr val="3333CC"/>
                </a:solidFill>
              </a:rPr>
              <a:t>PPML:https</a:t>
            </a:r>
            <a:r>
              <a:rPr lang="en-US" sz="1400" dirty="0">
                <a:solidFill>
                  <a:srgbClr val="3333CC"/>
                </a:solidFill>
              </a:rPr>
              <a:t>://ppml-workshop.github.io/</a:t>
            </a:r>
            <a:r>
              <a:rPr lang="en-US" sz="1400" dirty="0" err="1">
                <a:solidFill>
                  <a:srgbClr val="3333CC"/>
                </a:solidFill>
              </a:rPr>
              <a:t>ppml</a:t>
            </a:r>
            <a:r>
              <a:rPr lang="en-US" sz="1400" dirty="0" smtClean="0">
                <a:solidFill>
                  <a:srgbClr val="3333CC"/>
                </a:solidFill>
              </a:rPr>
              <a:t>/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80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800" dirty="0" smtClean="0"/>
              <a:t>Multi-label learning </a:t>
            </a:r>
          </a:p>
          <a:p>
            <a:r>
              <a:rPr lang="en-US" sz="1800" dirty="0"/>
              <a:t> </a:t>
            </a:r>
            <a:r>
              <a:rPr lang="en-US" sz="1800" dirty="0" smtClean="0"/>
              <a:t>        </a:t>
            </a:r>
            <a:r>
              <a:rPr lang="en-US" sz="1400" dirty="0" smtClean="0">
                <a:solidFill>
                  <a:srgbClr val="3333CC"/>
                </a:solidFill>
              </a:rPr>
              <a:t>(A </a:t>
            </a:r>
            <a:r>
              <a:rPr lang="en-US" sz="1400" dirty="0">
                <a:solidFill>
                  <a:srgbClr val="3333CC"/>
                </a:solidFill>
              </a:rPr>
              <a:t>nice survey in IEEE TKDE: </a:t>
            </a:r>
            <a:r>
              <a:rPr lang="en-US" sz="1400" dirty="0" smtClean="0">
                <a:solidFill>
                  <a:srgbClr val="3333CC"/>
                </a:solidFill>
              </a:rPr>
              <a:t> https</a:t>
            </a:r>
            <a:r>
              <a:rPr lang="en-US" sz="1400" dirty="0">
                <a:solidFill>
                  <a:srgbClr val="3333CC"/>
                </a:solidFill>
              </a:rPr>
              <a:t>://</a:t>
            </a:r>
            <a:r>
              <a:rPr lang="en-US" sz="1400" dirty="0" smtClean="0">
                <a:solidFill>
                  <a:srgbClr val="3333CC"/>
                </a:solidFill>
              </a:rPr>
              <a:t>ieeexplore.ieee.org/stamp/stamp.jsp?arnumber=6471714)</a:t>
            </a:r>
          </a:p>
          <a:p>
            <a:endParaRPr lang="en-US" sz="180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800" dirty="0" smtClean="0"/>
              <a:t>Meta-learning and learning to learn</a:t>
            </a:r>
          </a:p>
          <a:p>
            <a:r>
              <a:rPr lang="en-US" sz="1800" dirty="0">
                <a:solidFill>
                  <a:srgbClr val="3333CC"/>
                </a:solidFill>
              </a:rPr>
              <a:t>         </a:t>
            </a:r>
            <a:r>
              <a:rPr lang="en-US" sz="1400" dirty="0">
                <a:solidFill>
                  <a:srgbClr val="3333CC"/>
                </a:solidFill>
              </a:rPr>
              <a:t>(</a:t>
            </a:r>
            <a:r>
              <a:rPr lang="en-US" sz="1400" dirty="0" smtClean="0">
                <a:solidFill>
                  <a:srgbClr val="3333CC"/>
                </a:solidFill>
              </a:rPr>
              <a:t>see </a:t>
            </a:r>
            <a:r>
              <a:rPr lang="en-US" sz="1400" dirty="0">
                <a:solidFill>
                  <a:srgbClr val="3333CC"/>
                </a:solidFill>
              </a:rPr>
              <a:t>Sebastian </a:t>
            </a:r>
            <a:r>
              <a:rPr lang="en-US" sz="1400" dirty="0" err="1" smtClean="0">
                <a:solidFill>
                  <a:srgbClr val="3333CC"/>
                </a:solidFill>
              </a:rPr>
              <a:t>Thrun’s</a:t>
            </a:r>
            <a:r>
              <a:rPr lang="en-US" sz="1400" dirty="0" smtClean="0">
                <a:solidFill>
                  <a:srgbClr val="3333CC"/>
                </a:solidFill>
              </a:rPr>
              <a:t> homepage: </a:t>
            </a:r>
            <a:r>
              <a:rPr lang="en-US" sz="1400" dirty="0">
                <a:solidFill>
                  <a:srgbClr val="3333CC"/>
                </a:solidFill>
              </a:rPr>
              <a:t>http://</a:t>
            </a:r>
            <a:r>
              <a:rPr lang="en-US" sz="1400" dirty="0" smtClean="0">
                <a:solidFill>
                  <a:srgbClr val="3333CC"/>
                </a:solidFill>
              </a:rPr>
              <a:t>robots.stanford.edu/papers/thrun.book3.html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80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800" dirty="0"/>
          </a:p>
        </p:txBody>
      </p:sp>
    </p:spTree>
    <p:extLst>
      <p:ext uri="{BB962C8B-B14F-4D97-AF65-F5344CB8AC3E}">
        <p14:creationId xmlns:p14="http://schemas.microsoft.com/office/powerpoint/2010/main" val="23741310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9C9827-7C55-42C3-B86C-1E7204BA9330}" type="slidenum">
              <a:rPr lang="en-US" altLang="en-US" smtClean="0"/>
              <a:pPr/>
              <a:t>101</a:t>
            </a:fld>
            <a:endParaRPr lang="en-US" altLang="en-US"/>
          </a:p>
        </p:txBody>
      </p:sp>
      <p:sp>
        <p:nvSpPr>
          <p:cNvPr id="5" name="TextBox 4"/>
          <p:cNvSpPr txBox="1"/>
          <p:nvPr/>
        </p:nvSpPr>
        <p:spPr>
          <a:xfrm>
            <a:off x="77479" y="334644"/>
            <a:ext cx="9066521" cy="101566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>
                <a:solidFill>
                  <a:srgbClr val="3333CC"/>
                </a:solidFill>
              </a:rPr>
              <a:t>However, with back-propagation and other methods,</a:t>
            </a:r>
          </a:p>
          <a:p>
            <a:r>
              <a:rPr lang="en-US" dirty="0" smtClean="0">
                <a:solidFill>
                  <a:srgbClr val="3333CC"/>
                </a:solidFill>
              </a:rPr>
              <a:t>are we really any closer to how the brain functions?</a:t>
            </a:r>
            <a:endParaRPr lang="en-US" dirty="0">
              <a:solidFill>
                <a:srgbClr val="3333CC"/>
              </a:solidFill>
            </a:endParaRPr>
          </a:p>
        </p:txBody>
      </p:sp>
      <p:pic>
        <p:nvPicPr>
          <p:cNvPr id="160770" name="Picture 2" descr="data science, geoff hinton, deep learni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1600" y="1981861"/>
            <a:ext cx="2520280" cy="33393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Rectangle 5"/>
          <p:cNvSpPr/>
          <p:nvPr/>
        </p:nvSpPr>
        <p:spPr>
          <a:xfrm>
            <a:off x="3886200" y="1923959"/>
            <a:ext cx="4572000" cy="1938992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 dirty="0">
                <a:solidFill>
                  <a:srgbClr val="000000"/>
                </a:solidFill>
                <a:latin typeface="Open Sans"/>
              </a:rPr>
              <a:t>“</a:t>
            </a:r>
            <a:r>
              <a:rPr lang="en-US" dirty="0">
                <a:solidFill>
                  <a:srgbClr val="C00000"/>
                </a:solidFill>
                <a:latin typeface="Open Sans"/>
              </a:rPr>
              <a:t>The future depends on some graduate student who is </a:t>
            </a:r>
            <a:r>
              <a:rPr lang="en-US" u="sng" dirty="0">
                <a:solidFill>
                  <a:srgbClr val="C00000"/>
                </a:solidFill>
                <a:latin typeface="Open Sans"/>
              </a:rPr>
              <a:t>deeply suspicious </a:t>
            </a:r>
            <a:r>
              <a:rPr lang="en-US" dirty="0">
                <a:solidFill>
                  <a:srgbClr val="C00000"/>
                </a:solidFill>
                <a:latin typeface="Open Sans"/>
              </a:rPr>
              <a:t>of everything I have said</a:t>
            </a:r>
            <a:r>
              <a:rPr lang="en-US" dirty="0">
                <a:solidFill>
                  <a:srgbClr val="000000"/>
                </a:solidFill>
                <a:latin typeface="Open Sans"/>
              </a:rPr>
              <a:t>.”</a:t>
            </a:r>
            <a:endParaRPr lang="en-US" dirty="0"/>
          </a:p>
        </p:txBody>
      </p:sp>
      <p:sp>
        <p:nvSpPr>
          <p:cNvPr id="7" name="Rectangle 6"/>
          <p:cNvSpPr/>
          <p:nvPr/>
        </p:nvSpPr>
        <p:spPr>
          <a:xfrm>
            <a:off x="4233072" y="4725144"/>
            <a:ext cx="4572000" cy="584775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 sz="1600" b="1" dirty="0">
                <a:solidFill>
                  <a:srgbClr val="7030A0"/>
                </a:solidFill>
                <a:latin typeface="Open Sans"/>
              </a:rPr>
              <a:t>Geoffrey </a:t>
            </a:r>
            <a:r>
              <a:rPr lang="en-US" sz="1600" b="1" dirty="0" smtClean="0">
                <a:solidFill>
                  <a:srgbClr val="7030A0"/>
                </a:solidFill>
                <a:latin typeface="Open Sans"/>
              </a:rPr>
              <a:t>E. Hinton</a:t>
            </a:r>
            <a:r>
              <a:rPr lang="en-US" sz="1600" dirty="0">
                <a:solidFill>
                  <a:srgbClr val="000000"/>
                </a:solidFill>
                <a:latin typeface="Open Sans"/>
              </a:rPr>
              <a:t>, widely revered as the “godfather of deep learning”</a:t>
            </a:r>
            <a:endParaRPr lang="en-US" sz="1600" dirty="0"/>
          </a:p>
        </p:txBody>
      </p:sp>
      <p:sp>
        <p:nvSpPr>
          <p:cNvPr id="8" name="TextBox 7"/>
          <p:cNvSpPr txBox="1"/>
          <p:nvPr/>
        </p:nvSpPr>
        <p:spPr>
          <a:xfrm>
            <a:off x="647564" y="6025919"/>
            <a:ext cx="4230645" cy="5539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 smtClean="0">
                <a:solidFill>
                  <a:srgbClr val="3333CC"/>
                </a:solidFill>
              </a:rPr>
              <a:t>So, keep on doubting!</a:t>
            </a:r>
            <a:endParaRPr lang="en-US" b="1" dirty="0">
              <a:solidFill>
                <a:srgbClr val="3333CC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8330253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</p:bldLst>
  </p:timing>
</p:sld>
</file>

<file path=ppt/slides/slide10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2" name="WordArt 5" descr="PCMahalanobis"/>
          <p:cNvSpPr>
            <a:spLocks noChangeArrowheads="1" noChangeShapeType="1" noTextEdit="1"/>
          </p:cNvSpPr>
          <p:nvPr/>
        </p:nvSpPr>
        <p:spPr bwMode="auto">
          <a:xfrm>
            <a:off x="685800" y="304800"/>
            <a:ext cx="7000875" cy="5214938"/>
          </a:xfrm>
          <a:prstGeom prst="rect">
            <a:avLst/>
          </a:prstGeom>
        </p:spPr>
        <p:txBody>
          <a:bodyPr wrap="none" fromWordArt="1">
            <a:prstTxWarp prst="textCascadeUp">
              <a:avLst>
                <a:gd name="adj" fmla="val 44444"/>
              </a:avLst>
            </a:prstTxWarp>
            <a:scene3d>
              <a:camera prst="legacyPerspectiveFront">
                <a:rot lat="20519977" lon="1080000" rev="0"/>
              </a:camera>
              <a:lightRig rig="legacyHarsh2" dir="b"/>
            </a:scene3d>
            <a:sp3d extrusionH="430200" prstMaterial="legacyMatte">
              <a:extrusionClr>
                <a:srgbClr val="FF6600"/>
              </a:extrusionClr>
            </a:sp3d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sz="3600" kern="10" dirty="0">
                <a:ln w="9525">
                  <a:round/>
                  <a:headEnd/>
                  <a:tailEnd/>
                </a:ln>
                <a:blipFill dpi="0" rotWithShape="0">
                  <a:blip r:embed="rId2"/>
                  <a:srcRect/>
                  <a:stretch>
                    <a:fillRect/>
                  </a:stretch>
                </a:blipFill>
                <a:latin typeface="Impact"/>
              </a:rPr>
              <a:t>Thank You</a:t>
            </a:r>
          </a:p>
        </p:txBody>
      </p:sp>
      <p:sp>
        <p:nvSpPr>
          <p:cNvPr id="2" name="TextBox 1"/>
          <p:cNvSpPr txBox="1"/>
          <p:nvPr/>
        </p:nvSpPr>
        <p:spPr>
          <a:xfrm>
            <a:off x="228600" y="202168"/>
            <a:ext cx="177907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sz="1800" b="1" dirty="0" smtClean="0">
                <a:solidFill>
                  <a:srgbClr val="0000FF"/>
                </a:solidFill>
                <a:latin typeface="Times New Roman"/>
              </a:rPr>
              <a:t>…and that’s it!</a:t>
            </a:r>
            <a:endParaRPr lang="en-US" sz="1800" b="1" dirty="0">
              <a:solidFill>
                <a:srgbClr val="0000FF"/>
              </a:solidFill>
              <a:latin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38357197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106" name="Slide Number Placeholder 5"/>
          <p:cNvSpPr>
            <a:spLocks noGrp="1"/>
          </p:cNvSpPr>
          <p:nvPr>
            <p:ph type="sldNum" sz="quarter" idx="11"/>
          </p:nvPr>
        </p:nvSpPr>
        <p:spPr>
          <a:noFill/>
        </p:spPr>
        <p:txBody>
          <a:bodyPr/>
          <a:lstStyle/>
          <a:p>
            <a:fld id="{5B436A52-8875-42A0-A7FF-C70CBF1DE38E}" type="slidenum">
              <a:rPr lang="en-US" altLang="en-US"/>
              <a:pPr/>
              <a:t>11</a:t>
            </a:fld>
            <a:endParaRPr lang="en-US" altLang="en-US"/>
          </a:p>
        </p:txBody>
      </p:sp>
      <p:sp>
        <p:nvSpPr>
          <p:cNvPr id="47107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smtClean="0"/>
              <a:t>An example: the learning task</a:t>
            </a:r>
          </a:p>
        </p:txBody>
      </p:sp>
      <p:sp>
        <p:nvSpPr>
          <p:cNvPr id="47108" name="Rectangle 3"/>
          <p:cNvSpPr>
            <a:spLocks noGrp="1" noChangeArrowheads="1"/>
          </p:cNvSpPr>
          <p:nvPr>
            <p:ph type="body" sz="half" idx="1"/>
          </p:nvPr>
        </p:nvSpPr>
        <p:spPr>
          <a:xfrm>
            <a:off x="457200" y="1412875"/>
            <a:ext cx="8183563" cy="4718050"/>
          </a:xfrm>
        </p:spPr>
        <p:txBody>
          <a:bodyPr/>
          <a:lstStyle/>
          <a:p>
            <a:pPr eaLnBrk="1" hangingPunct="1"/>
            <a:r>
              <a:rPr lang="en-US" sz="2600" smtClean="0">
                <a:solidFill>
                  <a:srgbClr val="FF0000"/>
                </a:solidFill>
              </a:rPr>
              <a:t>Learn a classification model</a:t>
            </a:r>
            <a:r>
              <a:rPr lang="en-US" sz="2600" smtClean="0"/>
              <a:t> from the data </a:t>
            </a:r>
          </a:p>
          <a:p>
            <a:pPr eaLnBrk="1" hangingPunct="1"/>
            <a:r>
              <a:rPr lang="en-US" sz="2600" smtClean="0"/>
              <a:t>Use the model to classify future loan applications into </a:t>
            </a:r>
          </a:p>
          <a:p>
            <a:pPr lvl="1" eaLnBrk="1" hangingPunct="1"/>
            <a:r>
              <a:rPr lang="en-US" sz="2200" smtClean="0">
                <a:solidFill>
                  <a:srgbClr val="3333CC"/>
                </a:solidFill>
              </a:rPr>
              <a:t>Yes (approved) and </a:t>
            </a:r>
          </a:p>
          <a:p>
            <a:pPr lvl="1" eaLnBrk="1" hangingPunct="1"/>
            <a:r>
              <a:rPr lang="en-US" sz="2200" smtClean="0">
                <a:solidFill>
                  <a:srgbClr val="3333CC"/>
                </a:solidFill>
              </a:rPr>
              <a:t>No (not approved)</a:t>
            </a:r>
          </a:p>
          <a:p>
            <a:pPr eaLnBrk="1" hangingPunct="1"/>
            <a:r>
              <a:rPr lang="en-US" sz="2600" smtClean="0"/>
              <a:t>What is the class for following case/instance?</a:t>
            </a:r>
          </a:p>
        </p:txBody>
      </p:sp>
      <p:pic>
        <p:nvPicPr>
          <p:cNvPr id="47109" name="Picture 4"/>
          <p:cNvPicPr>
            <a:picLocks noGrp="1" noChangeAspect="1" noChangeArrowheads="1"/>
          </p:cNvPicPr>
          <p:nvPr>
            <p:ph sz="half" idx="2"/>
          </p:nvPr>
        </p:nvPicPr>
        <p:blipFill>
          <a:blip r:embed="rId2"/>
          <a:srcRect/>
          <a:stretch>
            <a:fillRect/>
          </a:stretch>
        </p:blipFill>
        <p:spPr>
          <a:xfrm>
            <a:off x="539750" y="4545013"/>
            <a:ext cx="8208963" cy="936625"/>
          </a:xfrm>
          <a:noFill/>
        </p:spPr>
      </p:pic>
    </p:spTree>
    <p:extLst>
      <p:ext uri="{BB962C8B-B14F-4D97-AF65-F5344CB8AC3E}">
        <p14:creationId xmlns:p14="http://schemas.microsoft.com/office/powerpoint/2010/main" val="359464764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626" name="Title 1"/>
          <p:cNvSpPr>
            <a:spLocks noGrp="1"/>
          </p:cNvSpPr>
          <p:nvPr>
            <p:ph type="title"/>
          </p:nvPr>
        </p:nvSpPr>
        <p:spPr>
          <a:xfrm>
            <a:off x="457200" y="269875"/>
            <a:ext cx="8229600" cy="1371600"/>
          </a:xfrm>
        </p:spPr>
        <p:txBody>
          <a:bodyPr/>
          <a:lstStyle/>
          <a:p>
            <a:r>
              <a:rPr lang="en-US" altLang="en-US" smtClean="0">
                <a:solidFill>
                  <a:schemeClr val="tx1"/>
                </a:solidFill>
              </a:rPr>
              <a:t>The machine learning framework</a:t>
            </a:r>
          </a:p>
        </p:txBody>
      </p:sp>
      <p:sp>
        <p:nvSpPr>
          <p:cNvPr id="26627" name="Content Placeholder 2"/>
          <p:cNvSpPr>
            <a:spLocks noGrp="1"/>
          </p:cNvSpPr>
          <p:nvPr>
            <p:ph idx="1"/>
          </p:nvPr>
        </p:nvSpPr>
        <p:spPr>
          <a:xfrm>
            <a:off x="358775" y="1812925"/>
            <a:ext cx="8229600" cy="4144963"/>
          </a:xfrm>
        </p:spPr>
        <p:txBody>
          <a:bodyPr/>
          <a:lstStyle/>
          <a:p>
            <a:r>
              <a:rPr lang="en-US" altLang="en-US" dirty="0" smtClean="0"/>
              <a:t>Apply a prediction function to a feature representation of the image to get the desired output:</a:t>
            </a:r>
            <a:br>
              <a:rPr lang="en-US" altLang="en-US" dirty="0" smtClean="0"/>
            </a:br>
            <a:endParaRPr lang="en-US" altLang="en-US" dirty="0" smtClean="0"/>
          </a:p>
          <a:p>
            <a:pPr>
              <a:buFontTx/>
              <a:buNone/>
            </a:pPr>
            <a:r>
              <a:rPr lang="en-US" altLang="en-US" dirty="0" smtClean="0">
                <a:solidFill>
                  <a:srgbClr val="0000FF"/>
                </a:solidFill>
              </a:rPr>
              <a:t>			</a:t>
            </a:r>
            <a:r>
              <a:rPr lang="en-US" altLang="en-US" sz="5400" i="1" dirty="0" smtClean="0">
                <a:solidFill>
                  <a:srgbClr val="0000FF"/>
                </a:solidFill>
              </a:rPr>
              <a:t>f</a:t>
            </a:r>
            <a:r>
              <a:rPr lang="en-US" altLang="en-US" sz="5400" dirty="0" smtClean="0">
                <a:solidFill>
                  <a:srgbClr val="0000FF"/>
                </a:solidFill>
              </a:rPr>
              <a:t>(    ) = “apple”</a:t>
            </a:r>
          </a:p>
          <a:p>
            <a:pPr>
              <a:buFontTx/>
              <a:buNone/>
            </a:pPr>
            <a:r>
              <a:rPr lang="en-US" altLang="en-US" sz="5400" dirty="0" smtClean="0">
                <a:solidFill>
                  <a:srgbClr val="0000FF"/>
                </a:solidFill>
              </a:rPr>
              <a:t>			</a:t>
            </a:r>
            <a:r>
              <a:rPr lang="en-US" altLang="en-US" sz="5400" i="1" dirty="0" smtClean="0">
                <a:solidFill>
                  <a:srgbClr val="0000FF"/>
                </a:solidFill>
              </a:rPr>
              <a:t>f</a:t>
            </a:r>
            <a:r>
              <a:rPr lang="en-US" altLang="en-US" sz="5400" dirty="0" smtClean="0">
                <a:solidFill>
                  <a:srgbClr val="0000FF"/>
                </a:solidFill>
              </a:rPr>
              <a:t>(    ) = “tomato”</a:t>
            </a:r>
          </a:p>
          <a:p>
            <a:pPr>
              <a:buFontTx/>
              <a:buNone/>
            </a:pPr>
            <a:r>
              <a:rPr lang="en-US" altLang="en-US" sz="5400" dirty="0" smtClean="0">
                <a:solidFill>
                  <a:srgbClr val="0000FF"/>
                </a:solidFill>
              </a:rPr>
              <a:t>			</a:t>
            </a:r>
            <a:r>
              <a:rPr lang="en-US" altLang="en-US" sz="5400" i="1" dirty="0" smtClean="0">
                <a:solidFill>
                  <a:srgbClr val="0000FF"/>
                </a:solidFill>
              </a:rPr>
              <a:t>f</a:t>
            </a:r>
            <a:r>
              <a:rPr lang="en-US" altLang="en-US" sz="5400" dirty="0" smtClean="0">
                <a:solidFill>
                  <a:srgbClr val="0000FF"/>
                </a:solidFill>
              </a:rPr>
              <a:t>(    ) = “cow”</a:t>
            </a:r>
          </a:p>
          <a:p>
            <a:pPr>
              <a:buFontTx/>
              <a:buNone/>
            </a:pPr>
            <a:endParaRPr lang="en-US" altLang="en-US" dirty="0" smtClean="0"/>
          </a:p>
          <a:p>
            <a:pPr>
              <a:buFontTx/>
              <a:buNone/>
            </a:pPr>
            <a:endParaRPr lang="en-US" altLang="en-US" dirty="0" smtClean="0"/>
          </a:p>
          <a:p>
            <a:pPr>
              <a:buFontTx/>
              <a:buNone/>
            </a:pPr>
            <a:endParaRPr lang="en-US" altLang="en-US" dirty="0" smtClean="0"/>
          </a:p>
        </p:txBody>
      </p:sp>
      <p:pic>
        <p:nvPicPr>
          <p:cNvPr id="26628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69189" y="3567537"/>
            <a:ext cx="684076" cy="672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6629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78565" y="4608845"/>
            <a:ext cx="774700" cy="749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6630" name="Picture 4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23877" y="5564521"/>
            <a:ext cx="774700" cy="762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631" name="TextBox 6"/>
          <p:cNvSpPr txBox="1">
            <a:spLocks noChangeArrowheads="1"/>
          </p:cNvSpPr>
          <p:nvPr/>
        </p:nvSpPr>
        <p:spPr bwMode="auto">
          <a:xfrm>
            <a:off x="7315200" y="6581775"/>
            <a:ext cx="1812925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buClr>
                <a:schemeClr val="accent1"/>
              </a:buClr>
              <a:buSzPct val="65000"/>
              <a:buFont typeface="Wingdings" panose="05000000000000000000" pitchFamily="2" charset="2"/>
              <a:buChar char="n"/>
              <a:defRPr sz="30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lr>
                <a:schemeClr val="accent1"/>
              </a:buClr>
              <a:buSzPct val="65000"/>
              <a:buFont typeface="Wingdings" panose="05000000000000000000" pitchFamily="2" charset="2"/>
              <a:buChar char="n"/>
              <a:defRPr sz="30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lr>
                <a:schemeClr val="accent1"/>
              </a:buClr>
              <a:buSzPct val="65000"/>
              <a:buFont typeface="Wingdings" panose="05000000000000000000" pitchFamily="2" charset="2"/>
              <a:buChar char="n"/>
              <a:defRPr sz="30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lr>
                <a:schemeClr val="accent1"/>
              </a:buClr>
              <a:buSzPct val="65000"/>
              <a:buFont typeface="Wingdings" panose="05000000000000000000" pitchFamily="2" charset="2"/>
              <a:buChar char="n"/>
              <a:defRPr sz="3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chemeClr val="accent1"/>
              </a:buClr>
              <a:buSzPct val="65000"/>
              <a:buFont typeface="Wingdings" panose="05000000000000000000" pitchFamily="2" charset="2"/>
              <a:buChar char="n"/>
              <a:defRPr sz="3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5000"/>
              <a:buFont typeface="Wingdings" panose="05000000000000000000" pitchFamily="2" charset="2"/>
              <a:buChar char="n"/>
              <a:defRPr sz="3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5000"/>
              <a:buFont typeface="Wingdings" panose="05000000000000000000" pitchFamily="2" charset="2"/>
              <a:buChar char="n"/>
              <a:defRPr sz="3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5000"/>
              <a:buFont typeface="Wingdings" panose="05000000000000000000" pitchFamily="2" charset="2"/>
              <a:buChar char="n"/>
              <a:defRPr sz="3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5000"/>
              <a:buFont typeface="Wingdings" panose="05000000000000000000" pitchFamily="2" charset="2"/>
              <a:buChar char="n"/>
              <a:defRPr sz="3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 sz="1200">
                <a:solidFill>
                  <a:srgbClr val="A6A6A6"/>
                </a:solidFill>
              </a:rPr>
              <a:t>Slide credit: L. Lazebnik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674" name="Title 1"/>
          <p:cNvSpPr>
            <a:spLocks noGrp="1"/>
          </p:cNvSpPr>
          <p:nvPr>
            <p:ph type="title"/>
          </p:nvPr>
        </p:nvSpPr>
        <p:spPr>
          <a:xfrm>
            <a:off x="216185" y="37305"/>
            <a:ext cx="8695692" cy="1371600"/>
          </a:xfrm>
        </p:spPr>
        <p:txBody>
          <a:bodyPr/>
          <a:lstStyle/>
          <a:p>
            <a:r>
              <a:rPr lang="en-US" altLang="en-US" dirty="0" smtClean="0">
                <a:solidFill>
                  <a:schemeClr val="tx1"/>
                </a:solidFill>
              </a:rPr>
              <a:t>The machine learning framework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04800" y="1600200"/>
            <a:ext cx="8610600" cy="4525963"/>
          </a:xfrm>
        </p:spPr>
        <p:txBody>
          <a:bodyPr/>
          <a:lstStyle/>
          <a:p>
            <a:pPr algn="ctr">
              <a:buFontTx/>
              <a:buNone/>
            </a:pPr>
            <a:r>
              <a:rPr lang="en-US" altLang="en-US" sz="6000" dirty="0" smtClean="0">
                <a:solidFill>
                  <a:srgbClr val="0000FF"/>
                </a:solidFill>
              </a:rPr>
              <a:t>y = </a:t>
            </a:r>
            <a:r>
              <a:rPr lang="en-US" altLang="en-US" sz="6000" i="1" dirty="0" smtClean="0">
                <a:solidFill>
                  <a:srgbClr val="0000FF"/>
                </a:solidFill>
              </a:rPr>
              <a:t>f</a:t>
            </a:r>
            <a:r>
              <a:rPr lang="en-US" altLang="en-US" sz="6000" dirty="0" smtClean="0">
                <a:solidFill>
                  <a:srgbClr val="0000FF"/>
                </a:solidFill>
              </a:rPr>
              <a:t>(</a:t>
            </a:r>
            <a:r>
              <a:rPr lang="en-US" altLang="en-US" sz="6000" b="1" dirty="0" smtClean="0">
                <a:solidFill>
                  <a:srgbClr val="0000FF"/>
                </a:solidFill>
              </a:rPr>
              <a:t>x</a:t>
            </a:r>
            <a:r>
              <a:rPr lang="en-US" altLang="en-US" sz="6000" dirty="0" smtClean="0">
                <a:solidFill>
                  <a:srgbClr val="0000FF"/>
                </a:solidFill>
              </a:rPr>
              <a:t>)</a:t>
            </a:r>
          </a:p>
          <a:p>
            <a:pPr>
              <a:buFontTx/>
              <a:buNone/>
            </a:pPr>
            <a:endParaRPr lang="en-US" altLang="en-US" dirty="0" smtClean="0"/>
          </a:p>
          <a:p>
            <a:pPr>
              <a:buFontTx/>
              <a:buNone/>
            </a:pPr>
            <a:endParaRPr lang="en-US" altLang="en-US" dirty="0" smtClean="0"/>
          </a:p>
          <a:p>
            <a:pPr>
              <a:buFontTx/>
              <a:buNone/>
            </a:pPr>
            <a:r>
              <a:rPr lang="en-US" altLang="en-US" dirty="0" smtClean="0"/>
              <a:t/>
            </a:r>
            <a:br>
              <a:rPr lang="en-US" altLang="en-US" dirty="0" smtClean="0"/>
            </a:br>
            <a:endParaRPr lang="en-US" altLang="en-US" dirty="0" smtClean="0"/>
          </a:p>
          <a:p>
            <a:r>
              <a:rPr lang="en-US" altLang="en-US" b="1" dirty="0" smtClean="0"/>
              <a:t>Training: </a:t>
            </a:r>
            <a:r>
              <a:rPr lang="en-US" altLang="en-US" dirty="0" smtClean="0"/>
              <a:t>given a </a:t>
            </a:r>
            <a:r>
              <a:rPr lang="en-US" altLang="en-US" i="1" dirty="0" smtClean="0"/>
              <a:t>training set </a:t>
            </a:r>
            <a:r>
              <a:rPr lang="en-US" altLang="en-US" dirty="0" smtClean="0"/>
              <a:t>of labeled examples</a:t>
            </a:r>
            <a:r>
              <a:rPr lang="en-US" altLang="en-US" i="1" dirty="0" smtClean="0"/>
              <a:t> </a:t>
            </a:r>
            <a:r>
              <a:rPr lang="en-US" altLang="en-US" dirty="0" smtClean="0">
                <a:solidFill>
                  <a:srgbClr val="0000FF"/>
                </a:solidFill>
              </a:rPr>
              <a:t>{(</a:t>
            </a:r>
            <a:r>
              <a:rPr lang="en-US" altLang="en-US" b="1" dirty="0" smtClean="0">
                <a:solidFill>
                  <a:srgbClr val="0000FF"/>
                </a:solidFill>
              </a:rPr>
              <a:t>x</a:t>
            </a:r>
            <a:r>
              <a:rPr lang="en-US" altLang="en-US" baseline="-25000" dirty="0" smtClean="0">
                <a:solidFill>
                  <a:srgbClr val="0000FF"/>
                </a:solidFill>
              </a:rPr>
              <a:t>1</a:t>
            </a:r>
            <a:r>
              <a:rPr lang="en-US" altLang="en-US" dirty="0" smtClean="0">
                <a:solidFill>
                  <a:srgbClr val="0000FF"/>
                </a:solidFill>
              </a:rPr>
              <a:t>,y</a:t>
            </a:r>
            <a:r>
              <a:rPr lang="en-US" altLang="en-US" baseline="-25000" dirty="0" smtClean="0">
                <a:solidFill>
                  <a:srgbClr val="0000FF"/>
                </a:solidFill>
              </a:rPr>
              <a:t>1</a:t>
            </a:r>
            <a:r>
              <a:rPr lang="en-US" altLang="en-US" dirty="0" smtClean="0">
                <a:solidFill>
                  <a:srgbClr val="0000FF"/>
                </a:solidFill>
              </a:rPr>
              <a:t>), …, (</a:t>
            </a:r>
            <a:r>
              <a:rPr lang="en-US" altLang="en-US" b="1" dirty="0" err="1" smtClean="0">
                <a:solidFill>
                  <a:srgbClr val="0000FF"/>
                </a:solidFill>
              </a:rPr>
              <a:t>x</a:t>
            </a:r>
            <a:r>
              <a:rPr lang="en-US" altLang="en-US" baseline="-25000" dirty="0" err="1" smtClean="0">
                <a:solidFill>
                  <a:srgbClr val="0000FF"/>
                </a:solidFill>
              </a:rPr>
              <a:t>N</a:t>
            </a:r>
            <a:r>
              <a:rPr lang="en-US" altLang="en-US" dirty="0" err="1" smtClean="0">
                <a:solidFill>
                  <a:srgbClr val="0000FF"/>
                </a:solidFill>
              </a:rPr>
              <a:t>,y</a:t>
            </a:r>
            <a:r>
              <a:rPr lang="en-US" altLang="en-US" baseline="-25000" dirty="0" err="1" smtClean="0">
                <a:solidFill>
                  <a:srgbClr val="0000FF"/>
                </a:solidFill>
              </a:rPr>
              <a:t>N</a:t>
            </a:r>
            <a:r>
              <a:rPr lang="en-US" altLang="en-US" dirty="0" smtClean="0">
                <a:solidFill>
                  <a:srgbClr val="0000FF"/>
                </a:solidFill>
              </a:rPr>
              <a:t>)}</a:t>
            </a:r>
            <a:r>
              <a:rPr lang="en-US" altLang="en-US" dirty="0" smtClean="0"/>
              <a:t>, estimate the prediction function </a:t>
            </a:r>
            <a:r>
              <a:rPr lang="en-US" altLang="en-US" i="1" dirty="0" smtClean="0">
                <a:solidFill>
                  <a:srgbClr val="0000FF"/>
                </a:solidFill>
              </a:rPr>
              <a:t>f</a:t>
            </a:r>
            <a:r>
              <a:rPr lang="en-US" altLang="en-US" dirty="0" smtClean="0">
                <a:solidFill>
                  <a:srgbClr val="0000FF"/>
                </a:solidFill>
              </a:rPr>
              <a:t> </a:t>
            </a:r>
            <a:r>
              <a:rPr lang="en-US" altLang="en-US" dirty="0" smtClean="0"/>
              <a:t>by minimizing the prediction error on the training set</a:t>
            </a:r>
          </a:p>
          <a:p>
            <a:r>
              <a:rPr lang="en-US" altLang="en-US" b="1" dirty="0" smtClean="0"/>
              <a:t>Testing:</a:t>
            </a:r>
            <a:r>
              <a:rPr lang="en-US" altLang="en-US" dirty="0" smtClean="0"/>
              <a:t> apply </a:t>
            </a:r>
            <a:r>
              <a:rPr lang="en-US" altLang="en-US" dirty="0" smtClean="0">
                <a:solidFill>
                  <a:srgbClr val="0000FF"/>
                </a:solidFill>
              </a:rPr>
              <a:t>f</a:t>
            </a:r>
            <a:r>
              <a:rPr lang="en-US" altLang="en-US" dirty="0" smtClean="0"/>
              <a:t> to a never before seen </a:t>
            </a:r>
            <a:r>
              <a:rPr lang="en-US" altLang="en-US" i="1" dirty="0" smtClean="0"/>
              <a:t>test example</a:t>
            </a:r>
            <a:r>
              <a:rPr lang="en-US" altLang="en-US" dirty="0" smtClean="0"/>
              <a:t> </a:t>
            </a:r>
            <a:r>
              <a:rPr lang="en-US" altLang="en-US" b="1" dirty="0" smtClean="0">
                <a:solidFill>
                  <a:srgbClr val="0000FF"/>
                </a:solidFill>
              </a:rPr>
              <a:t>x</a:t>
            </a:r>
            <a:r>
              <a:rPr lang="en-US" altLang="en-US" dirty="0" smtClean="0"/>
              <a:t> and output the predicted value </a:t>
            </a:r>
            <a:r>
              <a:rPr lang="en-US" altLang="en-US" dirty="0" smtClean="0">
                <a:solidFill>
                  <a:srgbClr val="0000FF"/>
                </a:solidFill>
              </a:rPr>
              <a:t>y = </a:t>
            </a:r>
            <a:r>
              <a:rPr lang="en-US" altLang="en-US" i="1" dirty="0" smtClean="0">
                <a:solidFill>
                  <a:srgbClr val="0000FF"/>
                </a:solidFill>
              </a:rPr>
              <a:t>f</a:t>
            </a:r>
            <a:r>
              <a:rPr lang="en-US" altLang="en-US" dirty="0" smtClean="0">
                <a:solidFill>
                  <a:srgbClr val="0000FF"/>
                </a:solidFill>
              </a:rPr>
              <a:t>(</a:t>
            </a:r>
            <a:r>
              <a:rPr lang="en-US" altLang="en-US" b="1" dirty="0" smtClean="0">
                <a:solidFill>
                  <a:srgbClr val="0000FF"/>
                </a:solidFill>
              </a:rPr>
              <a:t>x</a:t>
            </a:r>
            <a:r>
              <a:rPr lang="en-US" altLang="en-US" dirty="0" smtClean="0">
                <a:solidFill>
                  <a:srgbClr val="0000FF"/>
                </a:solidFill>
              </a:rPr>
              <a:t>)</a:t>
            </a:r>
          </a:p>
        </p:txBody>
      </p:sp>
      <p:cxnSp>
        <p:nvCxnSpPr>
          <p:cNvPr id="5" name="Straight Arrow Connector 4"/>
          <p:cNvCxnSpPr/>
          <p:nvPr/>
        </p:nvCxnSpPr>
        <p:spPr>
          <a:xfrm rot="5400000" flipH="1" flipV="1">
            <a:off x="3240088" y="2933700"/>
            <a:ext cx="684212" cy="1588"/>
          </a:xfrm>
          <a:prstGeom prst="straightConnector1">
            <a:avLst/>
          </a:prstGeom>
          <a:ln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Arrow Connector 6"/>
          <p:cNvCxnSpPr/>
          <p:nvPr/>
        </p:nvCxnSpPr>
        <p:spPr>
          <a:xfrm rot="5400000" flipH="1" flipV="1">
            <a:off x="4381501" y="2933700"/>
            <a:ext cx="685800" cy="3175"/>
          </a:xfrm>
          <a:prstGeom prst="straightConnector1">
            <a:avLst/>
          </a:prstGeom>
          <a:ln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Arrow Connector 7"/>
          <p:cNvCxnSpPr/>
          <p:nvPr/>
        </p:nvCxnSpPr>
        <p:spPr>
          <a:xfrm rot="10800000">
            <a:off x="5334000" y="2590800"/>
            <a:ext cx="914400" cy="685800"/>
          </a:xfrm>
          <a:prstGeom prst="straightConnector1">
            <a:avLst/>
          </a:prstGeom>
          <a:ln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679" name="TextBox 8"/>
          <p:cNvSpPr txBox="1">
            <a:spLocks noChangeArrowheads="1"/>
          </p:cNvSpPr>
          <p:nvPr/>
        </p:nvSpPr>
        <p:spPr bwMode="auto">
          <a:xfrm>
            <a:off x="3213100" y="3276600"/>
            <a:ext cx="825500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buClr>
                <a:schemeClr val="bg2"/>
              </a:buClr>
              <a:buSzPct val="75000"/>
              <a:buFont typeface="Wingdings" panose="05000000000000000000" pitchFamily="2" charset="2"/>
              <a:buChar char="n"/>
              <a:defRPr sz="2400">
                <a:solidFill>
                  <a:schemeClr val="tx1"/>
                </a:solidFill>
                <a:latin typeface="Lucida Bright" panose="02040602050505020304" pitchFamily="18" charset="0"/>
              </a:defRPr>
            </a:lvl1pPr>
            <a:lvl2pPr marL="742950" indent="-285750">
              <a:spcBef>
                <a:spcPct val="20000"/>
              </a:spcBef>
              <a:buClr>
                <a:schemeClr val="accent2"/>
              </a:buClr>
              <a:buSzPct val="80000"/>
              <a:buFont typeface="Wingdings" panose="05000000000000000000" pitchFamily="2" charset="2"/>
              <a:buChar char="¨"/>
              <a:defRPr sz="2000">
                <a:solidFill>
                  <a:schemeClr val="tx1"/>
                </a:solidFill>
                <a:latin typeface="Lucida Bright" panose="02040602050505020304" pitchFamily="18" charset="0"/>
              </a:defRPr>
            </a:lvl2pPr>
            <a:lvl3pPr marL="1143000" indent="-228600">
              <a:spcBef>
                <a:spcPct val="20000"/>
              </a:spcBef>
              <a:buClr>
                <a:schemeClr val="bg2"/>
              </a:buClr>
              <a:buSzPct val="65000"/>
              <a:buFont typeface="Wingdings" panose="05000000000000000000" pitchFamily="2" charset="2"/>
              <a:buChar char="n"/>
              <a:defRPr sz="2400">
                <a:solidFill>
                  <a:schemeClr val="tx1"/>
                </a:solidFill>
                <a:latin typeface="Lucida Bright" panose="02040602050505020304" pitchFamily="18" charset="0"/>
              </a:defRPr>
            </a:lvl3pPr>
            <a:lvl4pPr marL="1600200" indent="-228600">
              <a:spcBef>
                <a:spcPct val="20000"/>
              </a:spcBef>
              <a:buClr>
                <a:schemeClr val="accent2"/>
              </a:buClr>
              <a:buSzPct val="70000"/>
              <a:buFont typeface="Wingdings" panose="05000000000000000000" pitchFamily="2" charset="2"/>
              <a:buChar char="¨"/>
              <a:defRPr sz="2000">
                <a:solidFill>
                  <a:schemeClr val="tx1"/>
                </a:solidFill>
                <a:latin typeface="Lucida Bright" panose="02040602050505020304" pitchFamily="18" charset="0"/>
              </a:defRPr>
            </a:lvl4pPr>
            <a:lvl5pPr marL="2057400" indent="-228600">
              <a:spcBef>
                <a:spcPct val="2000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Lucida Bright" panose="02040602050505020304" pitchFamily="18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Lucida Bright" panose="02040602050505020304" pitchFamily="18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Lucida Bright" panose="02040602050505020304" pitchFamily="18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Lucida Bright" panose="02040602050505020304" pitchFamily="18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Lucida Bright" panose="02040602050505020304" pitchFamily="18" charset="0"/>
              </a:defRPr>
            </a:lvl9pPr>
          </a:lstStyle>
          <a:p>
            <a:pPr eaLnBrk="1" hangingPunct="1">
              <a:spcBef>
                <a:spcPct val="0"/>
              </a:spcBef>
              <a:buClr>
                <a:schemeClr val="accent1"/>
              </a:buClr>
              <a:buSzPct val="65000"/>
              <a:buFontTx/>
              <a:buNone/>
            </a:pPr>
            <a:r>
              <a:rPr lang="en-US" altLang="en-US" sz="1800">
                <a:solidFill>
                  <a:srgbClr val="000000"/>
                </a:solidFill>
                <a:latin typeface="Arial" panose="020B0604020202020204" pitchFamily="34" charset="0"/>
              </a:rPr>
              <a:t>output</a:t>
            </a:r>
          </a:p>
        </p:txBody>
      </p:sp>
      <p:sp>
        <p:nvSpPr>
          <p:cNvPr id="28680" name="TextBox 9"/>
          <p:cNvSpPr txBox="1">
            <a:spLocks noChangeArrowheads="1"/>
          </p:cNvSpPr>
          <p:nvPr/>
        </p:nvSpPr>
        <p:spPr bwMode="auto">
          <a:xfrm>
            <a:off x="3822700" y="3276600"/>
            <a:ext cx="1892300" cy="646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Clr>
                <a:schemeClr val="bg2"/>
              </a:buClr>
              <a:buSzPct val="75000"/>
              <a:buFont typeface="Wingdings" panose="05000000000000000000" pitchFamily="2" charset="2"/>
              <a:buChar char="n"/>
              <a:defRPr sz="2400">
                <a:solidFill>
                  <a:schemeClr val="tx1"/>
                </a:solidFill>
                <a:latin typeface="Lucida Bright" panose="02040602050505020304" pitchFamily="18" charset="0"/>
              </a:defRPr>
            </a:lvl1pPr>
            <a:lvl2pPr marL="742950" indent="-285750">
              <a:spcBef>
                <a:spcPct val="20000"/>
              </a:spcBef>
              <a:buClr>
                <a:schemeClr val="accent2"/>
              </a:buClr>
              <a:buSzPct val="80000"/>
              <a:buFont typeface="Wingdings" panose="05000000000000000000" pitchFamily="2" charset="2"/>
              <a:buChar char="¨"/>
              <a:defRPr sz="2000">
                <a:solidFill>
                  <a:schemeClr val="tx1"/>
                </a:solidFill>
                <a:latin typeface="Lucida Bright" panose="02040602050505020304" pitchFamily="18" charset="0"/>
              </a:defRPr>
            </a:lvl2pPr>
            <a:lvl3pPr marL="1143000" indent="-228600">
              <a:spcBef>
                <a:spcPct val="20000"/>
              </a:spcBef>
              <a:buClr>
                <a:schemeClr val="bg2"/>
              </a:buClr>
              <a:buSzPct val="65000"/>
              <a:buFont typeface="Wingdings" panose="05000000000000000000" pitchFamily="2" charset="2"/>
              <a:buChar char="n"/>
              <a:defRPr sz="2400">
                <a:solidFill>
                  <a:schemeClr val="tx1"/>
                </a:solidFill>
                <a:latin typeface="Lucida Bright" panose="02040602050505020304" pitchFamily="18" charset="0"/>
              </a:defRPr>
            </a:lvl3pPr>
            <a:lvl4pPr marL="1600200" indent="-228600">
              <a:spcBef>
                <a:spcPct val="20000"/>
              </a:spcBef>
              <a:buClr>
                <a:schemeClr val="accent2"/>
              </a:buClr>
              <a:buSzPct val="70000"/>
              <a:buFont typeface="Wingdings" panose="05000000000000000000" pitchFamily="2" charset="2"/>
              <a:buChar char="¨"/>
              <a:defRPr sz="2000">
                <a:solidFill>
                  <a:schemeClr val="tx1"/>
                </a:solidFill>
                <a:latin typeface="Lucida Bright" panose="02040602050505020304" pitchFamily="18" charset="0"/>
              </a:defRPr>
            </a:lvl4pPr>
            <a:lvl5pPr marL="2057400" indent="-228600">
              <a:spcBef>
                <a:spcPct val="2000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Lucida Bright" panose="02040602050505020304" pitchFamily="18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Lucida Bright" panose="02040602050505020304" pitchFamily="18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Lucida Bright" panose="02040602050505020304" pitchFamily="18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Lucida Bright" panose="02040602050505020304" pitchFamily="18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Lucida Bright" panose="02040602050505020304" pitchFamily="18" charset="0"/>
              </a:defRPr>
            </a:lvl9pPr>
          </a:lstStyle>
          <a:p>
            <a:pPr algn="ctr" eaLnBrk="1" hangingPunct="1">
              <a:spcBef>
                <a:spcPct val="0"/>
              </a:spcBef>
              <a:buClr>
                <a:schemeClr val="accent1"/>
              </a:buClr>
              <a:buSzPct val="65000"/>
              <a:buFontTx/>
              <a:buNone/>
            </a:pPr>
            <a:r>
              <a:rPr lang="en-US" altLang="en-US" sz="1800">
                <a:solidFill>
                  <a:srgbClr val="000000"/>
                </a:solidFill>
                <a:latin typeface="Arial" panose="020B0604020202020204" pitchFamily="34" charset="0"/>
              </a:rPr>
              <a:t>prediction function</a:t>
            </a:r>
          </a:p>
        </p:txBody>
      </p:sp>
      <p:sp>
        <p:nvSpPr>
          <p:cNvPr id="28681" name="TextBox 10"/>
          <p:cNvSpPr txBox="1">
            <a:spLocks noChangeArrowheads="1"/>
          </p:cNvSpPr>
          <p:nvPr/>
        </p:nvSpPr>
        <p:spPr bwMode="auto">
          <a:xfrm>
            <a:off x="5499100" y="3276600"/>
            <a:ext cx="1511300" cy="646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Clr>
                <a:schemeClr val="bg2"/>
              </a:buClr>
              <a:buSzPct val="75000"/>
              <a:buFont typeface="Wingdings" panose="05000000000000000000" pitchFamily="2" charset="2"/>
              <a:buChar char="n"/>
              <a:defRPr sz="2400">
                <a:solidFill>
                  <a:schemeClr val="tx1"/>
                </a:solidFill>
                <a:latin typeface="Lucida Bright" panose="02040602050505020304" pitchFamily="18" charset="0"/>
              </a:defRPr>
            </a:lvl1pPr>
            <a:lvl2pPr marL="742950" indent="-285750">
              <a:spcBef>
                <a:spcPct val="20000"/>
              </a:spcBef>
              <a:buClr>
                <a:schemeClr val="accent2"/>
              </a:buClr>
              <a:buSzPct val="80000"/>
              <a:buFont typeface="Wingdings" panose="05000000000000000000" pitchFamily="2" charset="2"/>
              <a:buChar char="¨"/>
              <a:defRPr sz="2000">
                <a:solidFill>
                  <a:schemeClr val="tx1"/>
                </a:solidFill>
                <a:latin typeface="Lucida Bright" panose="02040602050505020304" pitchFamily="18" charset="0"/>
              </a:defRPr>
            </a:lvl2pPr>
            <a:lvl3pPr marL="1143000" indent="-228600">
              <a:spcBef>
                <a:spcPct val="20000"/>
              </a:spcBef>
              <a:buClr>
                <a:schemeClr val="bg2"/>
              </a:buClr>
              <a:buSzPct val="65000"/>
              <a:buFont typeface="Wingdings" panose="05000000000000000000" pitchFamily="2" charset="2"/>
              <a:buChar char="n"/>
              <a:defRPr sz="2400">
                <a:solidFill>
                  <a:schemeClr val="tx1"/>
                </a:solidFill>
                <a:latin typeface="Lucida Bright" panose="02040602050505020304" pitchFamily="18" charset="0"/>
              </a:defRPr>
            </a:lvl3pPr>
            <a:lvl4pPr marL="1600200" indent="-228600">
              <a:spcBef>
                <a:spcPct val="20000"/>
              </a:spcBef>
              <a:buClr>
                <a:schemeClr val="accent2"/>
              </a:buClr>
              <a:buSzPct val="70000"/>
              <a:buFont typeface="Wingdings" panose="05000000000000000000" pitchFamily="2" charset="2"/>
              <a:buChar char="¨"/>
              <a:defRPr sz="2000">
                <a:solidFill>
                  <a:schemeClr val="tx1"/>
                </a:solidFill>
                <a:latin typeface="Lucida Bright" panose="02040602050505020304" pitchFamily="18" charset="0"/>
              </a:defRPr>
            </a:lvl4pPr>
            <a:lvl5pPr marL="2057400" indent="-228600">
              <a:spcBef>
                <a:spcPct val="2000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Lucida Bright" panose="02040602050505020304" pitchFamily="18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Lucida Bright" panose="02040602050505020304" pitchFamily="18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Lucida Bright" panose="02040602050505020304" pitchFamily="18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Lucida Bright" panose="02040602050505020304" pitchFamily="18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Lucida Bright" panose="02040602050505020304" pitchFamily="18" charset="0"/>
              </a:defRPr>
            </a:lvl9pPr>
          </a:lstStyle>
          <a:p>
            <a:pPr algn="ctr" eaLnBrk="1" hangingPunct="1">
              <a:spcBef>
                <a:spcPct val="0"/>
              </a:spcBef>
              <a:buClr>
                <a:schemeClr val="accent1"/>
              </a:buClr>
              <a:buSzPct val="65000"/>
              <a:buFontTx/>
              <a:buNone/>
            </a:pPr>
            <a:r>
              <a:rPr lang="en-US" altLang="en-US" sz="1800">
                <a:solidFill>
                  <a:srgbClr val="000000"/>
                </a:solidFill>
                <a:latin typeface="Arial" panose="020B0604020202020204" pitchFamily="34" charset="0"/>
              </a:rPr>
              <a:t>Image feature</a:t>
            </a:r>
          </a:p>
        </p:txBody>
      </p:sp>
      <p:sp>
        <p:nvSpPr>
          <p:cNvPr id="28682" name="TextBox 11"/>
          <p:cNvSpPr txBox="1">
            <a:spLocks noChangeArrowheads="1"/>
          </p:cNvSpPr>
          <p:nvPr/>
        </p:nvSpPr>
        <p:spPr bwMode="auto">
          <a:xfrm>
            <a:off x="7315200" y="6581775"/>
            <a:ext cx="1812925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buClr>
                <a:schemeClr val="accent1"/>
              </a:buClr>
              <a:buSzPct val="65000"/>
              <a:buFont typeface="Wingdings" panose="05000000000000000000" pitchFamily="2" charset="2"/>
              <a:buChar char="n"/>
              <a:defRPr sz="30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lr>
                <a:schemeClr val="accent1"/>
              </a:buClr>
              <a:buSzPct val="65000"/>
              <a:buFont typeface="Wingdings" panose="05000000000000000000" pitchFamily="2" charset="2"/>
              <a:buChar char="n"/>
              <a:defRPr sz="30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lr>
                <a:schemeClr val="accent1"/>
              </a:buClr>
              <a:buSzPct val="65000"/>
              <a:buFont typeface="Wingdings" panose="05000000000000000000" pitchFamily="2" charset="2"/>
              <a:buChar char="n"/>
              <a:defRPr sz="30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lr>
                <a:schemeClr val="accent1"/>
              </a:buClr>
              <a:buSzPct val="65000"/>
              <a:buFont typeface="Wingdings" panose="05000000000000000000" pitchFamily="2" charset="2"/>
              <a:buChar char="n"/>
              <a:defRPr sz="3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chemeClr val="accent1"/>
              </a:buClr>
              <a:buSzPct val="65000"/>
              <a:buFont typeface="Wingdings" panose="05000000000000000000" pitchFamily="2" charset="2"/>
              <a:buChar char="n"/>
              <a:defRPr sz="3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5000"/>
              <a:buFont typeface="Wingdings" panose="05000000000000000000" pitchFamily="2" charset="2"/>
              <a:buChar char="n"/>
              <a:defRPr sz="3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5000"/>
              <a:buFont typeface="Wingdings" panose="05000000000000000000" pitchFamily="2" charset="2"/>
              <a:buChar char="n"/>
              <a:defRPr sz="3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5000"/>
              <a:buFont typeface="Wingdings" panose="05000000000000000000" pitchFamily="2" charset="2"/>
              <a:buChar char="n"/>
              <a:defRPr sz="3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5000"/>
              <a:buFont typeface="Wingdings" panose="05000000000000000000" pitchFamily="2" charset="2"/>
              <a:buChar char="n"/>
              <a:defRPr sz="3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 sz="1200">
                <a:solidFill>
                  <a:srgbClr val="A6A6A6"/>
                </a:solidFill>
              </a:rPr>
              <a:t>Slide credit: L. Lazebnik</a:t>
            </a: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 nodeType="clickPar">
                      <p:stCondLst>
                        <p:cond delay="indefinite"/>
                      </p:stCondLst>
                      <p:childTnLst>
                        <p:par>
                          <p:cTn id="8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 nodeType="clickPar">
                      <p:stCondLst>
                        <p:cond delay="indefinite"/>
                      </p:stCondLst>
                      <p:childTnLst>
                        <p:par>
                          <p:cTn id="12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154" name="Rectangle 4"/>
          <p:cNvSpPr>
            <a:spLocks noChangeArrowheads="1"/>
          </p:cNvSpPr>
          <p:nvPr/>
        </p:nvSpPr>
        <p:spPr bwMode="auto">
          <a:xfrm>
            <a:off x="30361" y="81685"/>
            <a:ext cx="8888697" cy="685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/>
          <a:lstStyle>
            <a:lvl1pPr>
              <a:spcBef>
                <a:spcPct val="20000"/>
              </a:spcBef>
              <a:buClr>
                <a:schemeClr val="accent1"/>
              </a:buClr>
              <a:buSzPct val="65000"/>
              <a:buFont typeface="Wingdings" panose="05000000000000000000" pitchFamily="2" charset="2"/>
              <a:buChar char="n"/>
              <a:defRPr sz="30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1pPr>
            <a:lvl2pPr marL="742950" indent="-285750">
              <a:spcBef>
                <a:spcPct val="20000"/>
              </a:spcBef>
              <a:buClr>
                <a:schemeClr val="accent2"/>
              </a:buClr>
              <a:buSzPct val="60000"/>
              <a:buFont typeface="Wingdings" panose="05000000000000000000" pitchFamily="2" charset="2"/>
              <a:buChar char="q"/>
              <a:defRPr sz="26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2pPr>
            <a:lvl3pPr marL="1143000" indent="-228600">
              <a:spcBef>
                <a:spcPct val="20000"/>
              </a:spcBef>
              <a:buClr>
                <a:schemeClr val="accent1"/>
              </a:buClr>
              <a:buSzPct val="65000"/>
              <a:buFont typeface="Wingdings" panose="05000000000000000000" pitchFamily="2" charset="2"/>
              <a:buChar char="n"/>
              <a:defRPr sz="22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3pPr>
            <a:lvl4pPr marL="1600200" indent="-228600">
              <a:spcBef>
                <a:spcPct val="20000"/>
              </a:spcBef>
              <a:buClr>
                <a:schemeClr val="accent2"/>
              </a:buClr>
              <a:buSzPct val="70000"/>
              <a:buFont typeface="Wingdings" panose="05000000000000000000" pitchFamily="2" charset="2"/>
              <a:buChar char="q"/>
              <a:defRPr sz="20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4pPr>
            <a:lvl5pPr marL="2057400" indent="-228600">
              <a:spcBef>
                <a:spcPct val="20000"/>
              </a:spcBef>
              <a:buClr>
                <a:schemeClr val="accent1"/>
              </a:buClr>
              <a:buSzPct val="75000"/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75000"/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75000"/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75000"/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75000"/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9pPr>
          </a:lstStyle>
          <a:p>
            <a:pPr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en-US" altLang="zh-CN" sz="4200" dirty="0" smtClean="0">
                <a:solidFill>
                  <a:srgbClr val="006633"/>
                </a:solidFill>
                <a:latin typeface="Garamond" panose="02020404030301010803" pitchFamily="18" charset="0"/>
              </a:rPr>
              <a:t> Linear Classifiers: The Simple Models!</a:t>
            </a:r>
          </a:p>
        </p:txBody>
      </p:sp>
      <p:grpSp>
        <p:nvGrpSpPr>
          <p:cNvPr id="3" name="Group 2"/>
          <p:cNvGrpSpPr/>
          <p:nvPr/>
        </p:nvGrpSpPr>
        <p:grpSpPr>
          <a:xfrm>
            <a:off x="3280258" y="924379"/>
            <a:ext cx="5638800" cy="1430338"/>
            <a:chOff x="3505200" y="0"/>
            <a:chExt cx="5638800" cy="1430338"/>
          </a:xfrm>
        </p:grpSpPr>
        <p:sp>
          <p:nvSpPr>
            <p:cNvPr id="237573" name="Rectangle 5"/>
            <p:cNvSpPr>
              <a:spLocks noChangeArrowheads="1"/>
            </p:cNvSpPr>
            <p:nvPr/>
          </p:nvSpPr>
          <p:spPr bwMode="auto">
            <a:xfrm>
              <a:off x="5334000" y="776288"/>
              <a:ext cx="1600200" cy="654050"/>
            </a:xfrm>
            <a:prstGeom prst="rect">
              <a:avLst/>
            </a:prstGeom>
            <a:solidFill>
              <a:srgbClr val="FFCCFF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anchor="ctr">
              <a:spAutoFit/>
            </a:bodyPr>
            <a:lstStyle>
              <a:lvl1pPr>
                <a:spcBef>
                  <a:spcPct val="20000"/>
                </a:spcBef>
                <a:buClr>
                  <a:schemeClr val="accent1"/>
                </a:buClr>
                <a:buSzPct val="65000"/>
                <a:buFont typeface="Wingdings" panose="05000000000000000000" pitchFamily="2" charset="2"/>
                <a:buChar char="n"/>
                <a:defRPr sz="3000">
                  <a:solidFill>
                    <a:schemeClr val="tx1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Clr>
                  <a:schemeClr val="accent2"/>
                </a:buClr>
                <a:buSzPct val="60000"/>
                <a:buFont typeface="Wingdings" panose="05000000000000000000" pitchFamily="2" charset="2"/>
                <a:buChar char="q"/>
                <a:defRPr sz="2600">
                  <a:solidFill>
                    <a:schemeClr val="tx1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Clr>
                  <a:schemeClr val="accent1"/>
                </a:buClr>
                <a:buSzPct val="65000"/>
                <a:buFont typeface="Wingdings" panose="05000000000000000000" pitchFamily="2" charset="2"/>
                <a:buChar char="n"/>
                <a:defRPr sz="2200">
                  <a:solidFill>
                    <a:schemeClr val="tx1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Clr>
                  <a:schemeClr val="accent2"/>
                </a:buClr>
                <a:buSzPct val="70000"/>
                <a:buFont typeface="Wingdings" panose="05000000000000000000" pitchFamily="2" charset="2"/>
                <a:buChar char="q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Clr>
                  <a:schemeClr val="accent1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accent1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accent1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accent1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accent1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9pPr>
            </a:lstStyle>
            <a:p>
              <a:pPr algn="ctr" eaLnBrk="1" hangingPunct="1">
                <a:spcBef>
                  <a:spcPct val="50000"/>
                </a:spcBef>
                <a:buClr>
                  <a:srgbClr val="000000"/>
                </a:buClr>
                <a:buSzTx/>
                <a:buFontTx/>
                <a:buNone/>
              </a:pPr>
              <a:r>
                <a:rPr lang="en-US" altLang="zh-CN" sz="3600" i="1" smtClean="0">
                  <a:solidFill>
                    <a:srgbClr val="000000"/>
                  </a:solidFill>
                  <a:latin typeface="Tahoma" panose="020B0604030504040204" pitchFamily="34" charset="0"/>
                </a:rPr>
                <a:t>f </a:t>
              </a:r>
              <a:r>
                <a:rPr lang="en-US" altLang="zh-CN" sz="2000" smtClean="0">
                  <a:solidFill>
                    <a:srgbClr val="000000"/>
                  </a:solidFill>
                  <a:latin typeface="Tahoma" panose="020B0604030504040204" pitchFamily="34" charset="0"/>
                </a:rPr>
                <a:t>        </a:t>
              </a:r>
            </a:p>
          </p:txBody>
        </p:sp>
        <p:sp>
          <p:nvSpPr>
            <p:cNvPr id="237574" name="Line 6"/>
            <p:cNvSpPr>
              <a:spLocks noChangeShapeType="1"/>
            </p:cNvSpPr>
            <p:nvPr/>
          </p:nvSpPr>
          <p:spPr bwMode="auto">
            <a:xfrm>
              <a:off x="3962400" y="1066800"/>
              <a:ext cx="1371600" cy="0"/>
            </a:xfrm>
            <a:prstGeom prst="line">
              <a:avLst/>
            </a:prstGeom>
            <a:noFill/>
            <a:ln w="12700">
              <a:solidFill>
                <a:schemeClr val="tx1"/>
              </a:solidFill>
              <a:round/>
              <a:headEnd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>
              <a:spAutoFit/>
            </a:bodyPr>
            <a:lstStyle/>
            <a:p>
              <a:endParaRPr lang="en-US" sz="1800" smtClean="0">
                <a:solidFill>
                  <a:srgbClr val="000000"/>
                </a:solidFill>
              </a:endParaRPr>
            </a:p>
          </p:txBody>
        </p:sp>
        <p:sp>
          <p:nvSpPr>
            <p:cNvPr id="237575" name="Text Box 7"/>
            <p:cNvSpPr txBox="1">
              <a:spLocks noChangeArrowheads="1"/>
            </p:cNvSpPr>
            <p:nvPr/>
          </p:nvSpPr>
          <p:spPr bwMode="auto">
            <a:xfrm>
              <a:off x="3505200" y="762000"/>
              <a:ext cx="609600" cy="51911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spcBef>
                  <a:spcPct val="20000"/>
                </a:spcBef>
                <a:buClr>
                  <a:schemeClr val="accent1"/>
                </a:buClr>
                <a:buSzPct val="65000"/>
                <a:buFont typeface="Wingdings" panose="05000000000000000000" pitchFamily="2" charset="2"/>
                <a:buChar char="n"/>
                <a:defRPr sz="3000">
                  <a:solidFill>
                    <a:schemeClr val="tx1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Clr>
                  <a:schemeClr val="accent2"/>
                </a:buClr>
                <a:buSzPct val="60000"/>
                <a:buFont typeface="Wingdings" panose="05000000000000000000" pitchFamily="2" charset="2"/>
                <a:buChar char="q"/>
                <a:defRPr sz="2600">
                  <a:solidFill>
                    <a:schemeClr val="tx1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Clr>
                  <a:schemeClr val="accent1"/>
                </a:buClr>
                <a:buSzPct val="65000"/>
                <a:buFont typeface="Wingdings" panose="05000000000000000000" pitchFamily="2" charset="2"/>
                <a:buChar char="n"/>
                <a:defRPr sz="2200">
                  <a:solidFill>
                    <a:schemeClr val="tx1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Clr>
                  <a:schemeClr val="accent2"/>
                </a:buClr>
                <a:buSzPct val="70000"/>
                <a:buFont typeface="Wingdings" panose="05000000000000000000" pitchFamily="2" charset="2"/>
                <a:buChar char="q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Clr>
                  <a:schemeClr val="accent1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accent1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accent1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accent1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accent1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9pPr>
            </a:lstStyle>
            <a:p>
              <a:pPr algn="ctr" eaLnBrk="1" hangingPunct="1">
                <a:spcBef>
                  <a:spcPct val="50000"/>
                </a:spcBef>
                <a:buClr>
                  <a:srgbClr val="000000"/>
                </a:buClr>
                <a:buSzTx/>
                <a:buFontTx/>
                <a:buNone/>
              </a:pPr>
              <a:r>
                <a:rPr lang="en-US" altLang="zh-CN" sz="2800" b="1" i="1" smtClean="0">
                  <a:solidFill>
                    <a:srgbClr val="000000"/>
                  </a:solidFill>
                  <a:latin typeface="Tahoma" panose="020B0604030504040204" pitchFamily="34" charset="0"/>
                </a:rPr>
                <a:t>x</a:t>
              </a:r>
            </a:p>
          </p:txBody>
        </p:sp>
        <p:sp>
          <p:nvSpPr>
            <p:cNvPr id="237576" name="Line 8"/>
            <p:cNvSpPr>
              <a:spLocks noChangeShapeType="1"/>
            </p:cNvSpPr>
            <p:nvPr/>
          </p:nvSpPr>
          <p:spPr bwMode="auto">
            <a:xfrm>
              <a:off x="6019800" y="381000"/>
              <a:ext cx="0" cy="381000"/>
            </a:xfrm>
            <a:prstGeom prst="line">
              <a:avLst/>
            </a:prstGeom>
            <a:noFill/>
            <a:ln w="12700">
              <a:solidFill>
                <a:schemeClr val="tx1"/>
              </a:solidFill>
              <a:round/>
              <a:headEnd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>
              <a:spAutoFit/>
            </a:bodyPr>
            <a:lstStyle/>
            <a:p>
              <a:endParaRPr lang="en-US" sz="1800" smtClean="0">
                <a:solidFill>
                  <a:srgbClr val="000000"/>
                </a:solidFill>
              </a:endParaRPr>
            </a:p>
          </p:txBody>
        </p:sp>
        <p:sp>
          <p:nvSpPr>
            <p:cNvPr id="237577" name="Text Box 9"/>
            <p:cNvSpPr txBox="1">
              <a:spLocks noChangeArrowheads="1"/>
            </p:cNvSpPr>
            <p:nvPr/>
          </p:nvSpPr>
          <p:spPr bwMode="auto">
            <a:xfrm>
              <a:off x="5791200" y="0"/>
              <a:ext cx="381000" cy="5794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spcBef>
                  <a:spcPct val="20000"/>
                </a:spcBef>
                <a:buClr>
                  <a:schemeClr val="accent1"/>
                </a:buClr>
                <a:buSzPct val="65000"/>
                <a:buFont typeface="Wingdings" panose="05000000000000000000" pitchFamily="2" charset="2"/>
                <a:buChar char="n"/>
                <a:defRPr sz="3000">
                  <a:solidFill>
                    <a:schemeClr val="tx1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Clr>
                  <a:schemeClr val="accent2"/>
                </a:buClr>
                <a:buSzPct val="60000"/>
                <a:buFont typeface="Wingdings" panose="05000000000000000000" pitchFamily="2" charset="2"/>
                <a:buChar char="q"/>
                <a:defRPr sz="2600">
                  <a:solidFill>
                    <a:schemeClr val="tx1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Clr>
                  <a:schemeClr val="accent1"/>
                </a:buClr>
                <a:buSzPct val="65000"/>
                <a:buFont typeface="Wingdings" panose="05000000000000000000" pitchFamily="2" charset="2"/>
                <a:buChar char="n"/>
                <a:defRPr sz="2200">
                  <a:solidFill>
                    <a:schemeClr val="tx1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Clr>
                  <a:schemeClr val="accent2"/>
                </a:buClr>
                <a:buSzPct val="70000"/>
                <a:buFont typeface="Wingdings" panose="05000000000000000000" pitchFamily="2" charset="2"/>
                <a:buChar char="q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Clr>
                  <a:schemeClr val="accent1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accent1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accent1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accent1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accent1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9pPr>
            </a:lstStyle>
            <a:p>
              <a:pPr algn="ctr" eaLnBrk="1" hangingPunct="1">
                <a:spcBef>
                  <a:spcPct val="50000"/>
                </a:spcBef>
                <a:buClr>
                  <a:srgbClr val="000000"/>
                </a:buClr>
                <a:buSzTx/>
                <a:buFontTx/>
                <a:buNone/>
              </a:pPr>
              <a:r>
                <a:rPr lang="en-US" altLang="zh-CN" sz="3200" smtClean="0">
                  <a:solidFill>
                    <a:srgbClr val="00CC00"/>
                  </a:solidFill>
                  <a:latin typeface="Symbol" panose="05050102010706020507" pitchFamily="18" charset="2"/>
                </a:rPr>
                <a:t>a</a:t>
              </a:r>
            </a:p>
          </p:txBody>
        </p:sp>
        <p:sp>
          <p:nvSpPr>
            <p:cNvPr id="237578" name="Line 10"/>
            <p:cNvSpPr>
              <a:spLocks noChangeShapeType="1"/>
            </p:cNvSpPr>
            <p:nvPr/>
          </p:nvSpPr>
          <p:spPr bwMode="auto">
            <a:xfrm>
              <a:off x="6934200" y="1066800"/>
              <a:ext cx="1371600" cy="0"/>
            </a:xfrm>
            <a:prstGeom prst="line">
              <a:avLst/>
            </a:prstGeom>
            <a:noFill/>
            <a:ln w="12700">
              <a:solidFill>
                <a:schemeClr val="tx1"/>
              </a:solidFill>
              <a:round/>
              <a:headEnd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>
              <a:spAutoFit/>
            </a:bodyPr>
            <a:lstStyle/>
            <a:p>
              <a:endParaRPr lang="en-US" sz="1800" smtClean="0">
                <a:solidFill>
                  <a:srgbClr val="000000"/>
                </a:solidFill>
              </a:endParaRPr>
            </a:p>
          </p:txBody>
        </p:sp>
        <p:sp>
          <p:nvSpPr>
            <p:cNvPr id="237579" name="Text Box 11"/>
            <p:cNvSpPr txBox="1">
              <a:spLocks noChangeArrowheads="1"/>
            </p:cNvSpPr>
            <p:nvPr/>
          </p:nvSpPr>
          <p:spPr bwMode="auto">
            <a:xfrm>
              <a:off x="8305800" y="838200"/>
              <a:ext cx="838200" cy="5794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spcBef>
                  <a:spcPct val="20000"/>
                </a:spcBef>
                <a:buClr>
                  <a:schemeClr val="accent1"/>
                </a:buClr>
                <a:buSzPct val="65000"/>
                <a:buFont typeface="Wingdings" panose="05000000000000000000" pitchFamily="2" charset="2"/>
                <a:buChar char="n"/>
                <a:defRPr sz="3000">
                  <a:solidFill>
                    <a:schemeClr val="tx1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Clr>
                  <a:schemeClr val="accent2"/>
                </a:buClr>
                <a:buSzPct val="60000"/>
                <a:buFont typeface="Wingdings" panose="05000000000000000000" pitchFamily="2" charset="2"/>
                <a:buChar char="q"/>
                <a:defRPr sz="2600">
                  <a:solidFill>
                    <a:schemeClr val="tx1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Clr>
                  <a:schemeClr val="accent1"/>
                </a:buClr>
                <a:buSzPct val="65000"/>
                <a:buFont typeface="Wingdings" panose="05000000000000000000" pitchFamily="2" charset="2"/>
                <a:buChar char="n"/>
                <a:defRPr sz="2200">
                  <a:solidFill>
                    <a:schemeClr val="tx1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Clr>
                  <a:schemeClr val="accent2"/>
                </a:buClr>
                <a:buSzPct val="70000"/>
                <a:buFont typeface="Wingdings" panose="05000000000000000000" pitchFamily="2" charset="2"/>
                <a:buChar char="q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Clr>
                  <a:schemeClr val="accent1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accent1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accent1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accent1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accent1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9pPr>
            </a:lstStyle>
            <a:p>
              <a:pPr eaLnBrk="1" hangingPunct="1">
                <a:buClr>
                  <a:srgbClr val="000000"/>
                </a:buClr>
                <a:buSzTx/>
                <a:buFontTx/>
                <a:buNone/>
              </a:pPr>
              <a:r>
                <a:rPr lang="en-US" altLang="zh-CN" sz="3200" smtClean="0">
                  <a:solidFill>
                    <a:srgbClr val="000000"/>
                  </a:solidFill>
                  <a:latin typeface="Tahoma" panose="020B0604030504040204" pitchFamily="34" charset="0"/>
                </a:rPr>
                <a:t>y</a:t>
              </a:r>
              <a:r>
                <a:rPr lang="en-US" altLang="zh-CN" sz="3200" baseline="30000" smtClean="0">
                  <a:solidFill>
                    <a:srgbClr val="000000"/>
                  </a:solidFill>
                  <a:latin typeface="Tahoma" panose="020B0604030504040204" pitchFamily="34" charset="0"/>
                </a:rPr>
                <a:t>est</a:t>
              </a:r>
            </a:p>
          </p:txBody>
        </p:sp>
      </p:grpSp>
      <p:grpSp>
        <p:nvGrpSpPr>
          <p:cNvPr id="2" name="Group 1"/>
          <p:cNvGrpSpPr/>
          <p:nvPr/>
        </p:nvGrpSpPr>
        <p:grpSpPr>
          <a:xfrm>
            <a:off x="409872" y="2672916"/>
            <a:ext cx="8305800" cy="4038600"/>
            <a:chOff x="381000" y="1676400"/>
            <a:chExt cx="8305800" cy="4038600"/>
          </a:xfrm>
        </p:grpSpPr>
        <p:sp>
          <p:nvSpPr>
            <p:cNvPr id="49162" name="Text Box 12"/>
            <p:cNvSpPr txBox="1">
              <a:spLocks noChangeArrowheads="1"/>
            </p:cNvSpPr>
            <p:nvPr/>
          </p:nvSpPr>
          <p:spPr bwMode="auto">
            <a:xfrm>
              <a:off x="381000" y="1828800"/>
              <a:ext cx="1905000" cy="8540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spcBef>
                  <a:spcPct val="20000"/>
                </a:spcBef>
                <a:buClr>
                  <a:schemeClr val="accent1"/>
                </a:buClr>
                <a:buSzPct val="65000"/>
                <a:buFont typeface="Wingdings" panose="05000000000000000000" pitchFamily="2" charset="2"/>
                <a:buChar char="n"/>
                <a:defRPr sz="3000">
                  <a:solidFill>
                    <a:schemeClr val="tx1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Clr>
                  <a:schemeClr val="accent2"/>
                </a:buClr>
                <a:buSzPct val="60000"/>
                <a:buFont typeface="Wingdings" panose="05000000000000000000" pitchFamily="2" charset="2"/>
                <a:buChar char="q"/>
                <a:defRPr sz="2600">
                  <a:solidFill>
                    <a:schemeClr val="tx1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Clr>
                  <a:schemeClr val="accent1"/>
                </a:buClr>
                <a:buSzPct val="65000"/>
                <a:buFont typeface="Wingdings" panose="05000000000000000000" pitchFamily="2" charset="2"/>
                <a:buChar char="n"/>
                <a:defRPr sz="2200">
                  <a:solidFill>
                    <a:schemeClr val="tx1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Clr>
                  <a:schemeClr val="accent2"/>
                </a:buClr>
                <a:buSzPct val="70000"/>
                <a:buFont typeface="Wingdings" panose="05000000000000000000" pitchFamily="2" charset="2"/>
                <a:buChar char="q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Clr>
                  <a:schemeClr val="accent1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accent1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accent1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accent1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accent1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9pPr>
            </a:lstStyle>
            <a:p>
              <a:pPr algn="ctr" eaLnBrk="1" hangingPunct="1">
                <a:spcBef>
                  <a:spcPct val="50000"/>
                </a:spcBef>
                <a:buClr>
                  <a:srgbClr val="000000"/>
                </a:buClr>
                <a:buSzTx/>
                <a:buFontTx/>
                <a:buNone/>
              </a:pPr>
              <a:r>
                <a:rPr lang="en-US" altLang="zh-CN" sz="2000" smtClean="0">
                  <a:solidFill>
                    <a:srgbClr val="000000"/>
                  </a:solidFill>
                  <a:latin typeface="Tahoma" panose="020B0604030504040204" pitchFamily="34" charset="0"/>
                </a:rPr>
                <a:t>denotes +1</a:t>
              </a:r>
            </a:p>
            <a:p>
              <a:pPr algn="ctr" eaLnBrk="1" hangingPunct="1">
                <a:spcBef>
                  <a:spcPct val="50000"/>
                </a:spcBef>
                <a:buClr>
                  <a:srgbClr val="000000"/>
                </a:buClr>
                <a:buSzTx/>
                <a:buFontTx/>
                <a:buNone/>
              </a:pPr>
              <a:r>
                <a:rPr lang="en-US" altLang="zh-CN" sz="2000" smtClean="0">
                  <a:solidFill>
                    <a:srgbClr val="000000"/>
                  </a:solidFill>
                  <a:latin typeface="Tahoma" panose="020B0604030504040204" pitchFamily="34" charset="0"/>
                </a:rPr>
                <a:t>denotes -1</a:t>
              </a:r>
            </a:p>
          </p:txBody>
        </p:sp>
        <p:sp>
          <p:nvSpPr>
            <p:cNvPr id="49163" name="Oval 13"/>
            <p:cNvSpPr>
              <a:spLocks noChangeAspect="1" noChangeArrowheads="1"/>
            </p:cNvSpPr>
            <p:nvPr/>
          </p:nvSpPr>
          <p:spPr bwMode="auto">
            <a:xfrm rot="4777107">
              <a:off x="381794" y="1980406"/>
              <a:ext cx="58738" cy="60325"/>
            </a:xfrm>
            <a:prstGeom prst="ellipse">
              <a:avLst/>
            </a:prstGeom>
            <a:solidFill>
              <a:schemeClr val="tx2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>
              <a:lvl1pPr>
                <a:spcBef>
                  <a:spcPct val="20000"/>
                </a:spcBef>
                <a:buClr>
                  <a:schemeClr val="accent1"/>
                </a:buClr>
                <a:buSzPct val="65000"/>
                <a:buFont typeface="Wingdings" panose="05000000000000000000" pitchFamily="2" charset="2"/>
                <a:buChar char="n"/>
                <a:defRPr sz="3000">
                  <a:solidFill>
                    <a:schemeClr val="tx1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Clr>
                  <a:schemeClr val="accent2"/>
                </a:buClr>
                <a:buSzPct val="60000"/>
                <a:buFont typeface="Wingdings" panose="05000000000000000000" pitchFamily="2" charset="2"/>
                <a:buChar char="q"/>
                <a:defRPr sz="2600">
                  <a:solidFill>
                    <a:schemeClr val="tx1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Clr>
                  <a:schemeClr val="accent1"/>
                </a:buClr>
                <a:buSzPct val="65000"/>
                <a:buFont typeface="Wingdings" panose="05000000000000000000" pitchFamily="2" charset="2"/>
                <a:buChar char="n"/>
                <a:defRPr sz="2200">
                  <a:solidFill>
                    <a:schemeClr val="tx1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Clr>
                  <a:schemeClr val="accent2"/>
                </a:buClr>
                <a:buSzPct val="70000"/>
                <a:buFont typeface="Wingdings" panose="05000000000000000000" pitchFamily="2" charset="2"/>
                <a:buChar char="q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Clr>
                  <a:schemeClr val="accent1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accent1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accent1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accent1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accent1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9pPr>
            </a:lstStyle>
            <a:p>
              <a:pPr algn="ctr" eaLnBrk="1" hangingPunct="1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en-US" sz="1800" smtClean="0">
                <a:solidFill>
                  <a:srgbClr val="000000"/>
                </a:solidFill>
              </a:endParaRPr>
            </a:p>
          </p:txBody>
        </p:sp>
        <p:sp>
          <p:nvSpPr>
            <p:cNvPr id="49164" name="Oval 14"/>
            <p:cNvSpPr>
              <a:spLocks noChangeAspect="1" noChangeArrowheads="1"/>
            </p:cNvSpPr>
            <p:nvPr/>
          </p:nvSpPr>
          <p:spPr bwMode="auto">
            <a:xfrm rot="5895381">
              <a:off x="382588" y="2436812"/>
              <a:ext cx="50800" cy="53975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>
              <a:lvl1pPr>
                <a:spcBef>
                  <a:spcPct val="20000"/>
                </a:spcBef>
                <a:buClr>
                  <a:schemeClr val="accent1"/>
                </a:buClr>
                <a:buSzPct val="65000"/>
                <a:buFont typeface="Wingdings" panose="05000000000000000000" pitchFamily="2" charset="2"/>
                <a:buChar char="n"/>
                <a:defRPr sz="3000">
                  <a:solidFill>
                    <a:schemeClr val="tx1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Clr>
                  <a:schemeClr val="accent2"/>
                </a:buClr>
                <a:buSzPct val="60000"/>
                <a:buFont typeface="Wingdings" panose="05000000000000000000" pitchFamily="2" charset="2"/>
                <a:buChar char="q"/>
                <a:defRPr sz="2600">
                  <a:solidFill>
                    <a:schemeClr val="tx1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Clr>
                  <a:schemeClr val="accent1"/>
                </a:buClr>
                <a:buSzPct val="65000"/>
                <a:buFont typeface="Wingdings" panose="05000000000000000000" pitchFamily="2" charset="2"/>
                <a:buChar char="n"/>
                <a:defRPr sz="2200">
                  <a:solidFill>
                    <a:schemeClr val="tx1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Clr>
                  <a:schemeClr val="accent2"/>
                </a:buClr>
                <a:buSzPct val="70000"/>
                <a:buFont typeface="Wingdings" panose="05000000000000000000" pitchFamily="2" charset="2"/>
                <a:buChar char="q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Clr>
                  <a:schemeClr val="accent1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accent1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accent1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accent1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accent1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9pPr>
            </a:lstStyle>
            <a:p>
              <a:pPr algn="ctr" eaLnBrk="1" hangingPunct="1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en-US" sz="1800" smtClean="0">
                <a:solidFill>
                  <a:srgbClr val="000000"/>
                </a:solidFill>
              </a:endParaRPr>
            </a:p>
          </p:txBody>
        </p:sp>
        <p:sp>
          <p:nvSpPr>
            <p:cNvPr id="49165" name="Line 15"/>
            <p:cNvSpPr>
              <a:spLocks noChangeShapeType="1"/>
            </p:cNvSpPr>
            <p:nvPr/>
          </p:nvSpPr>
          <p:spPr bwMode="auto">
            <a:xfrm>
              <a:off x="2590800" y="2209800"/>
              <a:ext cx="0" cy="3505200"/>
            </a:xfrm>
            <a:prstGeom prst="line">
              <a:avLst/>
            </a:prstGeom>
            <a:noFill/>
            <a:ln w="38100">
              <a:solidFill>
                <a:schemeClr val="hlink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>
              <a:spAutoFit/>
            </a:bodyPr>
            <a:lstStyle/>
            <a:p>
              <a:endParaRPr lang="en-US" sz="1800" smtClean="0">
                <a:solidFill>
                  <a:srgbClr val="000000"/>
                </a:solidFill>
              </a:endParaRPr>
            </a:p>
          </p:txBody>
        </p:sp>
        <p:sp>
          <p:nvSpPr>
            <p:cNvPr id="49166" name="Line 16"/>
            <p:cNvSpPr>
              <a:spLocks noChangeShapeType="1"/>
            </p:cNvSpPr>
            <p:nvPr/>
          </p:nvSpPr>
          <p:spPr bwMode="auto">
            <a:xfrm flipV="1">
              <a:off x="2438400" y="5562600"/>
              <a:ext cx="3657600" cy="0"/>
            </a:xfrm>
            <a:prstGeom prst="line">
              <a:avLst/>
            </a:prstGeom>
            <a:noFill/>
            <a:ln w="38100">
              <a:solidFill>
                <a:schemeClr val="hlink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anchor="ctr">
              <a:spAutoFit/>
            </a:bodyPr>
            <a:lstStyle/>
            <a:p>
              <a:endParaRPr lang="en-US" sz="1800" smtClean="0">
                <a:solidFill>
                  <a:srgbClr val="000000"/>
                </a:solidFill>
              </a:endParaRPr>
            </a:p>
          </p:txBody>
        </p:sp>
        <p:sp>
          <p:nvSpPr>
            <p:cNvPr id="49167" name="Oval 17"/>
            <p:cNvSpPr>
              <a:spLocks noChangeAspect="1" noChangeArrowheads="1"/>
            </p:cNvSpPr>
            <p:nvPr/>
          </p:nvSpPr>
          <p:spPr bwMode="auto">
            <a:xfrm>
              <a:off x="3717925" y="5032375"/>
              <a:ext cx="60325" cy="47625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>
              <a:lvl1pPr>
                <a:spcBef>
                  <a:spcPct val="20000"/>
                </a:spcBef>
                <a:buClr>
                  <a:schemeClr val="accent1"/>
                </a:buClr>
                <a:buSzPct val="65000"/>
                <a:buFont typeface="Wingdings" panose="05000000000000000000" pitchFamily="2" charset="2"/>
                <a:buChar char="n"/>
                <a:defRPr sz="3000">
                  <a:solidFill>
                    <a:schemeClr val="tx1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Clr>
                  <a:schemeClr val="accent2"/>
                </a:buClr>
                <a:buSzPct val="60000"/>
                <a:buFont typeface="Wingdings" panose="05000000000000000000" pitchFamily="2" charset="2"/>
                <a:buChar char="q"/>
                <a:defRPr sz="2600">
                  <a:solidFill>
                    <a:schemeClr val="tx1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Clr>
                  <a:schemeClr val="accent1"/>
                </a:buClr>
                <a:buSzPct val="65000"/>
                <a:buFont typeface="Wingdings" panose="05000000000000000000" pitchFamily="2" charset="2"/>
                <a:buChar char="n"/>
                <a:defRPr sz="2200">
                  <a:solidFill>
                    <a:schemeClr val="tx1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Clr>
                  <a:schemeClr val="accent2"/>
                </a:buClr>
                <a:buSzPct val="70000"/>
                <a:buFont typeface="Wingdings" panose="05000000000000000000" pitchFamily="2" charset="2"/>
                <a:buChar char="q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Clr>
                  <a:schemeClr val="accent1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accent1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accent1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accent1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accent1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9pPr>
            </a:lstStyle>
            <a:p>
              <a:pPr algn="ctr" eaLnBrk="1" hangingPunct="1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en-US" sz="1800" smtClean="0">
                <a:solidFill>
                  <a:srgbClr val="000000"/>
                </a:solidFill>
              </a:endParaRPr>
            </a:p>
          </p:txBody>
        </p:sp>
        <p:sp>
          <p:nvSpPr>
            <p:cNvPr id="49168" name="Oval 18"/>
            <p:cNvSpPr>
              <a:spLocks noChangeAspect="1" noChangeArrowheads="1"/>
            </p:cNvSpPr>
            <p:nvPr/>
          </p:nvSpPr>
          <p:spPr bwMode="auto">
            <a:xfrm>
              <a:off x="2486025" y="3903663"/>
              <a:ext cx="60325" cy="47625"/>
            </a:xfrm>
            <a:prstGeom prst="ellipse">
              <a:avLst/>
            </a:prstGeom>
            <a:solidFill>
              <a:schemeClr val="tx2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>
              <a:lvl1pPr>
                <a:spcBef>
                  <a:spcPct val="20000"/>
                </a:spcBef>
                <a:buClr>
                  <a:schemeClr val="accent1"/>
                </a:buClr>
                <a:buSzPct val="65000"/>
                <a:buFont typeface="Wingdings" panose="05000000000000000000" pitchFamily="2" charset="2"/>
                <a:buChar char="n"/>
                <a:defRPr sz="3000">
                  <a:solidFill>
                    <a:schemeClr val="tx1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Clr>
                  <a:schemeClr val="accent2"/>
                </a:buClr>
                <a:buSzPct val="60000"/>
                <a:buFont typeface="Wingdings" panose="05000000000000000000" pitchFamily="2" charset="2"/>
                <a:buChar char="q"/>
                <a:defRPr sz="2600">
                  <a:solidFill>
                    <a:schemeClr val="tx1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Clr>
                  <a:schemeClr val="accent1"/>
                </a:buClr>
                <a:buSzPct val="65000"/>
                <a:buFont typeface="Wingdings" panose="05000000000000000000" pitchFamily="2" charset="2"/>
                <a:buChar char="n"/>
                <a:defRPr sz="2200">
                  <a:solidFill>
                    <a:schemeClr val="tx1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Clr>
                  <a:schemeClr val="accent2"/>
                </a:buClr>
                <a:buSzPct val="70000"/>
                <a:buFont typeface="Wingdings" panose="05000000000000000000" pitchFamily="2" charset="2"/>
                <a:buChar char="q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Clr>
                  <a:schemeClr val="accent1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accent1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accent1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accent1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accent1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9pPr>
            </a:lstStyle>
            <a:p>
              <a:pPr algn="ctr" eaLnBrk="1" hangingPunct="1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en-US" sz="1800" smtClean="0">
                <a:solidFill>
                  <a:srgbClr val="000000"/>
                </a:solidFill>
              </a:endParaRPr>
            </a:p>
          </p:txBody>
        </p:sp>
        <p:sp>
          <p:nvSpPr>
            <p:cNvPr id="49169" name="Oval 19"/>
            <p:cNvSpPr>
              <a:spLocks noChangeAspect="1" noChangeArrowheads="1"/>
            </p:cNvSpPr>
            <p:nvPr/>
          </p:nvSpPr>
          <p:spPr bwMode="auto">
            <a:xfrm>
              <a:off x="4340225" y="2814638"/>
              <a:ext cx="60325" cy="47625"/>
            </a:xfrm>
            <a:prstGeom prst="ellipse">
              <a:avLst/>
            </a:prstGeom>
            <a:solidFill>
              <a:schemeClr val="tx2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>
              <a:lvl1pPr>
                <a:spcBef>
                  <a:spcPct val="20000"/>
                </a:spcBef>
                <a:buClr>
                  <a:schemeClr val="accent1"/>
                </a:buClr>
                <a:buSzPct val="65000"/>
                <a:buFont typeface="Wingdings" panose="05000000000000000000" pitchFamily="2" charset="2"/>
                <a:buChar char="n"/>
                <a:defRPr sz="3000">
                  <a:solidFill>
                    <a:schemeClr val="tx1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Clr>
                  <a:schemeClr val="accent2"/>
                </a:buClr>
                <a:buSzPct val="60000"/>
                <a:buFont typeface="Wingdings" panose="05000000000000000000" pitchFamily="2" charset="2"/>
                <a:buChar char="q"/>
                <a:defRPr sz="2600">
                  <a:solidFill>
                    <a:schemeClr val="tx1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Clr>
                  <a:schemeClr val="accent1"/>
                </a:buClr>
                <a:buSzPct val="65000"/>
                <a:buFont typeface="Wingdings" panose="05000000000000000000" pitchFamily="2" charset="2"/>
                <a:buChar char="n"/>
                <a:defRPr sz="2200">
                  <a:solidFill>
                    <a:schemeClr val="tx1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Clr>
                  <a:schemeClr val="accent2"/>
                </a:buClr>
                <a:buSzPct val="70000"/>
                <a:buFont typeface="Wingdings" panose="05000000000000000000" pitchFamily="2" charset="2"/>
                <a:buChar char="q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Clr>
                  <a:schemeClr val="accent1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accent1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accent1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accent1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accent1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9pPr>
            </a:lstStyle>
            <a:p>
              <a:pPr algn="ctr" eaLnBrk="1" hangingPunct="1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en-US" sz="1800" smtClean="0">
                <a:solidFill>
                  <a:srgbClr val="000000"/>
                </a:solidFill>
              </a:endParaRPr>
            </a:p>
          </p:txBody>
        </p:sp>
        <p:sp>
          <p:nvSpPr>
            <p:cNvPr id="49170" name="Oval 20"/>
            <p:cNvSpPr>
              <a:spLocks noChangeAspect="1" noChangeArrowheads="1"/>
            </p:cNvSpPr>
            <p:nvPr/>
          </p:nvSpPr>
          <p:spPr bwMode="auto">
            <a:xfrm>
              <a:off x="4403725" y="3635375"/>
              <a:ext cx="60325" cy="47625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>
              <a:lvl1pPr>
                <a:spcBef>
                  <a:spcPct val="20000"/>
                </a:spcBef>
                <a:buClr>
                  <a:schemeClr val="accent1"/>
                </a:buClr>
                <a:buSzPct val="65000"/>
                <a:buFont typeface="Wingdings" panose="05000000000000000000" pitchFamily="2" charset="2"/>
                <a:buChar char="n"/>
                <a:defRPr sz="3000">
                  <a:solidFill>
                    <a:schemeClr val="tx1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Clr>
                  <a:schemeClr val="accent2"/>
                </a:buClr>
                <a:buSzPct val="60000"/>
                <a:buFont typeface="Wingdings" panose="05000000000000000000" pitchFamily="2" charset="2"/>
                <a:buChar char="q"/>
                <a:defRPr sz="2600">
                  <a:solidFill>
                    <a:schemeClr val="tx1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Clr>
                  <a:schemeClr val="accent1"/>
                </a:buClr>
                <a:buSzPct val="65000"/>
                <a:buFont typeface="Wingdings" panose="05000000000000000000" pitchFamily="2" charset="2"/>
                <a:buChar char="n"/>
                <a:defRPr sz="2200">
                  <a:solidFill>
                    <a:schemeClr val="tx1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Clr>
                  <a:schemeClr val="accent2"/>
                </a:buClr>
                <a:buSzPct val="70000"/>
                <a:buFont typeface="Wingdings" panose="05000000000000000000" pitchFamily="2" charset="2"/>
                <a:buChar char="q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Clr>
                  <a:schemeClr val="accent1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accent1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accent1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accent1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accent1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9pPr>
            </a:lstStyle>
            <a:p>
              <a:pPr algn="ctr" eaLnBrk="1" hangingPunct="1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en-US" sz="1800" smtClean="0">
                <a:solidFill>
                  <a:srgbClr val="000000"/>
                </a:solidFill>
              </a:endParaRPr>
            </a:p>
          </p:txBody>
        </p:sp>
        <p:sp>
          <p:nvSpPr>
            <p:cNvPr id="49171" name="Oval 21"/>
            <p:cNvSpPr>
              <a:spLocks noChangeAspect="1" noChangeArrowheads="1"/>
            </p:cNvSpPr>
            <p:nvPr/>
          </p:nvSpPr>
          <p:spPr bwMode="auto">
            <a:xfrm>
              <a:off x="3409950" y="2663825"/>
              <a:ext cx="60325" cy="50800"/>
            </a:xfrm>
            <a:prstGeom prst="ellipse">
              <a:avLst/>
            </a:prstGeom>
            <a:solidFill>
              <a:schemeClr val="tx2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>
              <a:lvl1pPr>
                <a:spcBef>
                  <a:spcPct val="20000"/>
                </a:spcBef>
                <a:buClr>
                  <a:schemeClr val="accent1"/>
                </a:buClr>
                <a:buSzPct val="65000"/>
                <a:buFont typeface="Wingdings" panose="05000000000000000000" pitchFamily="2" charset="2"/>
                <a:buChar char="n"/>
                <a:defRPr sz="3000">
                  <a:solidFill>
                    <a:schemeClr val="tx1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Clr>
                  <a:schemeClr val="accent2"/>
                </a:buClr>
                <a:buSzPct val="60000"/>
                <a:buFont typeface="Wingdings" panose="05000000000000000000" pitchFamily="2" charset="2"/>
                <a:buChar char="q"/>
                <a:defRPr sz="2600">
                  <a:solidFill>
                    <a:schemeClr val="tx1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Clr>
                  <a:schemeClr val="accent1"/>
                </a:buClr>
                <a:buSzPct val="65000"/>
                <a:buFont typeface="Wingdings" panose="05000000000000000000" pitchFamily="2" charset="2"/>
                <a:buChar char="n"/>
                <a:defRPr sz="2200">
                  <a:solidFill>
                    <a:schemeClr val="tx1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Clr>
                  <a:schemeClr val="accent2"/>
                </a:buClr>
                <a:buSzPct val="70000"/>
                <a:buFont typeface="Wingdings" panose="05000000000000000000" pitchFamily="2" charset="2"/>
                <a:buChar char="q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Clr>
                  <a:schemeClr val="accent1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accent1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accent1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accent1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accent1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9pPr>
            </a:lstStyle>
            <a:p>
              <a:pPr algn="ctr" eaLnBrk="1" hangingPunct="1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en-US" sz="1800" smtClean="0">
                <a:solidFill>
                  <a:srgbClr val="000000"/>
                </a:solidFill>
              </a:endParaRPr>
            </a:p>
          </p:txBody>
        </p:sp>
        <p:sp>
          <p:nvSpPr>
            <p:cNvPr id="49172" name="Oval 22"/>
            <p:cNvSpPr>
              <a:spLocks noChangeAspect="1" noChangeArrowheads="1"/>
            </p:cNvSpPr>
            <p:nvPr/>
          </p:nvSpPr>
          <p:spPr bwMode="auto">
            <a:xfrm>
              <a:off x="3886200" y="3733800"/>
              <a:ext cx="53975" cy="47625"/>
            </a:xfrm>
            <a:prstGeom prst="ellipse">
              <a:avLst/>
            </a:prstGeom>
            <a:solidFill>
              <a:schemeClr val="tx2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>
              <a:lvl1pPr>
                <a:spcBef>
                  <a:spcPct val="20000"/>
                </a:spcBef>
                <a:buClr>
                  <a:schemeClr val="accent1"/>
                </a:buClr>
                <a:buSzPct val="65000"/>
                <a:buFont typeface="Wingdings" panose="05000000000000000000" pitchFamily="2" charset="2"/>
                <a:buChar char="n"/>
                <a:defRPr sz="3000">
                  <a:solidFill>
                    <a:schemeClr val="tx1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Clr>
                  <a:schemeClr val="accent2"/>
                </a:buClr>
                <a:buSzPct val="60000"/>
                <a:buFont typeface="Wingdings" panose="05000000000000000000" pitchFamily="2" charset="2"/>
                <a:buChar char="q"/>
                <a:defRPr sz="2600">
                  <a:solidFill>
                    <a:schemeClr val="tx1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Clr>
                  <a:schemeClr val="accent1"/>
                </a:buClr>
                <a:buSzPct val="65000"/>
                <a:buFont typeface="Wingdings" panose="05000000000000000000" pitchFamily="2" charset="2"/>
                <a:buChar char="n"/>
                <a:defRPr sz="2200">
                  <a:solidFill>
                    <a:schemeClr val="tx1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Clr>
                  <a:schemeClr val="accent2"/>
                </a:buClr>
                <a:buSzPct val="70000"/>
                <a:buFont typeface="Wingdings" panose="05000000000000000000" pitchFamily="2" charset="2"/>
                <a:buChar char="q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Clr>
                  <a:schemeClr val="accent1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accent1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accent1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accent1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accent1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9pPr>
            </a:lstStyle>
            <a:p>
              <a:pPr algn="ctr" eaLnBrk="1" hangingPunct="1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en-US" sz="1800" smtClean="0">
                <a:solidFill>
                  <a:srgbClr val="000000"/>
                </a:solidFill>
              </a:endParaRPr>
            </a:p>
          </p:txBody>
        </p:sp>
        <p:sp>
          <p:nvSpPr>
            <p:cNvPr id="49173" name="Oval 23"/>
            <p:cNvSpPr>
              <a:spLocks noChangeAspect="1" noChangeArrowheads="1"/>
            </p:cNvSpPr>
            <p:nvPr/>
          </p:nvSpPr>
          <p:spPr bwMode="auto">
            <a:xfrm>
              <a:off x="3048000" y="3124200"/>
              <a:ext cx="60325" cy="58738"/>
            </a:xfrm>
            <a:prstGeom prst="ellipse">
              <a:avLst/>
            </a:prstGeom>
            <a:solidFill>
              <a:schemeClr val="tx2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>
              <a:lvl1pPr>
                <a:spcBef>
                  <a:spcPct val="20000"/>
                </a:spcBef>
                <a:buClr>
                  <a:schemeClr val="accent1"/>
                </a:buClr>
                <a:buSzPct val="65000"/>
                <a:buFont typeface="Wingdings" panose="05000000000000000000" pitchFamily="2" charset="2"/>
                <a:buChar char="n"/>
                <a:defRPr sz="3000">
                  <a:solidFill>
                    <a:schemeClr val="tx1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Clr>
                  <a:schemeClr val="accent2"/>
                </a:buClr>
                <a:buSzPct val="60000"/>
                <a:buFont typeface="Wingdings" panose="05000000000000000000" pitchFamily="2" charset="2"/>
                <a:buChar char="q"/>
                <a:defRPr sz="2600">
                  <a:solidFill>
                    <a:schemeClr val="tx1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Clr>
                  <a:schemeClr val="accent1"/>
                </a:buClr>
                <a:buSzPct val="65000"/>
                <a:buFont typeface="Wingdings" panose="05000000000000000000" pitchFamily="2" charset="2"/>
                <a:buChar char="n"/>
                <a:defRPr sz="2200">
                  <a:solidFill>
                    <a:schemeClr val="tx1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Clr>
                  <a:schemeClr val="accent2"/>
                </a:buClr>
                <a:buSzPct val="70000"/>
                <a:buFont typeface="Wingdings" panose="05000000000000000000" pitchFamily="2" charset="2"/>
                <a:buChar char="q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Clr>
                  <a:schemeClr val="accent1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accent1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accent1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accent1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accent1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9pPr>
            </a:lstStyle>
            <a:p>
              <a:pPr algn="ctr" eaLnBrk="1" hangingPunct="1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en-US" sz="1800" smtClean="0">
                <a:solidFill>
                  <a:srgbClr val="000000"/>
                </a:solidFill>
              </a:endParaRPr>
            </a:p>
          </p:txBody>
        </p:sp>
        <p:sp>
          <p:nvSpPr>
            <p:cNvPr id="49174" name="Oval 24"/>
            <p:cNvSpPr>
              <a:spLocks noChangeAspect="1" noChangeArrowheads="1"/>
            </p:cNvSpPr>
            <p:nvPr/>
          </p:nvSpPr>
          <p:spPr bwMode="auto">
            <a:xfrm>
              <a:off x="5105400" y="4114800"/>
              <a:ext cx="60325" cy="50800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>
              <a:lvl1pPr>
                <a:spcBef>
                  <a:spcPct val="20000"/>
                </a:spcBef>
                <a:buClr>
                  <a:schemeClr val="accent1"/>
                </a:buClr>
                <a:buSzPct val="65000"/>
                <a:buFont typeface="Wingdings" panose="05000000000000000000" pitchFamily="2" charset="2"/>
                <a:buChar char="n"/>
                <a:defRPr sz="3000">
                  <a:solidFill>
                    <a:schemeClr val="tx1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Clr>
                  <a:schemeClr val="accent2"/>
                </a:buClr>
                <a:buSzPct val="60000"/>
                <a:buFont typeface="Wingdings" panose="05000000000000000000" pitchFamily="2" charset="2"/>
                <a:buChar char="q"/>
                <a:defRPr sz="2600">
                  <a:solidFill>
                    <a:schemeClr val="tx1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Clr>
                  <a:schemeClr val="accent1"/>
                </a:buClr>
                <a:buSzPct val="65000"/>
                <a:buFont typeface="Wingdings" panose="05000000000000000000" pitchFamily="2" charset="2"/>
                <a:buChar char="n"/>
                <a:defRPr sz="2200">
                  <a:solidFill>
                    <a:schemeClr val="tx1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Clr>
                  <a:schemeClr val="accent2"/>
                </a:buClr>
                <a:buSzPct val="70000"/>
                <a:buFont typeface="Wingdings" panose="05000000000000000000" pitchFamily="2" charset="2"/>
                <a:buChar char="q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Clr>
                  <a:schemeClr val="accent1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accent1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accent1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accent1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accent1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9pPr>
            </a:lstStyle>
            <a:p>
              <a:pPr algn="ctr" eaLnBrk="1" hangingPunct="1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en-US" sz="1800" smtClean="0">
                <a:solidFill>
                  <a:srgbClr val="000000"/>
                </a:solidFill>
              </a:endParaRPr>
            </a:p>
          </p:txBody>
        </p:sp>
        <p:sp>
          <p:nvSpPr>
            <p:cNvPr id="49175" name="Oval 25"/>
            <p:cNvSpPr>
              <a:spLocks noChangeAspect="1" noChangeArrowheads="1"/>
            </p:cNvSpPr>
            <p:nvPr/>
          </p:nvSpPr>
          <p:spPr bwMode="auto">
            <a:xfrm rot="-1118274">
              <a:off x="3887788" y="4443413"/>
              <a:ext cx="53975" cy="47625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>
              <a:lvl1pPr>
                <a:spcBef>
                  <a:spcPct val="20000"/>
                </a:spcBef>
                <a:buClr>
                  <a:schemeClr val="accent1"/>
                </a:buClr>
                <a:buSzPct val="65000"/>
                <a:buFont typeface="Wingdings" panose="05000000000000000000" pitchFamily="2" charset="2"/>
                <a:buChar char="n"/>
                <a:defRPr sz="3000">
                  <a:solidFill>
                    <a:schemeClr val="tx1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Clr>
                  <a:schemeClr val="accent2"/>
                </a:buClr>
                <a:buSzPct val="60000"/>
                <a:buFont typeface="Wingdings" panose="05000000000000000000" pitchFamily="2" charset="2"/>
                <a:buChar char="q"/>
                <a:defRPr sz="2600">
                  <a:solidFill>
                    <a:schemeClr val="tx1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Clr>
                  <a:schemeClr val="accent1"/>
                </a:buClr>
                <a:buSzPct val="65000"/>
                <a:buFont typeface="Wingdings" panose="05000000000000000000" pitchFamily="2" charset="2"/>
                <a:buChar char="n"/>
                <a:defRPr sz="2200">
                  <a:solidFill>
                    <a:schemeClr val="tx1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Clr>
                  <a:schemeClr val="accent2"/>
                </a:buClr>
                <a:buSzPct val="70000"/>
                <a:buFont typeface="Wingdings" panose="05000000000000000000" pitchFamily="2" charset="2"/>
                <a:buChar char="q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Clr>
                  <a:schemeClr val="accent1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accent1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accent1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accent1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accent1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9pPr>
            </a:lstStyle>
            <a:p>
              <a:pPr algn="ctr" eaLnBrk="1" hangingPunct="1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en-US" sz="1800" smtClean="0">
                <a:solidFill>
                  <a:srgbClr val="000000"/>
                </a:solidFill>
              </a:endParaRPr>
            </a:p>
          </p:txBody>
        </p:sp>
        <p:sp>
          <p:nvSpPr>
            <p:cNvPr id="49176" name="Oval 26"/>
            <p:cNvSpPr>
              <a:spLocks noChangeAspect="1" noChangeArrowheads="1"/>
            </p:cNvSpPr>
            <p:nvPr/>
          </p:nvSpPr>
          <p:spPr bwMode="auto">
            <a:xfrm rot="-1118274">
              <a:off x="6003925" y="3228975"/>
              <a:ext cx="60325" cy="50800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>
              <a:lvl1pPr>
                <a:spcBef>
                  <a:spcPct val="20000"/>
                </a:spcBef>
                <a:buClr>
                  <a:schemeClr val="accent1"/>
                </a:buClr>
                <a:buSzPct val="65000"/>
                <a:buFont typeface="Wingdings" panose="05000000000000000000" pitchFamily="2" charset="2"/>
                <a:buChar char="n"/>
                <a:defRPr sz="3000">
                  <a:solidFill>
                    <a:schemeClr val="tx1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Clr>
                  <a:schemeClr val="accent2"/>
                </a:buClr>
                <a:buSzPct val="60000"/>
                <a:buFont typeface="Wingdings" panose="05000000000000000000" pitchFamily="2" charset="2"/>
                <a:buChar char="q"/>
                <a:defRPr sz="2600">
                  <a:solidFill>
                    <a:schemeClr val="tx1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Clr>
                  <a:schemeClr val="accent1"/>
                </a:buClr>
                <a:buSzPct val="65000"/>
                <a:buFont typeface="Wingdings" panose="05000000000000000000" pitchFamily="2" charset="2"/>
                <a:buChar char="n"/>
                <a:defRPr sz="2200">
                  <a:solidFill>
                    <a:schemeClr val="tx1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Clr>
                  <a:schemeClr val="accent2"/>
                </a:buClr>
                <a:buSzPct val="70000"/>
                <a:buFont typeface="Wingdings" panose="05000000000000000000" pitchFamily="2" charset="2"/>
                <a:buChar char="q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Clr>
                  <a:schemeClr val="accent1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accent1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accent1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accent1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accent1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9pPr>
            </a:lstStyle>
            <a:p>
              <a:pPr algn="ctr" eaLnBrk="1" hangingPunct="1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en-US" sz="1800" smtClean="0">
                <a:solidFill>
                  <a:srgbClr val="000000"/>
                </a:solidFill>
              </a:endParaRPr>
            </a:p>
          </p:txBody>
        </p:sp>
        <p:sp>
          <p:nvSpPr>
            <p:cNvPr id="49177" name="Oval 27"/>
            <p:cNvSpPr>
              <a:spLocks noChangeAspect="1" noChangeArrowheads="1"/>
            </p:cNvSpPr>
            <p:nvPr/>
          </p:nvSpPr>
          <p:spPr bwMode="auto">
            <a:xfrm rot="-1118274">
              <a:off x="5295900" y="4545013"/>
              <a:ext cx="60325" cy="50800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>
              <a:lvl1pPr>
                <a:spcBef>
                  <a:spcPct val="20000"/>
                </a:spcBef>
                <a:buClr>
                  <a:schemeClr val="accent1"/>
                </a:buClr>
                <a:buSzPct val="65000"/>
                <a:buFont typeface="Wingdings" panose="05000000000000000000" pitchFamily="2" charset="2"/>
                <a:buChar char="n"/>
                <a:defRPr sz="3000">
                  <a:solidFill>
                    <a:schemeClr val="tx1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Clr>
                  <a:schemeClr val="accent2"/>
                </a:buClr>
                <a:buSzPct val="60000"/>
                <a:buFont typeface="Wingdings" panose="05000000000000000000" pitchFamily="2" charset="2"/>
                <a:buChar char="q"/>
                <a:defRPr sz="2600">
                  <a:solidFill>
                    <a:schemeClr val="tx1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Clr>
                  <a:schemeClr val="accent1"/>
                </a:buClr>
                <a:buSzPct val="65000"/>
                <a:buFont typeface="Wingdings" panose="05000000000000000000" pitchFamily="2" charset="2"/>
                <a:buChar char="n"/>
                <a:defRPr sz="2200">
                  <a:solidFill>
                    <a:schemeClr val="tx1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Clr>
                  <a:schemeClr val="accent2"/>
                </a:buClr>
                <a:buSzPct val="70000"/>
                <a:buFont typeface="Wingdings" panose="05000000000000000000" pitchFamily="2" charset="2"/>
                <a:buChar char="q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Clr>
                  <a:schemeClr val="accent1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accent1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accent1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accent1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accent1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9pPr>
            </a:lstStyle>
            <a:p>
              <a:pPr algn="ctr" eaLnBrk="1" hangingPunct="1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en-US" sz="1800" smtClean="0">
                <a:solidFill>
                  <a:srgbClr val="000000"/>
                </a:solidFill>
              </a:endParaRPr>
            </a:p>
          </p:txBody>
        </p:sp>
        <p:sp>
          <p:nvSpPr>
            <p:cNvPr id="49178" name="Oval 28"/>
            <p:cNvSpPr>
              <a:spLocks noChangeAspect="1" noChangeArrowheads="1"/>
            </p:cNvSpPr>
            <p:nvPr/>
          </p:nvSpPr>
          <p:spPr bwMode="auto">
            <a:xfrm rot="-1118274">
              <a:off x="3124200" y="2667000"/>
              <a:ext cx="60325" cy="50800"/>
            </a:xfrm>
            <a:prstGeom prst="ellipse">
              <a:avLst/>
            </a:prstGeom>
            <a:solidFill>
              <a:schemeClr val="tx2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>
              <a:lvl1pPr>
                <a:spcBef>
                  <a:spcPct val="20000"/>
                </a:spcBef>
                <a:buClr>
                  <a:schemeClr val="accent1"/>
                </a:buClr>
                <a:buSzPct val="65000"/>
                <a:buFont typeface="Wingdings" panose="05000000000000000000" pitchFamily="2" charset="2"/>
                <a:buChar char="n"/>
                <a:defRPr sz="3000">
                  <a:solidFill>
                    <a:schemeClr val="tx1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Clr>
                  <a:schemeClr val="accent2"/>
                </a:buClr>
                <a:buSzPct val="60000"/>
                <a:buFont typeface="Wingdings" panose="05000000000000000000" pitchFamily="2" charset="2"/>
                <a:buChar char="q"/>
                <a:defRPr sz="2600">
                  <a:solidFill>
                    <a:schemeClr val="tx1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Clr>
                  <a:schemeClr val="accent1"/>
                </a:buClr>
                <a:buSzPct val="65000"/>
                <a:buFont typeface="Wingdings" panose="05000000000000000000" pitchFamily="2" charset="2"/>
                <a:buChar char="n"/>
                <a:defRPr sz="2200">
                  <a:solidFill>
                    <a:schemeClr val="tx1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Clr>
                  <a:schemeClr val="accent2"/>
                </a:buClr>
                <a:buSzPct val="70000"/>
                <a:buFont typeface="Wingdings" panose="05000000000000000000" pitchFamily="2" charset="2"/>
                <a:buChar char="q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Clr>
                  <a:schemeClr val="accent1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accent1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accent1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accent1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accent1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9pPr>
            </a:lstStyle>
            <a:p>
              <a:pPr algn="ctr" eaLnBrk="1" hangingPunct="1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en-US" sz="1800" smtClean="0">
                <a:solidFill>
                  <a:srgbClr val="000000"/>
                </a:solidFill>
              </a:endParaRPr>
            </a:p>
          </p:txBody>
        </p:sp>
        <p:sp>
          <p:nvSpPr>
            <p:cNvPr id="49179" name="Oval 29"/>
            <p:cNvSpPr>
              <a:spLocks noChangeAspect="1" noChangeArrowheads="1"/>
            </p:cNvSpPr>
            <p:nvPr/>
          </p:nvSpPr>
          <p:spPr bwMode="auto">
            <a:xfrm rot="-1118274">
              <a:off x="4711700" y="3584575"/>
              <a:ext cx="60325" cy="50800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>
              <a:lvl1pPr>
                <a:spcBef>
                  <a:spcPct val="20000"/>
                </a:spcBef>
                <a:buClr>
                  <a:schemeClr val="accent1"/>
                </a:buClr>
                <a:buSzPct val="65000"/>
                <a:buFont typeface="Wingdings" panose="05000000000000000000" pitchFamily="2" charset="2"/>
                <a:buChar char="n"/>
                <a:defRPr sz="3000">
                  <a:solidFill>
                    <a:schemeClr val="tx1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Clr>
                  <a:schemeClr val="accent2"/>
                </a:buClr>
                <a:buSzPct val="60000"/>
                <a:buFont typeface="Wingdings" panose="05000000000000000000" pitchFamily="2" charset="2"/>
                <a:buChar char="q"/>
                <a:defRPr sz="2600">
                  <a:solidFill>
                    <a:schemeClr val="tx1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Clr>
                  <a:schemeClr val="accent1"/>
                </a:buClr>
                <a:buSzPct val="65000"/>
                <a:buFont typeface="Wingdings" panose="05000000000000000000" pitchFamily="2" charset="2"/>
                <a:buChar char="n"/>
                <a:defRPr sz="2200">
                  <a:solidFill>
                    <a:schemeClr val="tx1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Clr>
                  <a:schemeClr val="accent2"/>
                </a:buClr>
                <a:buSzPct val="70000"/>
                <a:buFont typeface="Wingdings" panose="05000000000000000000" pitchFamily="2" charset="2"/>
                <a:buChar char="q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Clr>
                  <a:schemeClr val="accent1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accent1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accent1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accent1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accent1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9pPr>
            </a:lstStyle>
            <a:p>
              <a:pPr algn="ctr" eaLnBrk="1" hangingPunct="1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en-US" sz="1800" smtClean="0">
                <a:solidFill>
                  <a:srgbClr val="000000"/>
                </a:solidFill>
              </a:endParaRPr>
            </a:p>
          </p:txBody>
        </p:sp>
        <p:sp>
          <p:nvSpPr>
            <p:cNvPr id="49180" name="Oval 30"/>
            <p:cNvSpPr>
              <a:spLocks noChangeAspect="1" noChangeArrowheads="1"/>
            </p:cNvSpPr>
            <p:nvPr/>
          </p:nvSpPr>
          <p:spPr bwMode="auto">
            <a:xfrm rot="-1118274">
              <a:off x="5867400" y="4495800"/>
              <a:ext cx="60325" cy="47625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>
              <a:lvl1pPr>
                <a:spcBef>
                  <a:spcPct val="20000"/>
                </a:spcBef>
                <a:buClr>
                  <a:schemeClr val="accent1"/>
                </a:buClr>
                <a:buSzPct val="65000"/>
                <a:buFont typeface="Wingdings" panose="05000000000000000000" pitchFamily="2" charset="2"/>
                <a:buChar char="n"/>
                <a:defRPr sz="3000">
                  <a:solidFill>
                    <a:schemeClr val="tx1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Clr>
                  <a:schemeClr val="accent2"/>
                </a:buClr>
                <a:buSzPct val="60000"/>
                <a:buFont typeface="Wingdings" panose="05000000000000000000" pitchFamily="2" charset="2"/>
                <a:buChar char="q"/>
                <a:defRPr sz="2600">
                  <a:solidFill>
                    <a:schemeClr val="tx1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Clr>
                  <a:schemeClr val="accent1"/>
                </a:buClr>
                <a:buSzPct val="65000"/>
                <a:buFont typeface="Wingdings" panose="05000000000000000000" pitchFamily="2" charset="2"/>
                <a:buChar char="n"/>
                <a:defRPr sz="2200">
                  <a:solidFill>
                    <a:schemeClr val="tx1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Clr>
                  <a:schemeClr val="accent2"/>
                </a:buClr>
                <a:buSzPct val="70000"/>
                <a:buFont typeface="Wingdings" panose="05000000000000000000" pitchFamily="2" charset="2"/>
                <a:buChar char="q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Clr>
                  <a:schemeClr val="accent1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accent1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accent1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accent1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accent1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9pPr>
            </a:lstStyle>
            <a:p>
              <a:pPr algn="ctr" eaLnBrk="1" hangingPunct="1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en-US" sz="1800" smtClean="0">
                <a:solidFill>
                  <a:srgbClr val="000000"/>
                </a:solidFill>
              </a:endParaRPr>
            </a:p>
          </p:txBody>
        </p:sp>
        <p:sp>
          <p:nvSpPr>
            <p:cNvPr id="49181" name="Oval 31"/>
            <p:cNvSpPr>
              <a:spLocks noChangeAspect="1" noChangeArrowheads="1"/>
            </p:cNvSpPr>
            <p:nvPr/>
          </p:nvSpPr>
          <p:spPr bwMode="auto">
            <a:xfrm rot="-1118274">
              <a:off x="3114675" y="3640138"/>
              <a:ext cx="60325" cy="47625"/>
            </a:xfrm>
            <a:prstGeom prst="ellipse">
              <a:avLst/>
            </a:prstGeom>
            <a:solidFill>
              <a:schemeClr val="tx2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>
              <a:lvl1pPr>
                <a:spcBef>
                  <a:spcPct val="20000"/>
                </a:spcBef>
                <a:buClr>
                  <a:schemeClr val="accent1"/>
                </a:buClr>
                <a:buSzPct val="65000"/>
                <a:buFont typeface="Wingdings" panose="05000000000000000000" pitchFamily="2" charset="2"/>
                <a:buChar char="n"/>
                <a:defRPr sz="3000">
                  <a:solidFill>
                    <a:schemeClr val="tx1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Clr>
                  <a:schemeClr val="accent2"/>
                </a:buClr>
                <a:buSzPct val="60000"/>
                <a:buFont typeface="Wingdings" panose="05000000000000000000" pitchFamily="2" charset="2"/>
                <a:buChar char="q"/>
                <a:defRPr sz="2600">
                  <a:solidFill>
                    <a:schemeClr val="tx1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Clr>
                  <a:schemeClr val="accent1"/>
                </a:buClr>
                <a:buSzPct val="65000"/>
                <a:buFont typeface="Wingdings" panose="05000000000000000000" pitchFamily="2" charset="2"/>
                <a:buChar char="n"/>
                <a:defRPr sz="2200">
                  <a:solidFill>
                    <a:schemeClr val="tx1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Clr>
                  <a:schemeClr val="accent2"/>
                </a:buClr>
                <a:buSzPct val="70000"/>
                <a:buFont typeface="Wingdings" panose="05000000000000000000" pitchFamily="2" charset="2"/>
                <a:buChar char="q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Clr>
                  <a:schemeClr val="accent1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accent1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accent1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accent1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accent1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9pPr>
            </a:lstStyle>
            <a:p>
              <a:pPr algn="ctr" eaLnBrk="1" hangingPunct="1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en-US" sz="1800" smtClean="0">
                <a:solidFill>
                  <a:srgbClr val="000000"/>
                </a:solidFill>
              </a:endParaRPr>
            </a:p>
          </p:txBody>
        </p:sp>
        <p:sp>
          <p:nvSpPr>
            <p:cNvPr id="49182" name="Oval 32"/>
            <p:cNvSpPr>
              <a:spLocks noChangeAspect="1" noChangeArrowheads="1"/>
            </p:cNvSpPr>
            <p:nvPr/>
          </p:nvSpPr>
          <p:spPr bwMode="auto">
            <a:xfrm rot="5895381">
              <a:off x="3867150" y="3057525"/>
              <a:ext cx="47625" cy="53975"/>
            </a:xfrm>
            <a:prstGeom prst="ellipse">
              <a:avLst/>
            </a:prstGeom>
            <a:solidFill>
              <a:schemeClr val="tx2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>
              <a:lvl1pPr>
                <a:spcBef>
                  <a:spcPct val="20000"/>
                </a:spcBef>
                <a:buClr>
                  <a:schemeClr val="accent1"/>
                </a:buClr>
                <a:buSzPct val="65000"/>
                <a:buFont typeface="Wingdings" panose="05000000000000000000" pitchFamily="2" charset="2"/>
                <a:buChar char="n"/>
                <a:defRPr sz="3000">
                  <a:solidFill>
                    <a:schemeClr val="tx1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Clr>
                  <a:schemeClr val="accent2"/>
                </a:buClr>
                <a:buSzPct val="60000"/>
                <a:buFont typeface="Wingdings" panose="05000000000000000000" pitchFamily="2" charset="2"/>
                <a:buChar char="q"/>
                <a:defRPr sz="2600">
                  <a:solidFill>
                    <a:schemeClr val="tx1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Clr>
                  <a:schemeClr val="accent1"/>
                </a:buClr>
                <a:buSzPct val="65000"/>
                <a:buFont typeface="Wingdings" panose="05000000000000000000" pitchFamily="2" charset="2"/>
                <a:buChar char="n"/>
                <a:defRPr sz="2200">
                  <a:solidFill>
                    <a:schemeClr val="tx1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Clr>
                  <a:schemeClr val="accent2"/>
                </a:buClr>
                <a:buSzPct val="70000"/>
                <a:buFont typeface="Wingdings" panose="05000000000000000000" pitchFamily="2" charset="2"/>
                <a:buChar char="q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Clr>
                  <a:schemeClr val="accent1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accent1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accent1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accent1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accent1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9pPr>
            </a:lstStyle>
            <a:p>
              <a:pPr algn="ctr" eaLnBrk="1" hangingPunct="1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en-US" sz="1800" smtClean="0">
                <a:solidFill>
                  <a:srgbClr val="000000"/>
                </a:solidFill>
              </a:endParaRPr>
            </a:p>
          </p:txBody>
        </p:sp>
        <p:sp>
          <p:nvSpPr>
            <p:cNvPr id="49183" name="Oval 33"/>
            <p:cNvSpPr>
              <a:spLocks noChangeAspect="1" noChangeArrowheads="1"/>
            </p:cNvSpPr>
            <p:nvPr/>
          </p:nvSpPr>
          <p:spPr bwMode="auto">
            <a:xfrm rot="5895381">
              <a:off x="4136231" y="5242719"/>
              <a:ext cx="55563" cy="60325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>
              <a:lvl1pPr>
                <a:spcBef>
                  <a:spcPct val="20000"/>
                </a:spcBef>
                <a:buClr>
                  <a:schemeClr val="accent1"/>
                </a:buClr>
                <a:buSzPct val="65000"/>
                <a:buFont typeface="Wingdings" panose="05000000000000000000" pitchFamily="2" charset="2"/>
                <a:buChar char="n"/>
                <a:defRPr sz="3000">
                  <a:solidFill>
                    <a:schemeClr val="tx1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Clr>
                  <a:schemeClr val="accent2"/>
                </a:buClr>
                <a:buSzPct val="60000"/>
                <a:buFont typeface="Wingdings" panose="05000000000000000000" pitchFamily="2" charset="2"/>
                <a:buChar char="q"/>
                <a:defRPr sz="2600">
                  <a:solidFill>
                    <a:schemeClr val="tx1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Clr>
                  <a:schemeClr val="accent1"/>
                </a:buClr>
                <a:buSzPct val="65000"/>
                <a:buFont typeface="Wingdings" panose="05000000000000000000" pitchFamily="2" charset="2"/>
                <a:buChar char="n"/>
                <a:defRPr sz="2200">
                  <a:solidFill>
                    <a:schemeClr val="tx1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Clr>
                  <a:schemeClr val="accent2"/>
                </a:buClr>
                <a:buSzPct val="70000"/>
                <a:buFont typeface="Wingdings" panose="05000000000000000000" pitchFamily="2" charset="2"/>
                <a:buChar char="q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Clr>
                  <a:schemeClr val="accent1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accent1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accent1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accent1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accent1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9pPr>
            </a:lstStyle>
            <a:p>
              <a:pPr algn="ctr" eaLnBrk="1" hangingPunct="1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en-US" sz="1800" smtClean="0">
                <a:solidFill>
                  <a:srgbClr val="000000"/>
                </a:solidFill>
              </a:endParaRPr>
            </a:p>
          </p:txBody>
        </p:sp>
        <p:sp>
          <p:nvSpPr>
            <p:cNvPr id="49184" name="Oval 34"/>
            <p:cNvSpPr>
              <a:spLocks noChangeAspect="1" noChangeArrowheads="1"/>
            </p:cNvSpPr>
            <p:nvPr/>
          </p:nvSpPr>
          <p:spPr bwMode="auto">
            <a:xfrm rot="5895381">
              <a:off x="3114675" y="4098925"/>
              <a:ext cx="47625" cy="60325"/>
            </a:xfrm>
            <a:prstGeom prst="ellipse">
              <a:avLst/>
            </a:prstGeom>
            <a:solidFill>
              <a:schemeClr val="tx2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>
              <a:lvl1pPr>
                <a:spcBef>
                  <a:spcPct val="20000"/>
                </a:spcBef>
                <a:buClr>
                  <a:schemeClr val="accent1"/>
                </a:buClr>
                <a:buSzPct val="65000"/>
                <a:buFont typeface="Wingdings" panose="05000000000000000000" pitchFamily="2" charset="2"/>
                <a:buChar char="n"/>
                <a:defRPr sz="3000">
                  <a:solidFill>
                    <a:schemeClr val="tx1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Clr>
                  <a:schemeClr val="accent2"/>
                </a:buClr>
                <a:buSzPct val="60000"/>
                <a:buFont typeface="Wingdings" panose="05000000000000000000" pitchFamily="2" charset="2"/>
                <a:buChar char="q"/>
                <a:defRPr sz="2600">
                  <a:solidFill>
                    <a:schemeClr val="tx1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Clr>
                  <a:schemeClr val="accent1"/>
                </a:buClr>
                <a:buSzPct val="65000"/>
                <a:buFont typeface="Wingdings" panose="05000000000000000000" pitchFamily="2" charset="2"/>
                <a:buChar char="n"/>
                <a:defRPr sz="2200">
                  <a:solidFill>
                    <a:schemeClr val="tx1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Clr>
                  <a:schemeClr val="accent2"/>
                </a:buClr>
                <a:buSzPct val="70000"/>
                <a:buFont typeface="Wingdings" panose="05000000000000000000" pitchFamily="2" charset="2"/>
                <a:buChar char="q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Clr>
                  <a:schemeClr val="accent1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accent1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accent1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accent1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accent1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9pPr>
            </a:lstStyle>
            <a:p>
              <a:pPr algn="ctr" eaLnBrk="1" hangingPunct="1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en-US" sz="1800" smtClean="0">
                <a:solidFill>
                  <a:srgbClr val="000000"/>
                </a:solidFill>
              </a:endParaRPr>
            </a:p>
          </p:txBody>
        </p:sp>
        <p:sp>
          <p:nvSpPr>
            <p:cNvPr id="49185" name="Oval 35"/>
            <p:cNvSpPr>
              <a:spLocks noChangeAspect="1" noChangeArrowheads="1"/>
            </p:cNvSpPr>
            <p:nvPr/>
          </p:nvSpPr>
          <p:spPr bwMode="auto">
            <a:xfrm rot="5895381">
              <a:off x="4343400" y="2393950"/>
              <a:ext cx="47625" cy="53975"/>
            </a:xfrm>
            <a:prstGeom prst="ellipse">
              <a:avLst/>
            </a:prstGeom>
            <a:solidFill>
              <a:schemeClr val="tx2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>
              <a:lvl1pPr>
                <a:spcBef>
                  <a:spcPct val="20000"/>
                </a:spcBef>
                <a:buClr>
                  <a:schemeClr val="accent1"/>
                </a:buClr>
                <a:buSzPct val="65000"/>
                <a:buFont typeface="Wingdings" panose="05000000000000000000" pitchFamily="2" charset="2"/>
                <a:buChar char="n"/>
                <a:defRPr sz="3000">
                  <a:solidFill>
                    <a:schemeClr val="tx1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Clr>
                  <a:schemeClr val="accent2"/>
                </a:buClr>
                <a:buSzPct val="60000"/>
                <a:buFont typeface="Wingdings" panose="05000000000000000000" pitchFamily="2" charset="2"/>
                <a:buChar char="q"/>
                <a:defRPr sz="2600">
                  <a:solidFill>
                    <a:schemeClr val="tx1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Clr>
                  <a:schemeClr val="accent1"/>
                </a:buClr>
                <a:buSzPct val="65000"/>
                <a:buFont typeface="Wingdings" panose="05000000000000000000" pitchFamily="2" charset="2"/>
                <a:buChar char="n"/>
                <a:defRPr sz="2200">
                  <a:solidFill>
                    <a:schemeClr val="tx1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Clr>
                  <a:schemeClr val="accent2"/>
                </a:buClr>
                <a:buSzPct val="70000"/>
                <a:buFont typeface="Wingdings" panose="05000000000000000000" pitchFamily="2" charset="2"/>
                <a:buChar char="q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Clr>
                  <a:schemeClr val="accent1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accent1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accent1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accent1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accent1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9pPr>
            </a:lstStyle>
            <a:p>
              <a:pPr algn="ctr" eaLnBrk="1" hangingPunct="1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en-US" sz="1800" smtClean="0">
                <a:solidFill>
                  <a:srgbClr val="000000"/>
                </a:solidFill>
              </a:endParaRPr>
            </a:p>
          </p:txBody>
        </p:sp>
        <p:sp>
          <p:nvSpPr>
            <p:cNvPr id="49186" name="Oval 36"/>
            <p:cNvSpPr>
              <a:spLocks noChangeAspect="1" noChangeArrowheads="1"/>
            </p:cNvSpPr>
            <p:nvPr/>
          </p:nvSpPr>
          <p:spPr bwMode="auto">
            <a:xfrm rot="5895381">
              <a:off x="5304632" y="4144169"/>
              <a:ext cx="58737" cy="60325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>
              <a:lvl1pPr>
                <a:spcBef>
                  <a:spcPct val="20000"/>
                </a:spcBef>
                <a:buClr>
                  <a:schemeClr val="accent1"/>
                </a:buClr>
                <a:buSzPct val="65000"/>
                <a:buFont typeface="Wingdings" panose="05000000000000000000" pitchFamily="2" charset="2"/>
                <a:buChar char="n"/>
                <a:defRPr sz="3000">
                  <a:solidFill>
                    <a:schemeClr val="tx1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Clr>
                  <a:schemeClr val="accent2"/>
                </a:buClr>
                <a:buSzPct val="60000"/>
                <a:buFont typeface="Wingdings" panose="05000000000000000000" pitchFamily="2" charset="2"/>
                <a:buChar char="q"/>
                <a:defRPr sz="2600">
                  <a:solidFill>
                    <a:schemeClr val="tx1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Clr>
                  <a:schemeClr val="accent1"/>
                </a:buClr>
                <a:buSzPct val="65000"/>
                <a:buFont typeface="Wingdings" panose="05000000000000000000" pitchFamily="2" charset="2"/>
                <a:buChar char="n"/>
                <a:defRPr sz="2200">
                  <a:solidFill>
                    <a:schemeClr val="tx1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Clr>
                  <a:schemeClr val="accent2"/>
                </a:buClr>
                <a:buSzPct val="70000"/>
                <a:buFont typeface="Wingdings" panose="05000000000000000000" pitchFamily="2" charset="2"/>
                <a:buChar char="q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Clr>
                  <a:schemeClr val="accent1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accent1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accent1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accent1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accent1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9pPr>
            </a:lstStyle>
            <a:p>
              <a:pPr algn="ctr" eaLnBrk="1" hangingPunct="1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en-US" sz="1800" smtClean="0">
                <a:solidFill>
                  <a:srgbClr val="000000"/>
                </a:solidFill>
              </a:endParaRPr>
            </a:p>
          </p:txBody>
        </p:sp>
        <p:sp>
          <p:nvSpPr>
            <p:cNvPr id="49187" name="Oval 37"/>
            <p:cNvSpPr>
              <a:spLocks noChangeAspect="1" noChangeArrowheads="1"/>
            </p:cNvSpPr>
            <p:nvPr/>
          </p:nvSpPr>
          <p:spPr bwMode="auto">
            <a:xfrm rot="5895381">
              <a:off x="4370388" y="4079875"/>
              <a:ext cx="47625" cy="53975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>
              <a:lvl1pPr>
                <a:spcBef>
                  <a:spcPct val="20000"/>
                </a:spcBef>
                <a:buClr>
                  <a:schemeClr val="accent1"/>
                </a:buClr>
                <a:buSzPct val="65000"/>
                <a:buFont typeface="Wingdings" panose="05000000000000000000" pitchFamily="2" charset="2"/>
                <a:buChar char="n"/>
                <a:defRPr sz="3000">
                  <a:solidFill>
                    <a:schemeClr val="tx1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Clr>
                  <a:schemeClr val="accent2"/>
                </a:buClr>
                <a:buSzPct val="60000"/>
                <a:buFont typeface="Wingdings" panose="05000000000000000000" pitchFamily="2" charset="2"/>
                <a:buChar char="q"/>
                <a:defRPr sz="2600">
                  <a:solidFill>
                    <a:schemeClr val="tx1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Clr>
                  <a:schemeClr val="accent1"/>
                </a:buClr>
                <a:buSzPct val="65000"/>
                <a:buFont typeface="Wingdings" panose="05000000000000000000" pitchFamily="2" charset="2"/>
                <a:buChar char="n"/>
                <a:defRPr sz="2200">
                  <a:solidFill>
                    <a:schemeClr val="tx1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Clr>
                  <a:schemeClr val="accent2"/>
                </a:buClr>
                <a:buSzPct val="70000"/>
                <a:buFont typeface="Wingdings" panose="05000000000000000000" pitchFamily="2" charset="2"/>
                <a:buChar char="q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Clr>
                  <a:schemeClr val="accent1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accent1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accent1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accent1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accent1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9pPr>
            </a:lstStyle>
            <a:p>
              <a:pPr algn="ctr" eaLnBrk="1" hangingPunct="1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en-US" sz="1800" smtClean="0">
                <a:solidFill>
                  <a:srgbClr val="000000"/>
                </a:solidFill>
              </a:endParaRPr>
            </a:p>
          </p:txBody>
        </p:sp>
        <p:sp>
          <p:nvSpPr>
            <p:cNvPr id="49188" name="Oval 38"/>
            <p:cNvSpPr>
              <a:spLocks noChangeAspect="1" noChangeArrowheads="1"/>
            </p:cNvSpPr>
            <p:nvPr/>
          </p:nvSpPr>
          <p:spPr bwMode="auto">
            <a:xfrm rot="5895381">
              <a:off x="5619750" y="3365500"/>
              <a:ext cx="47625" cy="53975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>
              <a:lvl1pPr>
                <a:spcBef>
                  <a:spcPct val="20000"/>
                </a:spcBef>
                <a:buClr>
                  <a:schemeClr val="accent1"/>
                </a:buClr>
                <a:buSzPct val="65000"/>
                <a:buFont typeface="Wingdings" panose="05000000000000000000" pitchFamily="2" charset="2"/>
                <a:buChar char="n"/>
                <a:defRPr sz="3000">
                  <a:solidFill>
                    <a:schemeClr val="tx1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Clr>
                  <a:schemeClr val="accent2"/>
                </a:buClr>
                <a:buSzPct val="60000"/>
                <a:buFont typeface="Wingdings" panose="05000000000000000000" pitchFamily="2" charset="2"/>
                <a:buChar char="q"/>
                <a:defRPr sz="2600">
                  <a:solidFill>
                    <a:schemeClr val="tx1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Clr>
                  <a:schemeClr val="accent1"/>
                </a:buClr>
                <a:buSzPct val="65000"/>
                <a:buFont typeface="Wingdings" panose="05000000000000000000" pitchFamily="2" charset="2"/>
                <a:buChar char="n"/>
                <a:defRPr sz="2200">
                  <a:solidFill>
                    <a:schemeClr val="tx1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Clr>
                  <a:schemeClr val="accent2"/>
                </a:buClr>
                <a:buSzPct val="70000"/>
                <a:buFont typeface="Wingdings" panose="05000000000000000000" pitchFamily="2" charset="2"/>
                <a:buChar char="q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Clr>
                  <a:schemeClr val="accent1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accent1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accent1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accent1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accent1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9pPr>
            </a:lstStyle>
            <a:p>
              <a:pPr algn="ctr" eaLnBrk="1" hangingPunct="1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en-US" sz="1800" smtClean="0">
                <a:solidFill>
                  <a:srgbClr val="000000"/>
                </a:solidFill>
              </a:endParaRPr>
            </a:p>
          </p:txBody>
        </p:sp>
        <p:sp>
          <p:nvSpPr>
            <p:cNvPr id="49189" name="Oval 39"/>
            <p:cNvSpPr>
              <a:spLocks noChangeAspect="1" noChangeArrowheads="1"/>
            </p:cNvSpPr>
            <p:nvPr/>
          </p:nvSpPr>
          <p:spPr bwMode="auto">
            <a:xfrm rot="5895381">
              <a:off x="3087688" y="2346325"/>
              <a:ext cx="47625" cy="60325"/>
            </a:xfrm>
            <a:prstGeom prst="ellipse">
              <a:avLst/>
            </a:prstGeom>
            <a:solidFill>
              <a:schemeClr val="tx2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>
              <a:lvl1pPr>
                <a:spcBef>
                  <a:spcPct val="20000"/>
                </a:spcBef>
                <a:buClr>
                  <a:schemeClr val="accent1"/>
                </a:buClr>
                <a:buSzPct val="65000"/>
                <a:buFont typeface="Wingdings" panose="05000000000000000000" pitchFamily="2" charset="2"/>
                <a:buChar char="n"/>
                <a:defRPr sz="3000">
                  <a:solidFill>
                    <a:schemeClr val="tx1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Clr>
                  <a:schemeClr val="accent2"/>
                </a:buClr>
                <a:buSzPct val="60000"/>
                <a:buFont typeface="Wingdings" panose="05000000000000000000" pitchFamily="2" charset="2"/>
                <a:buChar char="q"/>
                <a:defRPr sz="2600">
                  <a:solidFill>
                    <a:schemeClr val="tx1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Clr>
                  <a:schemeClr val="accent1"/>
                </a:buClr>
                <a:buSzPct val="65000"/>
                <a:buFont typeface="Wingdings" panose="05000000000000000000" pitchFamily="2" charset="2"/>
                <a:buChar char="n"/>
                <a:defRPr sz="2200">
                  <a:solidFill>
                    <a:schemeClr val="tx1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Clr>
                  <a:schemeClr val="accent2"/>
                </a:buClr>
                <a:buSzPct val="70000"/>
                <a:buFont typeface="Wingdings" panose="05000000000000000000" pitchFamily="2" charset="2"/>
                <a:buChar char="q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Clr>
                  <a:schemeClr val="accent1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accent1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accent1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accent1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accent1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9pPr>
            </a:lstStyle>
            <a:p>
              <a:pPr algn="ctr" eaLnBrk="1" hangingPunct="1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en-US" sz="1800" smtClean="0">
                <a:solidFill>
                  <a:srgbClr val="000000"/>
                </a:solidFill>
              </a:endParaRPr>
            </a:p>
          </p:txBody>
        </p:sp>
        <p:sp>
          <p:nvSpPr>
            <p:cNvPr id="49190" name="Oval 40"/>
            <p:cNvSpPr>
              <a:spLocks noChangeAspect="1" noChangeArrowheads="1"/>
            </p:cNvSpPr>
            <p:nvPr/>
          </p:nvSpPr>
          <p:spPr bwMode="auto">
            <a:xfrm rot="5895381">
              <a:off x="5260975" y="3273425"/>
              <a:ext cx="47625" cy="53975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>
              <a:lvl1pPr>
                <a:spcBef>
                  <a:spcPct val="20000"/>
                </a:spcBef>
                <a:buClr>
                  <a:schemeClr val="accent1"/>
                </a:buClr>
                <a:buSzPct val="65000"/>
                <a:buFont typeface="Wingdings" panose="05000000000000000000" pitchFamily="2" charset="2"/>
                <a:buChar char="n"/>
                <a:defRPr sz="3000">
                  <a:solidFill>
                    <a:schemeClr val="tx1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Clr>
                  <a:schemeClr val="accent2"/>
                </a:buClr>
                <a:buSzPct val="60000"/>
                <a:buFont typeface="Wingdings" panose="05000000000000000000" pitchFamily="2" charset="2"/>
                <a:buChar char="q"/>
                <a:defRPr sz="2600">
                  <a:solidFill>
                    <a:schemeClr val="tx1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Clr>
                  <a:schemeClr val="accent1"/>
                </a:buClr>
                <a:buSzPct val="65000"/>
                <a:buFont typeface="Wingdings" panose="05000000000000000000" pitchFamily="2" charset="2"/>
                <a:buChar char="n"/>
                <a:defRPr sz="2200">
                  <a:solidFill>
                    <a:schemeClr val="tx1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Clr>
                  <a:schemeClr val="accent2"/>
                </a:buClr>
                <a:buSzPct val="70000"/>
                <a:buFont typeface="Wingdings" panose="05000000000000000000" pitchFamily="2" charset="2"/>
                <a:buChar char="q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Clr>
                  <a:schemeClr val="accent1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accent1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accent1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accent1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accent1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9pPr>
            </a:lstStyle>
            <a:p>
              <a:pPr algn="ctr" eaLnBrk="1" hangingPunct="1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en-US" sz="1800" smtClean="0">
                <a:solidFill>
                  <a:srgbClr val="000000"/>
                </a:solidFill>
              </a:endParaRPr>
            </a:p>
          </p:txBody>
        </p:sp>
        <p:sp>
          <p:nvSpPr>
            <p:cNvPr id="49191" name="Oval 41"/>
            <p:cNvSpPr>
              <a:spLocks noChangeAspect="1" noChangeArrowheads="1"/>
            </p:cNvSpPr>
            <p:nvPr/>
          </p:nvSpPr>
          <p:spPr bwMode="auto">
            <a:xfrm rot="5895381">
              <a:off x="5117307" y="4718844"/>
              <a:ext cx="58737" cy="53975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>
              <a:lvl1pPr>
                <a:spcBef>
                  <a:spcPct val="20000"/>
                </a:spcBef>
                <a:buClr>
                  <a:schemeClr val="accent1"/>
                </a:buClr>
                <a:buSzPct val="65000"/>
                <a:buFont typeface="Wingdings" panose="05000000000000000000" pitchFamily="2" charset="2"/>
                <a:buChar char="n"/>
                <a:defRPr sz="3000">
                  <a:solidFill>
                    <a:schemeClr val="tx1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Clr>
                  <a:schemeClr val="accent2"/>
                </a:buClr>
                <a:buSzPct val="60000"/>
                <a:buFont typeface="Wingdings" panose="05000000000000000000" pitchFamily="2" charset="2"/>
                <a:buChar char="q"/>
                <a:defRPr sz="2600">
                  <a:solidFill>
                    <a:schemeClr val="tx1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Clr>
                  <a:schemeClr val="accent1"/>
                </a:buClr>
                <a:buSzPct val="65000"/>
                <a:buFont typeface="Wingdings" panose="05000000000000000000" pitchFamily="2" charset="2"/>
                <a:buChar char="n"/>
                <a:defRPr sz="2200">
                  <a:solidFill>
                    <a:schemeClr val="tx1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Clr>
                  <a:schemeClr val="accent2"/>
                </a:buClr>
                <a:buSzPct val="70000"/>
                <a:buFont typeface="Wingdings" panose="05000000000000000000" pitchFamily="2" charset="2"/>
                <a:buChar char="q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Clr>
                  <a:schemeClr val="accent1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accent1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accent1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accent1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accent1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9pPr>
            </a:lstStyle>
            <a:p>
              <a:pPr algn="ctr" eaLnBrk="1" hangingPunct="1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en-US" sz="1800" smtClean="0">
                <a:solidFill>
                  <a:srgbClr val="000000"/>
                </a:solidFill>
              </a:endParaRPr>
            </a:p>
          </p:txBody>
        </p:sp>
        <p:sp>
          <p:nvSpPr>
            <p:cNvPr id="49192" name="Oval 42"/>
            <p:cNvSpPr>
              <a:spLocks noChangeAspect="1" noChangeArrowheads="1"/>
            </p:cNvSpPr>
            <p:nvPr/>
          </p:nvSpPr>
          <p:spPr bwMode="auto">
            <a:xfrm rot="4777107">
              <a:off x="3498057" y="3534569"/>
              <a:ext cx="58737" cy="60325"/>
            </a:xfrm>
            <a:prstGeom prst="ellipse">
              <a:avLst/>
            </a:prstGeom>
            <a:solidFill>
              <a:schemeClr val="tx2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>
              <a:lvl1pPr>
                <a:spcBef>
                  <a:spcPct val="20000"/>
                </a:spcBef>
                <a:buClr>
                  <a:schemeClr val="accent1"/>
                </a:buClr>
                <a:buSzPct val="65000"/>
                <a:buFont typeface="Wingdings" panose="05000000000000000000" pitchFamily="2" charset="2"/>
                <a:buChar char="n"/>
                <a:defRPr sz="3000">
                  <a:solidFill>
                    <a:schemeClr val="tx1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Clr>
                  <a:schemeClr val="accent2"/>
                </a:buClr>
                <a:buSzPct val="60000"/>
                <a:buFont typeface="Wingdings" panose="05000000000000000000" pitchFamily="2" charset="2"/>
                <a:buChar char="q"/>
                <a:defRPr sz="2600">
                  <a:solidFill>
                    <a:schemeClr val="tx1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Clr>
                  <a:schemeClr val="accent1"/>
                </a:buClr>
                <a:buSzPct val="65000"/>
                <a:buFont typeface="Wingdings" panose="05000000000000000000" pitchFamily="2" charset="2"/>
                <a:buChar char="n"/>
                <a:defRPr sz="2200">
                  <a:solidFill>
                    <a:schemeClr val="tx1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Clr>
                  <a:schemeClr val="accent2"/>
                </a:buClr>
                <a:buSzPct val="70000"/>
                <a:buFont typeface="Wingdings" panose="05000000000000000000" pitchFamily="2" charset="2"/>
                <a:buChar char="q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Clr>
                  <a:schemeClr val="accent1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accent1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accent1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accent1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accent1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9pPr>
            </a:lstStyle>
            <a:p>
              <a:pPr algn="ctr" eaLnBrk="1" hangingPunct="1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en-US" sz="1800" smtClean="0">
                <a:solidFill>
                  <a:srgbClr val="000000"/>
                </a:solidFill>
              </a:endParaRPr>
            </a:p>
          </p:txBody>
        </p:sp>
        <p:sp>
          <p:nvSpPr>
            <p:cNvPr id="49193" name="Oval 43"/>
            <p:cNvSpPr>
              <a:spLocks noChangeAspect="1" noChangeArrowheads="1"/>
            </p:cNvSpPr>
            <p:nvPr/>
          </p:nvSpPr>
          <p:spPr bwMode="auto">
            <a:xfrm rot="4777107">
              <a:off x="4651375" y="5254625"/>
              <a:ext cx="47625" cy="53975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>
              <a:lvl1pPr>
                <a:spcBef>
                  <a:spcPct val="20000"/>
                </a:spcBef>
                <a:buClr>
                  <a:schemeClr val="accent1"/>
                </a:buClr>
                <a:buSzPct val="65000"/>
                <a:buFont typeface="Wingdings" panose="05000000000000000000" pitchFamily="2" charset="2"/>
                <a:buChar char="n"/>
                <a:defRPr sz="3000">
                  <a:solidFill>
                    <a:schemeClr val="tx1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Clr>
                  <a:schemeClr val="accent2"/>
                </a:buClr>
                <a:buSzPct val="60000"/>
                <a:buFont typeface="Wingdings" panose="05000000000000000000" pitchFamily="2" charset="2"/>
                <a:buChar char="q"/>
                <a:defRPr sz="2600">
                  <a:solidFill>
                    <a:schemeClr val="tx1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Clr>
                  <a:schemeClr val="accent1"/>
                </a:buClr>
                <a:buSzPct val="65000"/>
                <a:buFont typeface="Wingdings" panose="05000000000000000000" pitchFamily="2" charset="2"/>
                <a:buChar char="n"/>
                <a:defRPr sz="2200">
                  <a:solidFill>
                    <a:schemeClr val="tx1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Clr>
                  <a:schemeClr val="accent2"/>
                </a:buClr>
                <a:buSzPct val="70000"/>
                <a:buFont typeface="Wingdings" panose="05000000000000000000" pitchFamily="2" charset="2"/>
                <a:buChar char="q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Clr>
                  <a:schemeClr val="accent1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accent1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accent1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accent1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accent1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9pPr>
            </a:lstStyle>
            <a:p>
              <a:pPr algn="ctr" eaLnBrk="1" hangingPunct="1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en-US" sz="1800" smtClean="0">
                <a:solidFill>
                  <a:srgbClr val="000000"/>
                </a:solidFill>
              </a:endParaRPr>
            </a:p>
          </p:txBody>
        </p:sp>
        <p:sp>
          <p:nvSpPr>
            <p:cNvPr id="49194" name="Oval 44"/>
            <p:cNvSpPr>
              <a:spLocks noChangeAspect="1" noChangeArrowheads="1"/>
            </p:cNvSpPr>
            <p:nvPr/>
          </p:nvSpPr>
          <p:spPr bwMode="auto">
            <a:xfrm rot="4777107">
              <a:off x="4346575" y="4873625"/>
              <a:ext cx="47625" cy="53975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>
              <a:lvl1pPr>
                <a:spcBef>
                  <a:spcPct val="20000"/>
                </a:spcBef>
                <a:buClr>
                  <a:schemeClr val="accent1"/>
                </a:buClr>
                <a:buSzPct val="65000"/>
                <a:buFont typeface="Wingdings" panose="05000000000000000000" pitchFamily="2" charset="2"/>
                <a:buChar char="n"/>
                <a:defRPr sz="3000">
                  <a:solidFill>
                    <a:schemeClr val="tx1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Clr>
                  <a:schemeClr val="accent2"/>
                </a:buClr>
                <a:buSzPct val="60000"/>
                <a:buFont typeface="Wingdings" panose="05000000000000000000" pitchFamily="2" charset="2"/>
                <a:buChar char="q"/>
                <a:defRPr sz="2600">
                  <a:solidFill>
                    <a:schemeClr val="tx1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Clr>
                  <a:schemeClr val="accent1"/>
                </a:buClr>
                <a:buSzPct val="65000"/>
                <a:buFont typeface="Wingdings" panose="05000000000000000000" pitchFamily="2" charset="2"/>
                <a:buChar char="n"/>
                <a:defRPr sz="2200">
                  <a:solidFill>
                    <a:schemeClr val="tx1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Clr>
                  <a:schemeClr val="accent2"/>
                </a:buClr>
                <a:buSzPct val="70000"/>
                <a:buFont typeface="Wingdings" panose="05000000000000000000" pitchFamily="2" charset="2"/>
                <a:buChar char="q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Clr>
                  <a:schemeClr val="accent1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accent1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accent1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accent1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accent1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9pPr>
            </a:lstStyle>
            <a:p>
              <a:pPr algn="ctr" eaLnBrk="1" hangingPunct="1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en-US" sz="1800" smtClean="0">
                <a:solidFill>
                  <a:srgbClr val="000000"/>
                </a:solidFill>
              </a:endParaRPr>
            </a:p>
          </p:txBody>
        </p:sp>
        <p:sp>
          <p:nvSpPr>
            <p:cNvPr id="49195" name="Oval 45"/>
            <p:cNvSpPr>
              <a:spLocks noChangeAspect="1" noChangeArrowheads="1"/>
            </p:cNvSpPr>
            <p:nvPr/>
          </p:nvSpPr>
          <p:spPr bwMode="auto">
            <a:xfrm rot="4777107">
              <a:off x="2817019" y="3736181"/>
              <a:ext cx="58738" cy="53975"/>
            </a:xfrm>
            <a:prstGeom prst="ellipse">
              <a:avLst/>
            </a:prstGeom>
            <a:solidFill>
              <a:schemeClr val="tx2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>
              <a:lvl1pPr>
                <a:spcBef>
                  <a:spcPct val="20000"/>
                </a:spcBef>
                <a:buClr>
                  <a:schemeClr val="accent1"/>
                </a:buClr>
                <a:buSzPct val="65000"/>
                <a:buFont typeface="Wingdings" panose="05000000000000000000" pitchFamily="2" charset="2"/>
                <a:buChar char="n"/>
                <a:defRPr sz="3000">
                  <a:solidFill>
                    <a:schemeClr val="tx1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Clr>
                  <a:schemeClr val="accent2"/>
                </a:buClr>
                <a:buSzPct val="60000"/>
                <a:buFont typeface="Wingdings" panose="05000000000000000000" pitchFamily="2" charset="2"/>
                <a:buChar char="q"/>
                <a:defRPr sz="2600">
                  <a:solidFill>
                    <a:schemeClr val="tx1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Clr>
                  <a:schemeClr val="accent1"/>
                </a:buClr>
                <a:buSzPct val="65000"/>
                <a:buFont typeface="Wingdings" panose="05000000000000000000" pitchFamily="2" charset="2"/>
                <a:buChar char="n"/>
                <a:defRPr sz="2200">
                  <a:solidFill>
                    <a:schemeClr val="tx1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Clr>
                  <a:schemeClr val="accent2"/>
                </a:buClr>
                <a:buSzPct val="70000"/>
                <a:buFont typeface="Wingdings" panose="05000000000000000000" pitchFamily="2" charset="2"/>
                <a:buChar char="q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Clr>
                  <a:schemeClr val="accent1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accent1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accent1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accent1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accent1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9pPr>
            </a:lstStyle>
            <a:p>
              <a:pPr algn="ctr" eaLnBrk="1" hangingPunct="1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en-US" sz="1800" smtClean="0">
                <a:solidFill>
                  <a:srgbClr val="000000"/>
                </a:solidFill>
              </a:endParaRPr>
            </a:p>
          </p:txBody>
        </p:sp>
        <p:sp>
          <p:nvSpPr>
            <p:cNvPr id="49196" name="Oval 46"/>
            <p:cNvSpPr>
              <a:spLocks noChangeAspect="1" noChangeArrowheads="1"/>
            </p:cNvSpPr>
            <p:nvPr/>
          </p:nvSpPr>
          <p:spPr bwMode="auto">
            <a:xfrm rot="4777107">
              <a:off x="3713163" y="2776537"/>
              <a:ext cx="50800" cy="53975"/>
            </a:xfrm>
            <a:prstGeom prst="ellipse">
              <a:avLst/>
            </a:prstGeom>
            <a:solidFill>
              <a:schemeClr val="tx2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>
              <a:lvl1pPr>
                <a:spcBef>
                  <a:spcPct val="20000"/>
                </a:spcBef>
                <a:buClr>
                  <a:schemeClr val="accent1"/>
                </a:buClr>
                <a:buSzPct val="65000"/>
                <a:buFont typeface="Wingdings" panose="05000000000000000000" pitchFamily="2" charset="2"/>
                <a:buChar char="n"/>
                <a:defRPr sz="3000">
                  <a:solidFill>
                    <a:schemeClr val="tx1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Clr>
                  <a:schemeClr val="accent2"/>
                </a:buClr>
                <a:buSzPct val="60000"/>
                <a:buFont typeface="Wingdings" panose="05000000000000000000" pitchFamily="2" charset="2"/>
                <a:buChar char="q"/>
                <a:defRPr sz="2600">
                  <a:solidFill>
                    <a:schemeClr val="tx1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Clr>
                  <a:schemeClr val="accent1"/>
                </a:buClr>
                <a:buSzPct val="65000"/>
                <a:buFont typeface="Wingdings" panose="05000000000000000000" pitchFamily="2" charset="2"/>
                <a:buChar char="n"/>
                <a:defRPr sz="2200">
                  <a:solidFill>
                    <a:schemeClr val="tx1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Clr>
                  <a:schemeClr val="accent2"/>
                </a:buClr>
                <a:buSzPct val="70000"/>
                <a:buFont typeface="Wingdings" panose="05000000000000000000" pitchFamily="2" charset="2"/>
                <a:buChar char="q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Clr>
                  <a:schemeClr val="accent1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accent1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accent1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accent1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accent1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9pPr>
            </a:lstStyle>
            <a:p>
              <a:pPr algn="ctr" eaLnBrk="1" hangingPunct="1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en-US" sz="1800" smtClean="0">
                <a:solidFill>
                  <a:srgbClr val="000000"/>
                </a:solidFill>
              </a:endParaRPr>
            </a:p>
          </p:txBody>
        </p:sp>
        <p:sp>
          <p:nvSpPr>
            <p:cNvPr id="49197" name="Oval 47"/>
            <p:cNvSpPr>
              <a:spLocks noChangeAspect="1" noChangeArrowheads="1"/>
            </p:cNvSpPr>
            <p:nvPr/>
          </p:nvSpPr>
          <p:spPr bwMode="auto">
            <a:xfrm rot="4777107">
              <a:off x="4356101" y="4364037"/>
              <a:ext cx="50800" cy="60325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>
              <a:lvl1pPr>
                <a:spcBef>
                  <a:spcPct val="20000"/>
                </a:spcBef>
                <a:buClr>
                  <a:schemeClr val="accent1"/>
                </a:buClr>
                <a:buSzPct val="65000"/>
                <a:buFont typeface="Wingdings" panose="05000000000000000000" pitchFamily="2" charset="2"/>
                <a:buChar char="n"/>
                <a:defRPr sz="3000">
                  <a:solidFill>
                    <a:schemeClr val="tx1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Clr>
                  <a:schemeClr val="accent2"/>
                </a:buClr>
                <a:buSzPct val="60000"/>
                <a:buFont typeface="Wingdings" panose="05000000000000000000" pitchFamily="2" charset="2"/>
                <a:buChar char="q"/>
                <a:defRPr sz="2600">
                  <a:solidFill>
                    <a:schemeClr val="tx1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Clr>
                  <a:schemeClr val="accent1"/>
                </a:buClr>
                <a:buSzPct val="65000"/>
                <a:buFont typeface="Wingdings" panose="05000000000000000000" pitchFamily="2" charset="2"/>
                <a:buChar char="n"/>
                <a:defRPr sz="2200">
                  <a:solidFill>
                    <a:schemeClr val="tx1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Clr>
                  <a:schemeClr val="accent2"/>
                </a:buClr>
                <a:buSzPct val="70000"/>
                <a:buFont typeface="Wingdings" panose="05000000000000000000" pitchFamily="2" charset="2"/>
                <a:buChar char="q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Clr>
                  <a:schemeClr val="accent1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accent1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accent1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accent1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accent1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9pPr>
            </a:lstStyle>
            <a:p>
              <a:pPr algn="ctr" eaLnBrk="1" hangingPunct="1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en-US" sz="1800" smtClean="0">
                <a:solidFill>
                  <a:srgbClr val="000000"/>
                </a:solidFill>
              </a:endParaRPr>
            </a:p>
          </p:txBody>
        </p:sp>
        <p:sp>
          <p:nvSpPr>
            <p:cNvPr id="49198" name="Oval 48"/>
            <p:cNvSpPr>
              <a:spLocks noChangeAspect="1" noChangeArrowheads="1"/>
            </p:cNvSpPr>
            <p:nvPr/>
          </p:nvSpPr>
          <p:spPr bwMode="auto">
            <a:xfrm rot="4777107">
              <a:off x="2504282" y="3082131"/>
              <a:ext cx="58738" cy="60325"/>
            </a:xfrm>
            <a:prstGeom prst="ellipse">
              <a:avLst/>
            </a:prstGeom>
            <a:solidFill>
              <a:schemeClr val="tx2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>
              <a:lvl1pPr>
                <a:spcBef>
                  <a:spcPct val="20000"/>
                </a:spcBef>
                <a:buClr>
                  <a:schemeClr val="accent1"/>
                </a:buClr>
                <a:buSzPct val="65000"/>
                <a:buFont typeface="Wingdings" panose="05000000000000000000" pitchFamily="2" charset="2"/>
                <a:buChar char="n"/>
                <a:defRPr sz="3000">
                  <a:solidFill>
                    <a:schemeClr val="tx1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Clr>
                  <a:schemeClr val="accent2"/>
                </a:buClr>
                <a:buSzPct val="60000"/>
                <a:buFont typeface="Wingdings" panose="05000000000000000000" pitchFamily="2" charset="2"/>
                <a:buChar char="q"/>
                <a:defRPr sz="2600">
                  <a:solidFill>
                    <a:schemeClr val="tx1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Clr>
                  <a:schemeClr val="accent1"/>
                </a:buClr>
                <a:buSzPct val="65000"/>
                <a:buFont typeface="Wingdings" panose="05000000000000000000" pitchFamily="2" charset="2"/>
                <a:buChar char="n"/>
                <a:defRPr sz="2200">
                  <a:solidFill>
                    <a:schemeClr val="tx1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Clr>
                  <a:schemeClr val="accent2"/>
                </a:buClr>
                <a:buSzPct val="70000"/>
                <a:buFont typeface="Wingdings" panose="05000000000000000000" pitchFamily="2" charset="2"/>
                <a:buChar char="q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Clr>
                  <a:schemeClr val="accent1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accent1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accent1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accent1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accent1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9pPr>
            </a:lstStyle>
            <a:p>
              <a:pPr algn="ctr" eaLnBrk="1" hangingPunct="1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en-US" sz="1800" smtClean="0">
                <a:solidFill>
                  <a:srgbClr val="000000"/>
                </a:solidFill>
              </a:endParaRPr>
            </a:p>
          </p:txBody>
        </p:sp>
        <p:sp>
          <p:nvSpPr>
            <p:cNvPr id="49199" name="Oval 49"/>
            <p:cNvSpPr>
              <a:spLocks noChangeAspect="1" noChangeArrowheads="1"/>
            </p:cNvSpPr>
            <p:nvPr/>
          </p:nvSpPr>
          <p:spPr bwMode="auto">
            <a:xfrm rot="4777107">
              <a:off x="3937794" y="5049044"/>
              <a:ext cx="55563" cy="60325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>
              <a:lvl1pPr>
                <a:spcBef>
                  <a:spcPct val="20000"/>
                </a:spcBef>
                <a:buClr>
                  <a:schemeClr val="accent1"/>
                </a:buClr>
                <a:buSzPct val="65000"/>
                <a:buFont typeface="Wingdings" panose="05000000000000000000" pitchFamily="2" charset="2"/>
                <a:buChar char="n"/>
                <a:defRPr sz="3000">
                  <a:solidFill>
                    <a:schemeClr val="tx1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Clr>
                  <a:schemeClr val="accent2"/>
                </a:buClr>
                <a:buSzPct val="60000"/>
                <a:buFont typeface="Wingdings" panose="05000000000000000000" pitchFamily="2" charset="2"/>
                <a:buChar char="q"/>
                <a:defRPr sz="2600">
                  <a:solidFill>
                    <a:schemeClr val="tx1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Clr>
                  <a:schemeClr val="accent1"/>
                </a:buClr>
                <a:buSzPct val="65000"/>
                <a:buFont typeface="Wingdings" panose="05000000000000000000" pitchFamily="2" charset="2"/>
                <a:buChar char="n"/>
                <a:defRPr sz="2200">
                  <a:solidFill>
                    <a:schemeClr val="tx1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Clr>
                  <a:schemeClr val="accent2"/>
                </a:buClr>
                <a:buSzPct val="70000"/>
                <a:buFont typeface="Wingdings" panose="05000000000000000000" pitchFamily="2" charset="2"/>
                <a:buChar char="q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Clr>
                  <a:schemeClr val="accent1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accent1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accent1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accent1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accent1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9pPr>
            </a:lstStyle>
            <a:p>
              <a:pPr algn="ctr" eaLnBrk="1" hangingPunct="1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en-US" sz="1800" smtClean="0">
                <a:solidFill>
                  <a:srgbClr val="000000"/>
                </a:solidFill>
              </a:endParaRPr>
            </a:p>
          </p:txBody>
        </p:sp>
        <p:sp>
          <p:nvSpPr>
            <p:cNvPr id="49200" name="Oval 50"/>
            <p:cNvSpPr>
              <a:spLocks noChangeAspect="1" noChangeArrowheads="1"/>
            </p:cNvSpPr>
            <p:nvPr/>
          </p:nvSpPr>
          <p:spPr bwMode="auto">
            <a:xfrm rot="4777107">
              <a:off x="5303838" y="4756150"/>
              <a:ext cx="50800" cy="60325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>
              <a:lvl1pPr>
                <a:spcBef>
                  <a:spcPct val="20000"/>
                </a:spcBef>
                <a:buClr>
                  <a:schemeClr val="accent1"/>
                </a:buClr>
                <a:buSzPct val="65000"/>
                <a:buFont typeface="Wingdings" panose="05000000000000000000" pitchFamily="2" charset="2"/>
                <a:buChar char="n"/>
                <a:defRPr sz="3000">
                  <a:solidFill>
                    <a:schemeClr val="tx1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Clr>
                  <a:schemeClr val="accent2"/>
                </a:buClr>
                <a:buSzPct val="60000"/>
                <a:buFont typeface="Wingdings" panose="05000000000000000000" pitchFamily="2" charset="2"/>
                <a:buChar char="q"/>
                <a:defRPr sz="2600">
                  <a:solidFill>
                    <a:schemeClr val="tx1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Clr>
                  <a:schemeClr val="accent1"/>
                </a:buClr>
                <a:buSzPct val="65000"/>
                <a:buFont typeface="Wingdings" panose="05000000000000000000" pitchFamily="2" charset="2"/>
                <a:buChar char="n"/>
                <a:defRPr sz="2200">
                  <a:solidFill>
                    <a:schemeClr val="tx1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Clr>
                  <a:schemeClr val="accent2"/>
                </a:buClr>
                <a:buSzPct val="70000"/>
                <a:buFont typeface="Wingdings" panose="05000000000000000000" pitchFamily="2" charset="2"/>
                <a:buChar char="q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Clr>
                  <a:schemeClr val="accent1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accent1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accent1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accent1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accent1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9pPr>
            </a:lstStyle>
            <a:p>
              <a:pPr algn="ctr" eaLnBrk="1" hangingPunct="1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en-US" sz="1800" smtClean="0">
                <a:solidFill>
                  <a:srgbClr val="000000"/>
                </a:solidFill>
              </a:endParaRPr>
            </a:p>
          </p:txBody>
        </p:sp>
        <p:sp>
          <p:nvSpPr>
            <p:cNvPr id="237619" name="Text Box 51"/>
            <p:cNvSpPr txBox="1">
              <a:spLocks noChangeArrowheads="1"/>
            </p:cNvSpPr>
            <p:nvPr/>
          </p:nvSpPr>
          <p:spPr bwMode="auto">
            <a:xfrm>
              <a:off x="5486400" y="1676400"/>
              <a:ext cx="3200400" cy="3968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spcBef>
                  <a:spcPct val="20000"/>
                </a:spcBef>
                <a:buClr>
                  <a:schemeClr val="accent1"/>
                </a:buClr>
                <a:buSzPct val="65000"/>
                <a:buFont typeface="Wingdings" panose="05000000000000000000" pitchFamily="2" charset="2"/>
                <a:buChar char="n"/>
                <a:defRPr sz="3000">
                  <a:solidFill>
                    <a:schemeClr val="tx1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Clr>
                  <a:schemeClr val="accent2"/>
                </a:buClr>
                <a:buSzPct val="60000"/>
                <a:buFont typeface="Wingdings" panose="05000000000000000000" pitchFamily="2" charset="2"/>
                <a:buChar char="q"/>
                <a:defRPr sz="2600">
                  <a:solidFill>
                    <a:schemeClr val="tx1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Clr>
                  <a:schemeClr val="accent1"/>
                </a:buClr>
                <a:buSzPct val="65000"/>
                <a:buFont typeface="Wingdings" panose="05000000000000000000" pitchFamily="2" charset="2"/>
                <a:buChar char="n"/>
                <a:defRPr sz="2200">
                  <a:solidFill>
                    <a:schemeClr val="tx1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Clr>
                  <a:schemeClr val="accent2"/>
                </a:buClr>
                <a:buSzPct val="70000"/>
                <a:buFont typeface="Wingdings" panose="05000000000000000000" pitchFamily="2" charset="2"/>
                <a:buChar char="q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Clr>
                  <a:schemeClr val="accent1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accent1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accent1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accent1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accent1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9pPr>
            </a:lstStyle>
            <a:p>
              <a:pPr algn="ctr" eaLnBrk="1" hangingPunct="1">
                <a:spcBef>
                  <a:spcPct val="50000"/>
                </a:spcBef>
                <a:buClr>
                  <a:srgbClr val="000000"/>
                </a:buClr>
                <a:buSzTx/>
                <a:buFontTx/>
                <a:buNone/>
              </a:pPr>
              <a:r>
                <a:rPr lang="en-US" altLang="zh-CN" sz="2000" b="1" i="1" smtClean="0">
                  <a:solidFill>
                    <a:srgbClr val="000000"/>
                  </a:solidFill>
                  <a:latin typeface="Tahoma" panose="020B0604030504040204" pitchFamily="34" charset="0"/>
                </a:rPr>
                <a:t>f</a:t>
              </a:r>
              <a:r>
                <a:rPr lang="en-US" altLang="zh-CN" sz="2000" i="1" smtClean="0">
                  <a:solidFill>
                    <a:srgbClr val="000000"/>
                  </a:solidFill>
                  <a:latin typeface="Tahoma" panose="020B0604030504040204" pitchFamily="34" charset="0"/>
                </a:rPr>
                <a:t>(</a:t>
              </a:r>
              <a:r>
                <a:rPr lang="en-US" altLang="zh-CN" sz="2000" b="1" i="1" smtClean="0">
                  <a:solidFill>
                    <a:srgbClr val="000000"/>
                  </a:solidFill>
                  <a:latin typeface="Tahoma" panose="020B0604030504040204" pitchFamily="34" charset="0"/>
                </a:rPr>
                <a:t>x</a:t>
              </a:r>
              <a:r>
                <a:rPr lang="en-US" altLang="zh-CN" sz="2000" i="1" smtClean="0">
                  <a:solidFill>
                    <a:srgbClr val="000000"/>
                  </a:solidFill>
                  <a:latin typeface="Tahoma" panose="020B0604030504040204" pitchFamily="34" charset="0"/>
                </a:rPr>
                <a:t>,</a:t>
              </a:r>
              <a:r>
                <a:rPr lang="en-US" altLang="zh-CN" sz="2000" b="1" i="1" smtClean="0">
                  <a:solidFill>
                    <a:srgbClr val="00CC00"/>
                  </a:solidFill>
                  <a:latin typeface="Tahoma" panose="020B0604030504040204" pitchFamily="34" charset="0"/>
                </a:rPr>
                <a:t>w</a:t>
              </a:r>
              <a:r>
                <a:rPr lang="en-US" altLang="zh-CN" sz="2000" i="1" smtClean="0">
                  <a:solidFill>
                    <a:srgbClr val="00CC00"/>
                  </a:solidFill>
                  <a:latin typeface="Tahoma" panose="020B0604030504040204" pitchFamily="34" charset="0"/>
                </a:rPr>
                <a:t>,b</a:t>
              </a:r>
              <a:r>
                <a:rPr lang="en-US" altLang="zh-CN" sz="2000" i="1" smtClean="0">
                  <a:solidFill>
                    <a:srgbClr val="000000"/>
                  </a:solidFill>
                  <a:latin typeface="Tahoma" panose="020B0604030504040204" pitchFamily="34" charset="0"/>
                </a:rPr>
                <a:t>) = sign(</a:t>
              </a:r>
              <a:r>
                <a:rPr lang="en-US" altLang="zh-CN" sz="2000" b="1" i="1" smtClean="0">
                  <a:solidFill>
                    <a:srgbClr val="00CC00"/>
                  </a:solidFill>
                  <a:latin typeface="Tahoma" panose="020B0604030504040204" pitchFamily="34" charset="0"/>
                </a:rPr>
                <a:t>w</a:t>
              </a:r>
              <a:r>
                <a:rPr lang="en-US" altLang="zh-CN" sz="2000" b="1" i="1" smtClean="0">
                  <a:solidFill>
                    <a:srgbClr val="000000"/>
                  </a:solidFill>
                  <a:latin typeface="Tahoma" panose="020B0604030504040204" pitchFamily="34" charset="0"/>
                </a:rPr>
                <a:t> x</a:t>
              </a:r>
              <a:r>
                <a:rPr lang="en-US" altLang="zh-CN" sz="2000" i="1" smtClean="0">
                  <a:solidFill>
                    <a:srgbClr val="00CC00"/>
                  </a:solidFill>
                  <a:latin typeface="Tahoma" panose="020B0604030504040204" pitchFamily="34" charset="0"/>
                </a:rPr>
                <a:t> </a:t>
              </a:r>
              <a:r>
                <a:rPr lang="en-US" altLang="zh-CN" sz="2000" i="1" smtClean="0">
                  <a:solidFill>
                    <a:srgbClr val="000000"/>
                  </a:solidFill>
                  <a:latin typeface="Tahoma" panose="020B0604030504040204" pitchFamily="34" charset="0"/>
                </a:rPr>
                <a:t>+ </a:t>
              </a:r>
              <a:r>
                <a:rPr lang="en-US" altLang="zh-CN" sz="2000" i="1" smtClean="0">
                  <a:solidFill>
                    <a:srgbClr val="00CC00"/>
                  </a:solidFill>
                  <a:latin typeface="Tahoma" panose="020B0604030504040204" pitchFamily="34" charset="0"/>
                </a:rPr>
                <a:t>b</a:t>
              </a:r>
              <a:r>
                <a:rPr lang="en-US" altLang="zh-CN" sz="2000" i="1" smtClean="0">
                  <a:solidFill>
                    <a:srgbClr val="000000"/>
                  </a:solidFill>
                  <a:latin typeface="Tahoma" panose="020B0604030504040204" pitchFamily="34" charset="0"/>
                </a:rPr>
                <a:t>)</a:t>
              </a:r>
            </a:p>
          </p:txBody>
        </p:sp>
        <p:sp>
          <p:nvSpPr>
            <p:cNvPr id="237620" name="Line 52"/>
            <p:cNvSpPr>
              <a:spLocks noChangeShapeType="1"/>
            </p:cNvSpPr>
            <p:nvPr/>
          </p:nvSpPr>
          <p:spPr bwMode="auto">
            <a:xfrm flipV="1">
              <a:off x="2590800" y="2209800"/>
              <a:ext cx="3124200" cy="3048000"/>
            </a:xfrm>
            <a:prstGeom prst="line">
              <a:avLst/>
            </a:prstGeom>
            <a:noFill/>
            <a:ln w="12700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anchor="ctr">
              <a:spAutoFit/>
            </a:bodyPr>
            <a:lstStyle/>
            <a:p>
              <a:endParaRPr lang="en-US" sz="1800" smtClean="0">
                <a:solidFill>
                  <a:srgbClr val="000000"/>
                </a:solidFill>
              </a:endParaRPr>
            </a:p>
          </p:txBody>
        </p:sp>
        <p:sp>
          <p:nvSpPr>
            <p:cNvPr id="49203" name="Text Box 53"/>
            <p:cNvSpPr txBox="1">
              <a:spLocks noChangeArrowheads="1"/>
            </p:cNvSpPr>
            <p:nvPr/>
          </p:nvSpPr>
          <p:spPr bwMode="auto">
            <a:xfrm>
              <a:off x="6248400" y="3200400"/>
              <a:ext cx="2438400" cy="3968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spcBef>
                  <a:spcPct val="20000"/>
                </a:spcBef>
                <a:buClr>
                  <a:schemeClr val="accent1"/>
                </a:buClr>
                <a:buSzPct val="65000"/>
                <a:buFont typeface="Wingdings" panose="05000000000000000000" pitchFamily="2" charset="2"/>
                <a:buChar char="n"/>
                <a:defRPr sz="3000">
                  <a:solidFill>
                    <a:schemeClr val="tx1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Clr>
                  <a:schemeClr val="accent2"/>
                </a:buClr>
                <a:buSzPct val="60000"/>
                <a:buFont typeface="Wingdings" panose="05000000000000000000" pitchFamily="2" charset="2"/>
                <a:buChar char="q"/>
                <a:defRPr sz="2600">
                  <a:solidFill>
                    <a:schemeClr val="tx1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Clr>
                  <a:schemeClr val="accent1"/>
                </a:buClr>
                <a:buSzPct val="65000"/>
                <a:buFont typeface="Wingdings" panose="05000000000000000000" pitchFamily="2" charset="2"/>
                <a:buChar char="n"/>
                <a:defRPr sz="2200">
                  <a:solidFill>
                    <a:schemeClr val="tx1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Clr>
                  <a:schemeClr val="accent2"/>
                </a:buClr>
                <a:buSzPct val="70000"/>
                <a:buFont typeface="Wingdings" panose="05000000000000000000" pitchFamily="2" charset="2"/>
                <a:buChar char="q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Clr>
                  <a:schemeClr val="accent1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accent1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accent1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accent1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accent1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9pPr>
            </a:lstStyle>
            <a:p>
              <a:pPr eaLnBrk="1" hangingPunct="1">
                <a:spcBef>
                  <a:spcPct val="50000"/>
                </a:spcBef>
                <a:buClr>
                  <a:srgbClr val="000000"/>
                </a:buClr>
                <a:buSzTx/>
                <a:buFontTx/>
                <a:buNone/>
              </a:pPr>
              <a:endParaRPr lang="en-US" altLang="en-US" sz="2000" smtClean="0">
                <a:solidFill>
                  <a:srgbClr val="000000"/>
                </a:solidFill>
                <a:latin typeface="Tahoma" panose="020B0604030504040204" pitchFamily="34" charset="0"/>
              </a:endParaRPr>
            </a:p>
          </p:txBody>
        </p:sp>
        <p:sp>
          <p:nvSpPr>
            <p:cNvPr id="49204" name="Text Box 54"/>
            <p:cNvSpPr txBox="1">
              <a:spLocks noChangeArrowheads="1"/>
            </p:cNvSpPr>
            <p:nvPr/>
          </p:nvSpPr>
          <p:spPr bwMode="auto">
            <a:xfrm>
              <a:off x="6400800" y="3352800"/>
              <a:ext cx="2209800" cy="7016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spcBef>
                  <a:spcPct val="20000"/>
                </a:spcBef>
                <a:buClr>
                  <a:schemeClr val="accent1"/>
                </a:buClr>
                <a:buSzPct val="65000"/>
                <a:buFont typeface="Wingdings" panose="05000000000000000000" pitchFamily="2" charset="2"/>
                <a:buChar char="n"/>
                <a:defRPr sz="3000">
                  <a:solidFill>
                    <a:schemeClr val="tx1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Clr>
                  <a:schemeClr val="accent2"/>
                </a:buClr>
                <a:buSzPct val="60000"/>
                <a:buFont typeface="Wingdings" panose="05000000000000000000" pitchFamily="2" charset="2"/>
                <a:buChar char="q"/>
                <a:defRPr sz="2600">
                  <a:solidFill>
                    <a:schemeClr val="tx1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Clr>
                  <a:schemeClr val="accent1"/>
                </a:buClr>
                <a:buSzPct val="65000"/>
                <a:buFont typeface="Wingdings" panose="05000000000000000000" pitchFamily="2" charset="2"/>
                <a:buChar char="n"/>
                <a:defRPr sz="2200">
                  <a:solidFill>
                    <a:schemeClr val="tx1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Clr>
                  <a:schemeClr val="accent2"/>
                </a:buClr>
                <a:buSzPct val="70000"/>
                <a:buFont typeface="Wingdings" panose="05000000000000000000" pitchFamily="2" charset="2"/>
                <a:buChar char="q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Clr>
                  <a:schemeClr val="accent1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accent1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accent1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accent1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accent1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9pPr>
            </a:lstStyle>
            <a:p>
              <a:pPr eaLnBrk="1" hangingPunct="1">
                <a:spcBef>
                  <a:spcPct val="50000"/>
                </a:spcBef>
                <a:buClr>
                  <a:srgbClr val="000000"/>
                </a:buClr>
                <a:buSzTx/>
                <a:buFontTx/>
                <a:buNone/>
              </a:pPr>
              <a:r>
                <a:rPr lang="en-US" altLang="zh-CN" sz="2000" smtClean="0">
                  <a:solidFill>
                    <a:srgbClr val="000000"/>
                  </a:solidFill>
                  <a:latin typeface="Tahoma" panose="020B0604030504040204" pitchFamily="34" charset="0"/>
                </a:rPr>
                <a:t>How would you classify this data?</a:t>
              </a:r>
            </a:p>
          </p:txBody>
        </p:sp>
        <p:sp>
          <p:nvSpPr>
            <p:cNvPr id="237623" name="Rectangle 55"/>
            <p:cNvSpPr>
              <a:spLocks noChangeArrowheads="1"/>
            </p:cNvSpPr>
            <p:nvPr/>
          </p:nvSpPr>
          <p:spPr bwMode="auto">
            <a:xfrm rot="-2733336">
              <a:off x="3962400" y="2743200"/>
              <a:ext cx="2438400" cy="3048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>
                <a:spcBef>
                  <a:spcPct val="20000"/>
                </a:spcBef>
                <a:buClr>
                  <a:schemeClr val="accent1"/>
                </a:buClr>
                <a:buSzPct val="65000"/>
                <a:buFont typeface="Wingdings" panose="05000000000000000000" pitchFamily="2" charset="2"/>
                <a:buChar char="n"/>
                <a:defRPr sz="3000">
                  <a:solidFill>
                    <a:schemeClr val="tx1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Clr>
                  <a:schemeClr val="accent2"/>
                </a:buClr>
                <a:buSzPct val="60000"/>
                <a:buFont typeface="Wingdings" panose="05000000000000000000" pitchFamily="2" charset="2"/>
                <a:buChar char="q"/>
                <a:defRPr sz="2600">
                  <a:solidFill>
                    <a:schemeClr val="tx1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Clr>
                  <a:schemeClr val="accent1"/>
                </a:buClr>
                <a:buSzPct val="65000"/>
                <a:buFont typeface="Wingdings" panose="05000000000000000000" pitchFamily="2" charset="2"/>
                <a:buChar char="n"/>
                <a:defRPr sz="2200">
                  <a:solidFill>
                    <a:schemeClr val="tx1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Clr>
                  <a:schemeClr val="accent2"/>
                </a:buClr>
                <a:buSzPct val="70000"/>
                <a:buFont typeface="Wingdings" panose="05000000000000000000" pitchFamily="2" charset="2"/>
                <a:buChar char="q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Clr>
                  <a:schemeClr val="accent1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accent1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accent1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accent1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accent1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9pPr>
            </a:lstStyle>
            <a:p>
              <a:pPr algn="ctr" eaLnBrk="1" hangingPunct="1">
                <a:spcBef>
                  <a:spcPct val="0"/>
                </a:spcBef>
                <a:buClrTx/>
                <a:buSzTx/>
                <a:buFontTx/>
                <a:buNone/>
              </a:pPr>
              <a:r>
                <a:rPr lang="en-US" altLang="zh-CN" sz="1800" b="1" i="1" smtClean="0">
                  <a:solidFill>
                    <a:srgbClr val="00CC00"/>
                  </a:solidFill>
                </a:rPr>
                <a:t>w</a:t>
              </a:r>
              <a:r>
                <a:rPr lang="en-US" altLang="zh-CN" sz="1800" b="1" i="1" smtClean="0">
                  <a:solidFill>
                    <a:srgbClr val="000000"/>
                  </a:solidFill>
                </a:rPr>
                <a:t> x</a:t>
              </a:r>
              <a:r>
                <a:rPr lang="en-US" altLang="zh-CN" sz="1800" b="1" i="1" smtClean="0">
                  <a:solidFill>
                    <a:srgbClr val="00CC00"/>
                  </a:solidFill>
                </a:rPr>
                <a:t> </a:t>
              </a:r>
              <a:r>
                <a:rPr lang="en-US" altLang="zh-CN" sz="1800" b="1" i="1" smtClean="0">
                  <a:solidFill>
                    <a:srgbClr val="000000"/>
                  </a:solidFill>
                </a:rPr>
                <a:t>+ </a:t>
              </a:r>
              <a:r>
                <a:rPr lang="en-US" altLang="zh-CN" sz="1800" b="1" i="1" smtClean="0">
                  <a:solidFill>
                    <a:srgbClr val="00CC00"/>
                  </a:solidFill>
                </a:rPr>
                <a:t>b=0</a:t>
              </a:r>
            </a:p>
          </p:txBody>
        </p:sp>
        <p:sp>
          <p:nvSpPr>
            <p:cNvPr id="237624" name="Rectangle 56"/>
            <p:cNvSpPr>
              <a:spLocks noChangeArrowheads="1"/>
            </p:cNvSpPr>
            <p:nvPr/>
          </p:nvSpPr>
          <p:spPr bwMode="auto">
            <a:xfrm>
              <a:off x="4648200" y="4876800"/>
              <a:ext cx="2438400" cy="3048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>
                <a:spcBef>
                  <a:spcPct val="20000"/>
                </a:spcBef>
                <a:buClr>
                  <a:schemeClr val="accent1"/>
                </a:buClr>
                <a:buSzPct val="65000"/>
                <a:buFont typeface="Wingdings" panose="05000000000000000000" pitchFamily="2" charset="2"/>
                <a:buChar char="n"/>
                <a:defRPr sz="3000">
                  <a:solidFill>
                    <a:schemeClr val="tx1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Clr>
                  <a:schemeClr val="accent2"/>
                </a:buClr>
                <a:buSzPct val="60000"/>
                <a:buFont typeface="Wingdings" panose="05000000000000000000" pitchFamily="2" charset="2"/>
                <a:buChar char="q"/>
                <a:defRPr sz="2600">
                  <a:solidFill>
                    <a:schemeClr val="tx1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Clr>
                  <a:schemeClr val="accent1"/>
                </a:buClr>
                <a:buSzPct val="65000"/>
                <a:buFont typeface="Wingdings" panose="05000000000000000000" pitchFamily="2" charset="2"/>
                <a:buChar char="n"/>
                <a:defRPr sz="2200">
                  <a:solidFill>
                    <a:schemeClr val="tx1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Clr>
                  <a:schemeClr val="accent2"/>
                </a:buClr>
                <a:buSzPct val="70000"/>
                <a:buFont typeface="Wingdings" panose="05000000000000000000" pitchFamily="2" charset="2"/>
                <a:buChar char="q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Clr>
                  <a:schemeClr val="accent1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accent1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accent1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accent1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accent1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9pPr>
            </a:lstStyle>
            <a:p>
              <a:pPr algn="ctr" eaLnBrk="1" hangingPunct="1">
                <a:spcBef>
                  <a:spcPct val="0"/>
                </a:spcBef>
                <a:buClrTx/>
                <a:buSzTx/>
                <a:buFontTx/>
                <a:buNone/>
              </a:pPr>
              <a:r>
                <a:rPr lang="en-US" altLang="zh-CN" sz="1800" b="1" i="1" smtClean="0">
                  <a:solidFill>
                    <a:srgbClr val="00CC00"/>
                  </a:solidFill>
                </a:rPr>
                <a:t>w</a:t>
              </a:r>
              <a:r>
                <a:rPr lang="en-US" altLang="zh-CN" sz="1800" b="1" i="1" smtClean="0">
                  <a:solidFill>
                    <a:srgbClr val="000000"/>
                  </a:solidFill>
                </a:rPr>
                <a:t> x</a:t>
              </a:r>
              <a:r>
                <a:rPr lang="en-US" altLang="zh-CN" sz="1800" b="1" i="1" smtClean="0">
                  <a:solidFill>
                    <a:srgbClr val="00CC00"/>
                  </a:solidFill>
                </a:rPr>
                <a:t> </a:t>
              </a:r>
              <a:r>
                <a:rPr lang="en-US" altLang="zh-CN" sz="1800" b="1" i="1" smtClean="0">
                  <a:solidFill>
                    <a:srgbClr val="000000"/>
                  </a:solidFill>
                </a:rPr>
                <a:t>+ </a:t>
              </a:r>
              <a:r>
                <a:rPr lang="en-US" altLang="zh-CN" sz="1800" b="1" i="1" smtClean="0">
                  <a:solidFill>
                    <a:srgbClr val="00CC00"/>
                  </a:solidFill>
                </a:rPr>
                <a:t>b&lt;0</a:t>
              </a:r>
            </a:p>
          </p:txBody>
        </p:sp>
        <p:sp>
          <p:nvSpPr>
            <p:cNvPr id="237625" name="Rectangle 57"/>
            <p:cNvSpPr>
              <a:spLocks noChangeArrowheads="1"/>
            </p:cNvSpPr>
            <p:nvPr/>
          </p:nvSpPr>
          <p:spPr bwMode="auto">
            <a:xfrm>
              <a:off x="2590800" y="1905000"/>
              <a:ext cx="2438400" cy="3048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>
                <a:spcBef>
                  <a:spcPct val="20000"/>
                </a:spcBef>
                <a:buClr>
                  <a:schemeClr val="accent1"/>
                </a:buClr>
                <a:buSzPct val="65000"/>
                <a:buFont typeface="Wingdings" panose="05000000000000000000" pitchFamily="2" charset="2"/>
                <a:buChar char="n"/>
                <a:defRPr sz="3000">
                  <a:solidFill>
                    <a:schemeClr val="tx1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Clr>
                  <a:schemeClr val="accent2"/>
                </a:buClr>
                <a:buSzPct val="60000"/>
                <a:buFont typeface="Wingdings" panose="05000000000000000000" pitchFamily="2" charset="2"/>
                <a:buChar char="q"/>
                <a:defRPr sz="2600">
                  <a:solidFill>
                    <a:schemeClr val="tx1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Clr>
                  <a:schemeClr val="accent1"/>
                </a:buClr>
                <a:buSzPct val="65000"/>
                <a:buFont typeface="Wingdings" panose="05000000000000000000" pitchFamily="2" charset="2"/>
                <a:buChar char="n"/>
                <a:defRPr sz="2200">
                  <a:solidFill>
                    <a:schemeClr val="tx1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Clr>
                  <a:schemeClr val="accent2"/>
                </a:buClr>
                <a:buSzPct val="70000"/>
                <a:buFont typeface="Wingdings" panose="05000000000000000000" pitchFamily="2" charset="2"/>
                <a:buChar char="q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Clr>
                  <a:schemeClr val="accent1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accent1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accent1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accent1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accent1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9pPr>
            </a:lstStyle>
            <a:p>
              <a:pPr algn="ctr" eaLnBrk="1" hangingPunct="1">
                <a:spcBef>
                  <a:spcPct val="0"/>
                </a:spcBef>
                <a:buClrTx/>
                <a:buSzTx/>
                <a:buFontTx/>
                <a:buNone/>
              </a:pPr>
              <a:r>
                <a:rPr lang="en-US" altLang="zh-CN" sz="1800" b="1" i="1" smtClean="0">
                  <a:solidFill>
                    <a:srgbClr val="00CC00"/>
                  </a:solidFill>
                </a:rPr>
                <a:t>w</a:t>
              </a:r>
              <a:r>
                <a:rPr lang="en-US" altLang="zh-CN" sz="1800" b="1" i="1" smtClean="0">
                  <a:solidFill>
                    <a:srgbClr val="000000"/>
                  </a:solidFill>
                </a:rPr>
                <a:t> x</a:t>
              </a:r>
              <a:r>
                <a:rPr lang="en-US" altLang="zh-CN" sz="1800" b="1" i="1" smtClean="0">
                  <a:solidFill>
                    <a:srgbClr val="00CC00"/>
                  </a:solidFill>
                </a:rPr>
                <a:t> </a:t>
              </a:r>
              <a:r>
                <a:rPr lang="en-US" altLang="zh-CN" sz="1800" b="1" i="1" smtClean="0">
                  <a:solidFill>
                    <a:srgbClr val="000000"/>
                  </a:solidFill>
                </a:rPr>
                <a:t>+ </a:t>
              </a:r>
              <a:r>
                <a:rPr lang="en-US" altLang="zh-CN" sz="1800" b="1" i="1" smtClean="0">
                  <a:solidFill>
                    <a:srgbClr val="00CC00"/>
                  </a:solidFill>
                </a:rPr>
                <a:t>b&gt;0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8263974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Rounded Rectangle 29"/>
          <p:cNvSpPr/>
          <p:nvPr/>
        </p:nvSpPr>
        <p:spPr>
          <a:xfrm>
            <a:off x="7412038" y="5581650"/>
            <a:ext cx="1752600" cy="914400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spcBef>
                <a:spcPct val="20000"/>
              </a:spcBef>
              <a:buClr>
                <a:schemeClr val="accent1"/>
              </a:buClr>
              <a:buSzPct val="65000"/>
              <a:buFont typeface="Wingdings" panose="05000000000000000000" pitchFamily="2" charset="2"/>
              <a:buNone/>
              <a:defRPr/>
            </a:pPr>
            <a:r>
              <a:rPr lang="en-US" sz="2000" dirty="0">
                <a:solidFill>
                  <a:srgbClr val="000000"/>
                </a:solidFill>
              </a:rPr>
              <a:t>Prediction</a:t>
            </a:r>
          </a:p>
        </p:txBody>
      </p:sp>
      <p:sp>
        <p:nvSpPr>
          <p:cNvPr id="30723" name="Title 1"/>
          <p:cNvSpPr>
            <a:spLocks noGrp="1"/>
          </p:cNvSpPr>
          <p:nvPr>
            <p:ph type="title"/>
          </p:nvPr>
        </p:nvSpPr>
        <p:spPr>
          <a:xfrm>
            <a:off x="457200" y="0"/>
            <a:ext cx="8229600" cy="792163"/>
          </a:xfrm>
        </p:spPr>
        <p:txBody>
          <a:bodyPr/>
          <a:lstStyle/>
          <a:p>
            <a:r>
              <a:rPr lang="en-US" altLang="en-US" smtClean="0"/>
              <a:t>Steps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5257800" y="990600"/>
            <a:ext cx="1600200" cy="838200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spcBef>
                <a:spcPct val="20000"/>
              </a:spcBef>
              <a:buClr>
                <a:schemeClr val="accent1"/>
              </a:buClr>
              <a:buSzPct val="65000"/>
              <a:buFont typeface="Wingdings" panose="05000000000000000000" pitchFamily="2" charset="2"/>
              <a:buNone/>
              <a:defRPr/>
            </a:pPr>
            <a:r>
              <a:rPr lang="en-US" sz="2000" dirty="0">
                <a:solidFill>
                  <a:srgbClr val="000000"/>
                </a:solidFill>
              </a:rPr>
              <a:t>Training Labels</a:t>
            </a:r>
          </a:p>
        </p:txBody>
      </p:sp>
      <p:grpSp>
        <p:nvGrpSpPr>
          <p:cNvPr id="30725" name="Group 12"/>
          <p:cNvGrpSpPr>
            <a:grpSpLocks/>
          </p:cNvGrpSpPr>
          <p:nvPr/>
        </p:nvGrpSpPr>
        <p:grpSpPr bwMode="auto">
          <a:xfrm>
            <a:off x="76200" y="1570038"/>
            <a:ext cx="2438400" cy="3078162"/>
            <a:chOff x="228600" y="1417320"/>
            <a:chExt cx="2438400" cy="2849880"/>
          </a:xfrm>
        </p:grpSpPr>
        <p:sp>
          <p:nvSpPr>
            <p:cNvPr id="30744" name="TextBox 7"/>
            <p:cNvSpPr txBox="1">
              <a:spLocks noChangeArrowheads="1"/>
            </p:cNvSpPr>
            <p:nvPr/>
          </p:nvSpPr>
          <p:spPr bwMode="auto">
            <a:xfrm>
              <a:off x="533400" y="1417320"/>
              <a:ext cx="1828800" cy="83099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spcBef>
                  <a:spcPct val="20000"/>
                </a:spcBef>
                <a:buClr>
                  <a:schemeClr val="bg2"/>
                </a:buClr>
                <a:buSzPct val="75000"/>
                <a:buFont typeface="Wingdings" panose="05000000000000000000" pitchFamily="2" charset="2"/>
                <a:buChar char="n"/>
                <a:defRPr sz="2400">
                  <a:solidFill>
                    <a:schemeClr val="tx1"/>
                  </a:solidFill>
                  <a:latin typeface="Lucida Bright" panose="02040602050505020304" pitchFamily="18" charset="0"/>
                </a:defRPr>
              </a:lvl1pPr>
              <a:lvl2pPr marL="742950" indent="-285750">
                <a:spcBef>
                  <a:spcPct val="20000"/>
                </a:spcBef>
                <a:buClr>
                  <a:schemeClr val="accent2"/>
                </a:buClr>
                <a:buSzPct val="80000"/>
                <a:buFont typeface="Wingdings" panose="05000000000000000000" pitchFamily="2" charset="2"/>
                <a:buChar char="¨"/>
                <a:defRPr sz="2000">
                  <a:solidFill>
                    <a:schemeClr val="tx1"/>
                  </a:solidFill>
                  <a:latin typeface="Lucida Bright" panose="02040602050505020304" pitchFamily="18" charset="0"/>
                </a:defRPr>
              </a:lvl2pPr>
              <a:lvl3pPr marL="1143000" indent="-228600">
                <a:spcBef>
                  <a:spcPct val="20000"/>
                </a:spcBef>
                <a:buClr>
                  <a:schemeClr val="bg2"/>
                </a:buClr>
                <a:buSzPct val="65000"/>
                <a:buFont typeface="Wingdings" panose="05000000000000000000" pitchFamily="2" charset="2"/>
                <a:buChar char="n"/>
                <a:defRPr sz="2400">
                  <a:solidFill>
                    <a:schemeClr val="tx1"/>
                  </a:solidFill>
                  <a:latin typeface="Lucida Bright" panose="02040602050505020304" pitchFamily="18" charset="0"/>
                </a:defRPr>
              </a:lvl3pPr>
              <a:lvl4pPr marL="1600200" indent="-228600">
                <a:spcBef>
                  <a:spcPct val="20000"/>
                </a:spcBef>
                <a:buClr>
                  <a:schemeClr val="accent2"/>
                </a:buClr>
                <a:buSzPct val="70000"/>
                <a:buFont typeface="Wingdings" panose="05000000000000000000" pitchFamily="2" charset="2"/>
                <a:buChar char="¨"/>
                <a:defRPr sz="2000">
                  <a:solidFill>
                    <a:schemeClr val="tx1"/>
                  </a:solidFill>
                  <a:latin typeface="Lucida Bright" panose="02040602050505020304" pitchFamily="18" charset="0"/>
                </a:defRPr>
              </a:lvl4pPr>
              <a:lvl5pPr marL="2057400" indent="-228600">
                <a:spcBef>
                  <a:spcPct val="20000"/>
                </a:spcBef>
                <a:buClr>
                  <a:schemeClr val="bg2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Lucida Bright" panose="02040602050505020304" pitchFamily="18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bg2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Lucida Bright" panose="02040602050505020304" pitchFamily="18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bg2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Lucida Bright" panose="02040602050505020304" pitchFamily="18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bg2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Lucida Bright" panose="02040602050505020304" pitchFamily="18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bg2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Lucida Bright" panose="02040602050505020304" pitchFamily="18" charset="0"/>
                </a:defRPr>
              </a:lvl9pPr>
            </a:lstStyle>
            <a:p>
              <a:pPr algn="ctr" eaLnBrk="1" hangingPunct="1">
                <a:spcBef>
                  <a:spcPct val="0"/>
                </a:spcBef>
                <a:buClr>
                  <a:schemeClr val="accent1"/>
                </a:buClr>
                <a:buSzPct val="65000"/>
                <a:buFontTx/>
                <a:buNone/>
              </a:pPr>
              <a:r>
                <a:rPr lang="en-US" altLang="en-US">
                  <a:solidFill>
                    <a:srgbClr val="000000"/>
                  </a:solidFill>
                  <a:latin typeface="Arial" panose="020B0604020202020204" pitchFamily="34" charset="0"/>
                </a:rPr>
                <a:t>Training Images</a:t>
              </a:r>
            </a:p>
          </p:txBody>
        </p:sp>
        <p:sp>
          <p:nvSpPr>
            <p:cNvPr id="11" name="Rounded Rectangle 10"/>
            <p:cNvSpPr/>
            <p:nvPr/>
          </p:nvSpPr>
          <p:spPr>
            <a:xfrm>
              <a:off x="228600" y="1448185"/>
              <a:ext cx="2438400" cy="2819015"/>
            </a:xfrm>
            <a:prstGeom prst="roundRect">
              <a:avLst/>
            </a:prstGeom>
            <a:no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hangingPunct="1">
                <a:spcBef>
                  <a:spcPct val="20000"/>
                </a:spcBef>
                <a:buClr>
                  <a:schemeClr val="accent1"/>
                </a:buClr>
                <a:buSzPct val="65000"/>
                <a:buFont typeface="Wingdings" panose="05000000000000000000" pitchFamily="2" charset="2"/>
                <a:buChar char="n"/>
                <a:defRPr/>
              </a:pPr>
              <a:endParaRPr lang="en-US" sz="2400" dirty="0">
                <a:solidFill>
                  <a:srgbClr val="000000"/>
                </a:solidFill>
              </a:endParaRPr>
            </a:p>
          </p:txBody>
        </p:sp>
      </p:grpSp>
      <p:sp>
        <p:nvSpPr>
          <p:cNvPr id="12" name="Rounded Rectangle 11"/>
          <p:cNvSpPr/>
          <p:nvPr/>
        </p:nvSpPr>
        <p:spPr>
          <a:xfrm>
            <a:off x="5410200" y="2438400"/>
            <a:ext cx="1371600" cy="914400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spcBef>
                <a:spcPct val="20000"/>
              </a:spcBef>
              <a:buClr>
                <a:schemeClr val="accent1"/>
              </a:buClr>
              <a:buSzPct val="65000"/>
              <a:buFont typeface="Wingdings" panose="05000000000000000000" pitchFamily="2" charset="2"/>
              <a:buNone/>
              <a:defRPr/>
            </a:pPr>
            <a:r>
              <a:rPr lang="en-US" sz="2000" dirty="0">
                <a:solidFill>
                  <a:srgbClr val="000000"/>
                </a:solidFill>
              </a:rPr>
              <a:t>Training</a:t>
            </a:r>
          </a:p>
        </p:txBody>
      </p:sp>
      <p:sp>
        <p:nvSpPr>
          <p:cNvPr id="30727" name="TextBox 13"/>
          <p:cNvSpPr txBox="1">
            <a:spLocks noChangeArrowheads="1"/>
          </p:cNvSpPr>
          <p:nvPr/>
        </p:nvSpPr>
        <p:spPr bwMode="auto">
          <a:xfrm>
            <a:off x="552450" y="838200"/>
            <a:ext cx="1581150" cy="523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buClr>
                <a:schemeClr val="bg2"/>
              </a:buClr>
              <a:buSzPct val="75000"/>
              <a:buFont typeface="Wingdings" panose="05000000000000000000" pitchFamily="2" charset="2"/>
              <a:buChar char="n"/>
              <a:defRPr sz="2400">
                <a:solidFill>
                  <a:schemeClr val="tx1"/>
                </a:solidFill>
                <a:latin typeface="Lucida Bright" panose="02040602050505020304" pitchFamily="18" charset="0"/>
              </a:defRPr>
            </a:lvl1pPr>
            <a:lvl2pPr marL="742950" indent="-285750">
              <a:spcBef>
                <a:spcPct val="20000"/>
              </a:spcBef>
              <a:buClr>
                <a:schemeClr val="accent2"/>
              </a:buClr>
              <a:buSzPct val="80000"/>
              <a:buFont typeface="Wingdings" panose="05000000000000000000" pitchFamily="2" charset="2"/>
              <a:buChar char="¨"/>
              <a:defRPr sz="2000">
                <a:solidFill>
                  <a:schemeClr val="tx1"/>
                </a:solidFill>
                <a:latin typeface="Lucida Bright" panose="02040602050505020304" pitchFamily="18" charset="0"/>
              </a:defRPr>
            </a:lvl2pPr>
            <a:lvl3pPr marL="1143000" indent="-228600">
              <a:spcBef>
                <a:spcPct val="20000"/>
              </a:spcBef>
              <a:buClr>
                <a:schemeClr val="bg2"/>
              </a:buClr>
              <a:buSzPct val="65000"/>
              <a:buFont typeface="Wingdings" panose="05000000000000000000" pitchFamily="2" charset="2"/>
              <a:buChar char="n"/>
              <a:defRPr sz="2400">
                <a:solidFill>
                  <a:schemeClr val="tx1"/>
                </a:solidFill>
                <a:latin typeface="Lucida Bright" panose="02040602050505020304" pitchFamily="18" charset="0"/>
              </a:defRPr>
            </a:lvl3pPr>
            <a:lvl4pPr marL="1600200" indent="-228600">
              <a:spcBef>
                <a:spcPct val="20000"/>
              </a:spcBef>
              <a:buClr>
                <a:schemeClr val="accent2"/>
              </a:buClr>
              <a:buSzPct val="70000"/>
              <a:buFont typeface="Wingdings" panose="05000000000000000000" pitchFamily="2" charset="2"/>
              <a:buChar char="¨"/>
              <a:defRPr sz="2000">
                <a:solidFill>
                  <a:schemeClr val="tx1"/>
                </a:solidFill>
                <a:latin typeface="Lucida Bright" panose="02040602050505020304" pitchFamily="18" charset="0"/>
              </a:defRPr>
            </a:lvl4pPr>
            <a:lvl5pPr marL="2057400" indent="-228600">
              <a:spcBef>
                <a:spcPct val="2000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Lucida Bright" panose="02040602050505020304" pitchFamily="18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Lucida Bright" panose="02040602050505020304" pitchFamily="18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Lucida Bright" panose="02040602050505020304" pitchFamily="18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Lucida Bright" panose="02040602050505020304" pitchFamily="18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Lucida Bright" panose="02040602050505020304" pitchFamily="18" charset="0"/>
              </a:defRPr>
            </a:lvl9pPr>
          </a:lstStyle>
          <a:p>
            <a:pPr eaLnBrk="1" hangingPunct="1">
              <a:spcBef>
                <a:spcPct val="0"/>
              </a:spcBef>
              <a:buClr>
                <a:schemeClr val="accent1"/>
              </a:buClr>
              <a:buSzPct val="65000"/>
              <a:buFontTx/>
              <a:buNone/>
            </a:pPr>
            <a:r>
              <a:rPr lang="en-US" altLang="en-US" sz="2800" b="1">
                <a:solidFill>
                  <a:srgbClr val="000000"/>
                </a:solidFill>
                <a:latin typeface="Arial" panose="020B0604020202020204" pitchFamily="34" charset="0"/>
              </a:rPr>
              <a:t>Training</a:t>
            </a:r>
          </a:p>
        </p:txBody>
      </p:sp>
      <p:sp>
        <p:nvSpPr>
          <p:cNvPr id="15" name="Rounded Rectangle 14"/>
          <p:cNvSpPr/>
          <p:nvPr/>
        </p:nvSpPr>
        <p:spPr>
          <a:xfrm>
            <a:off x="3200400" y="2438400"/>
            <a:ext cx="1524000" cy="914400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spcBef>
                <a:spcPct val="20000"/>
              </a:spcBef>
              <a:buClr>
                <a:schemeClr val="accent1"/>
              </a:buClr>
              <a:buSzPct val="65000"/>
              <a:buFont typeface="Wingdings" panose="05000000000000000000" pitchFamily="2" charset="2"/>
              <a:buNone/>
              <a:defRPr/>
            </a:pPr>
            <a:r>
              <a:rPr lang="en-US" sz="2000" dirty="0">
                <a:solidFill>
                  <a:srgbClr val="000000"/>
                </a:solidFill>
              </a:rPr>
              <a:t>Image Features</a:t>
            </a:r>
          </a:p>
        </p:txBody>
      </p:sp>
      <p:sp>
        <p:nvSpPr>
          <p:cNvPr id="16" name="Right Arrow 15"/>
          <p:cNvSpPr/>
          <p:nvPr/>
        </p:nvSpPr>
        <p:spPr>
          <a:xfrm>
            <a:off x="2590800" y="2743200"/>
            <a:ext cx="533400" cy="304800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spcBef>
                <a:spcPct val="20000"/>
              </a:spcBef>
              <a:buClr>
                <a:schemeClr val="accent1"/>
              </a:buClr>
              <a:buSzPct val="65000"/>
              <a:buFont typeface="Wingdings" panose="05000000000000000000" pitchFamily="2" charset="2"/>
              <a:buChar char="n"/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17" name="Right Arrow 16"/>
          <p:cNvSpPr/>
          <p:nvPr/>
        </p:nvSpPr>
        <p:spPr>
          <a:xfrm>
            <a:off x="4800600" y="2743200"/>
            <a:ext cx="533400" cy="304800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spcBef>
                <a:spcPct val="20000"/>
              </a:spcBef>
              <a:buClr>
                <a:schemeClr val="accent1"/>
              </a:buClr>
              <a:buSzPct val="65000"/>
              <a:buFont typeface="Wingdings" panose="05000000000000000000" pitchFamily="2" charset="2"/>
              <a:buChar char="n"/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18" name="Right Arrow 17"/>
          <p:cNvSpPr/>
          <p:nvPr/>
        </p:nvSpPr>
        <p:spPr>
          <a:xfrm rot="5400000">
            <a:off x="5821363" y="1981200"/>
            <a:ext cx="457200" cy="304800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spcBef>
                <a:spcPct val="20000"/>
              </a:spcBef>
              <a:buClr>
                <a:schemeClr val="accent1"/>
              </a:buClr>
              <a:buSzPct val="65000"/>
              <a:buFont typeface="Wingdings" panose="05000000000000000000" pitchFamily="2" charset="2"/>
              <a:buChar char="n"/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19" name="Rounded Rectangle 18"/>
          <p:cNvSpPr/>
          <p:nvPr/>
        </p:nvSpPr>
        <p:spPr>
          <a:xfrm>
            <a:off x="2743200" y="5562600"/>
            <a:ext cx="1752600" cy="914400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spcBef>
                <a:spcPct val="20000"/>
              </a:spcBef>
              <a:buClr>
                <a:schemeClr val="accent1"/>
              </a:buClr>
              <a:buSzPct val="65000"/>
              <a:buFont typeface="Wingdings" panose="05000000000000000000" pitchFamily="2" charset="2"/>
              <a:buNone/>
              <a:defRPr/>
            </a:pPr>
            <a:r>
              <a:rPr lang="en-US" sz="2000" dirty="0">
                <a:solidFill>
                  <a:srgbClr val="000000"/>
                </a:solidFill>
              </a:rPr>
              <a:t>Image Features</a:t>
            </a:r>
          </a:p>
        </p:txBody>
      </p:sp>
      <p:sp>
        <p:nvSpPr>
          <p:cNvPr id="20" name="Right Arrow 19"/>
          <p:cNvSpPr/>
          <p:nvPr/>
        </p:nvSpPr>
        <p:spPr>
          <a:xfrm>
            <a:off x="2133600" y="5867400"/>
            <a:ext cx="533400" cy="304800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spcBef>
                <a:spcPct val="20000"/>
              </a:spcBef>
              <a:buClr>
                <a:schemeClr val="accent1"/>
              </a:buClr>
              <a:buSzPct val="65000"/>
              <a:buFont typeface="Wingdings" panose="05000000000000000000" pitchFamily="2" charset="2"/>
              <a:buChar char="n"/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10254" name="TextBox 20"/>
          <p:cNvSpPr txBox="1">
            <a:spLocks noChangeArrowheads="1"/>
          </p:cNvSpPr>
          <p:nvPr/>
        </p:nvSpPr>
        <p:spPr bwMode="auto">
          <a:xfrm>
            <a:off x="620713" y="4800600"/>
            <a:ext cx="1436687" cy="523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buClr>
                <a:schemeClr val="bg2"/>
              </a:buClr>
              <a:buSzPct val="75000"/>
              <a:buFont typeface="Wingdings" panose="05000000000000000000" pitchFamily="2" charset="2"/>
              <a:buChar char="n"/>
              <a:defRPr sz="2400">
                <a:solidFill>
                  <a:schemeClr val="tx1"/>
                </a:solidFill>
                <a:latin typeface="Lucida Bright" panose="02040602050505020304" pitchFamily="18" charset="0"/>
              </a:defRPr>
            </a:lvl1pPr>
            <a:lvl2pPr marL="742950" indent="-285750">
              <a:spcBef>
                <a:spcPct val="20000"/>
              </a:spcBef>
              <a:buClr>
                <a:schemeClr val="accent2"/>
              </a:buClr>
              <a:buSzPct val="80000"/>
              <a:buFont typeface="Wingdings" panose="05000000000000000000" pitchFamily="2" charset="2"/>
              <a:buChar char="¨"/>
              <a:defRPr sz="2000">
                <a:solidFill>
                  <a:schemeClr val="tx1"/>
                </a:solidFill>
                <a:latin typeface="Lucida Bright" panose="02040602050505020304" pitchFamily="18" charset="0"/>
              </a:defRPr>
            </a:lvl2pPr>
            <a:lvl3pPr marL="1143000" indent="-228600">
              <a:spcBef>
                <a:spcPct val="20000"/>
              </a:spcBef>
              <a:buClr>
                <a:schemeClr val="bg2"/>
              </a:buClr>
              <a:buSzPct val="65000"/>
              <a:buFont typeface="Wingdings" panose="05000000000000000000" pitchFamily="2" charset="2"/>
              <a:buChar char="n"/>
              <a:defRPr sz="2400">
                <a:solidFill>
                  <a:schemeClr val="tx1"/>
                </a:solidFill>
                <a:latin typeface="Lucida Bright" panose="02040602050505020304" pitchFamily="18" charset="0"/>
              </a:defRPr>
            </a:lvl3pPr>
            <a:lvl4pPr marL="1600200" indent="-228600">
              <a:spcBef>
                <a:spcPct val="20000"/>
              </a:spcBef>
              <a:buClr>
                <a:schemeClr val="accent2"/>
              </a:buClr>
              <a:buSzPct val="70000"/>
              <a:buFont typeface="Wingdings" panose="05000000000000000000" pitchFamily="2" charset="2"/>
              <a:buChar char="¨"/>
              <a:defRPr sz="2000">
                <a:solidFill>
                  <a:schemeClr val="tx1"/>
                </a:solidFill>
                <a:latin typeface="Lucida Bright" panose="02040602050505020304" pitchFamily="18" charset="0"/>
              </a:defRPr>
            </a:lvl4pPr>
            <a:lvl5pPr marL="2057400" indent="-228600">
              <a:spcBef>
                <a:spcPct val="2000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Lucida Bright" panose="02040602050505020304" pitchFamily="18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Lucida Bright" panose="02040602050505020304" pitchFamily="18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Lucida Bright" panose="02040602050505020304" pitchFamily="18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Lucida Bright" panose="02040602050505020304" pitchFamily="18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Lucida Bright" panose="02040602050505020304" pitchFamily="18" charset="0"/>
              </a:defRPr>
            </a:lvl9pPr>
          </a:lstStyle>
          <a:p>
            <a:pPr eaLnBrk="1" hangingPunct="1">
              <a:spcBef>
                <a:spcPct val="0"/>
              </a:spcBef>
              <a:buClr>
                <a:schemeClr val="accent1"/>
              </a:buClr>
              <a:buSzPct val="65000"/>
              <a:buFontTx/>
              <a:buNone/>
            </a:pPr>
            <a:r>
              <a:rPr lang="en-US" altLang="en-US" sz="2800" b="1">
                <a:solidFill>
                  <a:srgbClr val="000000"/>
                </a:solidFill>
                <a:latin typeface="Arial" panose="020B0604020202020204" pitchFamily="34" charset="0"/>
              </a:rPr>
              <a:t>Testing</a:t>
            </a:r>
          </a:p>
        </p:txBody>
      </p:sp>
      <p:sp>
        <p:nvSpPr>
          <p:cNvPr id="10255" name="TextBox 21"/>
          <p:cNvSpPr txBox="1">
            <a:spLocks noChangeArrowheads="1"/>
          </p:cNvSpPr>
          <p:nvPr/>
        </p:nvSpPr>
        <p:spPr bwMode="auto">
          <a:xfrm>
            <a:off x="457200" y="6396038"/>
            <a:ext cx="1689100" cy="461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buClr>
                <a:schemeClr val="bg2"/>
              </a:buClr>
              <a:buSzPct val="75000"/>
              <a:buFont typeface="Wingdings" panose="05000000000000000000" pitchFamily="2" charset="2"/>
              <a:buChar char="n"/>
              <a:defRPr sz="2400">
                <a:solidFill>
                  <a:schemeClr val="tx1"/>
                </a:solidFill>
                <a:latin typeface="Lucida Bright" panose="02040602050505020304" pitchFamily="18" charset="0"/>
              </a:defRPr>
            </a:lvl1pPr>
            <a:lvl2pPr marL="742950" indent="-285750">
              <a:spcBef>
                <a:spcPct val="20000"/>
              </a:spcBef>
              <a:buClr>
                <a:schemeClr val="accent2"/>
              </a:buClr>
              <a:buSzPct val="80000"/>
              <a:buFont typeface="Wingdings" panose="05000000000000000000" pitchFamily="2" charset="2"/>
              <a:buChar char="¨"/>
              <a:defRPr sz="2000">
                <a:solidFill>
                  <a:schemeClr val="tx1"/>
                </a:solidFill>
                <a:latin typeface="Lucida Bright" panose="02040602050505020304" pitchFamily="18" charset="0"/>
              </a:defRPr>
            </a:lvl2pPr>
            <a:lvl3pPr marL="1143000" indent="-228600">
              <a:spcBef>
                <a:spcPct val="20000"/>
              </a:spcBef>
              <a:buClr>
                <a:schemeClr val="bg2"/>
              </a:buClr>
              <a:buSzPct val="65000"/>
              <a:buFont typeface="Wingdings" panose="05000000000000000000" pitchFamily="2" charset="2"/>
              <a:buChar char="n"/>
              <a:defRPr sz="2400">
                <a:solidFill>
                  <a:schemeClr val="tx1"/>
                </a:solidFill>
                <a:latin typeface="Lucida Bright" panose="02040602050505020304" pitchFamily="18" charset="0"/>
              </a:defRPr>
            </a:lvl3pPr>
            <a:lvl4pPr marL="1600200" indent="-228600">
              <a:spcBef>
                <a:spcPct val="20000"/>
              </a:spcBef>
              <a:buClr>
                <a:schemeClr val="accent2"/>
              </a:buClr>
              <a:buSzPct val="70000"/>
              <a:buFont typeface="Wingdings" panose="05000000000000000000" pitchFamily="2" charset="2"/>
              <a:buChar char="¨"/>
              <a:defRPr sz="2000">
                <a:solidFill>
                  <a:schemeClr val="tx1"/>
                </a:solidFill>
                <a:latin typeface="Lucida Bright" panose="02040602050505020304" pitchFamily="18" charset="0"/>
              </a:defRPr>
            </a:lvl4pPr>
            <a:lvl5pPr marL="2057400" indent="-228600">
              <a:spcBef>
                <a:spcPct val="2000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Lucida Bright" panose="02040602050505020304" pitchFamily="18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Lucida Bright" panose="02040602050505020304" pitchFamily="18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Lucida Bright" panose="02040602050505020304" pitchFamily="18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Lucida Bright" panose="02040602050505020304" pitchFamily="18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Lucida Bright" panose="02040602050505020304" pitchFamily="18" charset="0"/>
              </a:defRPr>
            </a:lvl9pPr>
          </a:lstStyle>
          <a:p>
            <a:pPr eaLnBrk="1" hangingPunct="1">
              <a:spcBef>
                <a:spcPct val="0"/>
              </a:spcBef>
              <a:buClr>
                <a:schemeClr val="accent1"/>
              </a:buClr>
              <a:buSzPct val="65000"/>
              <a:buFontTx/>
              <a:buNone/>
            </a:pPr>
            <a:r>
              <a:rPr lang="en-US" altLang="en-US">
                <a:solidFill>
                  <a:srgbClr val="000000"/>
                </a:solidFill>
                <a:latin typeface="Arial" panose="020B0604020202020204" pitchFamily="34" charset="0"/>
              </a:rPr>
              <a:t>Test Image</a:t>
            </a:r>
          </a:p>
        </p:txBody>
      </p:sp>
      <p:sp>
        <p:nvSpPr>
          <p:cNvPr id="23" name="Right Arrow 22"/>
          <p:cNvSpPr/>
          <p:nvPr/>
        </p:nvSpPr>
        <p:spPr>
          <a:xfrm>
            <a:off x="6858000" y="2743200"/>
            <a:ext cx="533400" cy="304800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spcBef>
                <a:spcPct val="20000"/>
              </a:spcBef>
              <a:buClr>
                <a:schemeClr val="accent1"/>
              </a:buClr>
              <a:buSzPct val="65000"/>
              <a:buFont typeface="Wingdings" panose="05000000000000000000" pitchFamily="2" charset="2"/>
              <a:buChar char="n"/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24" name="Rounded Rectangle 23"/>
          <p:cNvSpPr/>
          <p:nvPr/>
        </p:nvSpPr>
        <p:spPr>
          <a:xfrm>
            <a:off x="7543800" y="2438400"/>
            <a:ext cx="1524000" cy="914400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spcBef>
                <a:spcPct val="20000"/>
              </a:spcBef>
              <a:buClr>
                <a:schemeClr val="accent1"/>
              </a:buClr>
              <a:buSzPct val="65000"/>
              <a:buFont typeface="Wingdings" panose="05000000000000000000" pitchFamily="2" charset="2"/>
              <a:buNone/>
              <a:defRPr/>
            </a:pPr>
            <a:r>
              <a:rPr lang="en-US" sz="2000" dirty="0">
                <a:solidFill>
                  <a:srgbClr val="000000"/>
                </a:solidFill>
              </a:rPr>
              <a:t>Learned model</a:t>
            </a:r>
          </a:p>
        </p:txBody>
      </p:sp>
      <p:sp>
        <p:nvSpPr>
          <p:cNvPr id="25" name="Rounded Rectangle 24"/>
          <p:cNvSpPr/>
          <p:nvPr/>
        </p:nvSpPr>
        <p:spPr>
          <a:xfrm>
            <a:off x="5181600" y="5562600"/>
            <a:ext cx="1752600" cy="914400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spcBef>
                <a:spcPct val="20000"/>
              </a:spcBef>
              <a:buClr>
                <a:schemeClr val="accent1"/>
              </a:buClr>
              <a:buSzPct val="65000"/>
              <a:buFont typeface="Wingdings" panose="05000000000000000000" pitchFamily="2" charset="2"/>
              <a:buNone/>
              <a:defRPr/>
            </a:pPr>
            <a:r>
              <a:rPr lang="en-US" sz="2000" dirty="0">
                <a:solidFill>
                  <a:srgbClr val="000000"/>
                </a:solidFill>
              </a:rPr>
              <a:t>Learned model</a:t>
            </a:r>
          </a:p>
        </p:txBody>
      </p:sp>
      <p:sp>
        <p:nvSpPr>
          <p:cNvPr id="26" name="Right Arrow 25"/>
          <p:cNvSpPr/>
          <p:nvPr/>
        </p:nvSpPr>
        <p:spPr>
          <a:xfrm>
            <a:off x="4572000" y="5867400"/>
            <a:ext cx="533400" cy="304800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spcBef>
                <a:spcPct val="20000"/>
              </a:spcBef>
              <a:buClr>
                <a:schemeClr val="accent1"/>
              </a:buClr>
              <a:buSzPct val="65000"/>
              <a:buFont typeface="Wingdings" panose="05000000000000000000" pitchFamily="2" charset="2"/>
              <a:buChar char="n"/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30740" name="TextBox 30"/>
          <p:cNvSpPr txBox="1">
            <a:spLocks noChangeArrowheads="1"/>
          </p:cNvSpPr>
          <p:nvPr/>
        </p:nvSpPr>
        <p:spPr bwMode="auto">
          <a:xfrm>
            <a:off x="6057900" y="139470"/>
            <a:ext cx="3145235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Clr>
                <a:schemeClr val="accent1"/>
              </a:buClr>
              <a:buSzPct val="65000"/>
              <a:buFont typeface="Wingdings" panose="05000000000000000000" pitchFamily="2" charset="2"/>
              <a:buChar char="n"/>
              <a:defRPr sz="30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lr>
                <a:schemeClr val="accent1"/>
              </a:buClr>
              <a:buSzPct val="65000"/>
              <a:buFont typeface="Wingdings" panose="05000000000000000000" pitchFamily="2" charset="2"/>
              <a:buChar char="n"/>
              <a:defRPr sz="30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lr>
                <a:schemeClr val="accent1"/>
              </a:buClr>
              <a:buSzPct val="65000"/>
              <a:buFont typeface="Wingdings" panose="05000000000000000000" pitchFamily="2" charset="2"/>
              <a:buChar char="n"/>
              <a:defRPr sz="30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lr>
                <a:schemeClr val="accent1"/>
              </a:buClr>
              <a:buSzPct val="65000"/>
              <a:buFont typeface="Wingdings" panose="05000000000000000000" pitchFamily="2" charset="2"/>
              <a:buChar char="n"/>
              <a:defRPr sz="3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chemeClr val="accent1"/>
              </a:buClr>
              <a:buSzPct val="65000"/>
              <a:buFont typeface="Wingdings" panose="05000000000000000000" pitchFamily="2" charset="2"/>
              <a:buChar char="n"/>
              <a:defRPr sz="3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5000"/>
              <a:buFont typeface="Wingdings" panose="05000000000000000000" pitchFamily="2" charset="2"/>
              <a:buChar char="n"/>
              <a:defRPr sz="3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5000"/>
              <a:buFont typeface="Wingdings" panose="05000000000000000000" pitchFamily="2" charset="2"/>
              <a:buChar char="n"/>
              <a:defRPr sz="3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5000"/>
              <a:buFont typeface="Wingdings" panose="05000000000000000000" pitchFamily="2" charset="2"/>
              <a:buChar char="n"/>
              <a:defRPr sz="3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5000"/>
              <a:buFont typeface="Wingdings" panose="05000000000000000000" pitchFamily="2" charset="2"/>
              <a:buChar char="n"/>
              <a:defRPr sz="3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buFont typeface="Wingdings" panose="05000000000000000000" pitchFamily="2" charset="2"/>
              <a:buNone/>
            </a:pPr>
            <a:r>
              <a:rPr lang="en-US" altLang="en-US" sz="1200" dirty="0">
                <a:solidFill>
                  <a:schemeClr val="bg1">
                    <a:lumMod val="50000"/>
                  </a:schemeClr>
                </a:solidFill>
              </a:rPr>
              <a:t>Slide credit: D. </a:t>
            </a:r>
            <a:r>
              <a:rPr lang="en-US" altLang="en-US" sz="1200" dirty="0" err="1">
                <a:solidFill>
                  <a:schemeClr val="bg1">
                    <a:lumMod val="50000"/>
                  </a:schemeClr>
                </a:solidFill>
              </a:rPr>
              <a:t>Hoiem</a:t>
            </a:r>
            <a:r>
              <a:rPr lang="en-US" altLang="en-US" sz="1200" dirty="0">
                <a:solidFill>
                  <a:schemeClr val="bg1">
                    <a:lumMod val="50000"/>
                  </a:schemeClr>
                </a:solidFill>
              </a:rPr>
              <a:t> and L. </a:t>
            </a:r>
            <a:r>
              <a:rPr lang="en-US" altLang="en-US" sz="1200" dirty="0" err="1">
                <a:solidFill>
                  <a:schemeClr val="bg1">
                    <a:lumMod val="50000"/>
                  </a:schemeClr>
                </a:solidFill>
              </a:rPr>
              <a:t>Lazebnik</a:t>
            </a:r>
            <a:endParaRPr lang="en-US" altLang="en-US" sz="12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32" name="Right Arrow 31"/>
          <p:cNvSpPr/>
          <p:nvPr/>
        </p:nvSpPr>
        <p:spPr>
          <a:xfrm>
            <a:off x="6934200" y="5867400"/>
            <a:ext cx="457200" cy="304800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spcBef>
                <a:spcPct val="20000"/>
              </a:spcBef>
              <a:buClr>
                <a:schemeClr val="accent1"/>
              </a:buClr>
              <a:buSzPct val="65000"/>
              <a:buFont typeface="Wingdings" panose="05000000000000000000" pitchFamily="2" charset="2"/>
              <a:buChar char="n"/>
              <a:defRPr/>
            </a:pPr>
            <a:endParaRPr lang="en-US">
              <a:solidFill>
                <a:srgbClr val="FFFFFF"/>
              </a:solidFill>
            </a:endParaRPr>
          </a:p>
        </p:txBody>
      </p:sp>
      <p:pic>
        <p:nvPicPr>
          <p:cNvPr id="3074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2400" y="2438400"/>
            <a:ext cx="2238375" cy="1905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0721" name="Picture 1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4400" y="5638800"/>
            <a:ext cx="800100" cy="800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 nodeType="clickPar">
                      <p:stCondLst>
                        <p:cond delay="indefinite"/>
                      </p:stCondLst>
                      <p:childTnLst>
                        <p:par>
                          <p:cTn id="10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 nodeType="clickPar">
                      <p:stCondLst>
                        <p:cond delay="indefinite"/>
                      </p:stCondLst>
                      <p:childTnLst>
                        <p:par>
                          <p:cTn id="20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 nodeType="clickPar">
                      <p:stCondLst>
                        <p:cond delay="indefinite"/>
                      </p:stCondLst>
                      <p:childTnLst>
                        <p:par>
                          <p:cTn id="26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7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 nodeType="clickPar">
                      <p:stCondLst>
                        <p:cond delay="indefinite"/>
                      </p:stCondLst>
                      <p:childTnLst>
                        <p:par>
                          <p:cTn id="3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3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 nodeType="clickPar">
                      <p:stCondLst>
                        <p:cond delay="indefinite"/>
                      </p:stCondLst>
                      <p:childTnLst>
                        <p:par>
                          <p:cTn id="40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0" grpId="0" animBg="1"/>
      <p:bldP spid="10" grpId="0" animBg="1"/>
      <p:bldP spid="12" grpId="0" animBg="1"/>
      <p:bldP spid="15" grpId="0" animBg="1"/>
      <p:bldP spid="16" grpId="0" animBg="1"/>
      <p:bldP spid="17" grpId="0" animBg="1"/>
      <p:bldP spid="18" grpId="0" animBg="1"/>
      <p:bldP spid="19" grpId="0" animBg="1"/>
      <p:bldP spid="20" grpId="0" animBg="1"/>
      <p:bldP spid="10254" grpId="0"/>
      <p:bldP spid="10255" grpId="0"/>
      <p:bldP spid="23" grpId="0" animBg="1"/>
      <p:bldP spid="24" grpId="0" animBg="1"/>
      <p:bldP spid="25" grpId="0" animBg="1"/>
      <p:bldP spid="26" grpId="0" animBg="1"/>
      <p:bldP spid="32" grpId="0" animBg="1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15516" y="80628"/>
            <a:ext cx="8814718" cy="6120680"/>
          </a:xfrm>
          <a:prstGeom prst="rect">
            <a:avLst/>
          </a:prstGeom>
        </p:spPr>
      </p:pic>
      <p:sp>
        <p:nvSpPr>
          <p:cNvPr id="2" name="Rectangle 1"/>
          <p:cNvSpPr/>
          <p:nvPr/>
        </p:nvSpPr>
        <p:spPr>
          <a:xfrm>
            <a:off x="5334721" y="6381328"/>
            <a:ext cx="370768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sz="1800" dirty="0">
                <a:solidFill>
                  <a:srgbClr val="000000"/>
                </a:solidFill>
                <a:latin typeface="Calibri" panose="020F0502020204030204" pitchFamily="34" charset="0"/>
              </a:rPr>
              <a:t>Slide courtesy: Dr. </a:t>
            </a:r>
            <a:r>
              <a:rPr lang="en-US" sz="1800" dirty="0" err="1">
                <a:solidFill>
                  <a:srgbClr val="000000"/>
                </a:solidFill>
                <a:latin typeface="Calibri" panose="020F0502020204030204" pitchFamily="34" charset="0"/>
              </a:rPr>
              <a:t>Mingxuan</a:t>
            </a:r>
            <a:r>
              <a:rPr lang="en-US" sz="1800" dirty="0">
                <a:solidFill>
                  <a:srgbClr val="000000"/>
                </a:solidFill>
                <a:latin typeface="Calibri" panose="020F0502020204030204" pitchFamily="34" charset="0"/>
              </a:rPr>
              <a:t> Sun, LSU</a:t>
            </a:r>
            <a:endParaRPr lang="en-US" sz="18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1619672" y="404664"/>
            <a:ext cx="6120680" cy="707886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en-US" sz="4000" dirty="0" smtClean="0"/>
              <a:t>       Is ML really so hard?</a:t>
            </a:r>
            <a:endParaRPr lang="en-US" sz="4000" dirty="0"/>
          </a:p>
        </p:txBody>
      </p:sp>
    </p:spTree>
    <p:extLst>
      <p:ext uri="{BB962C8B-B14F-4D97-AF65-F5344CB8AC3E}">
        <p14:creationId xmlns:p14="http://schemas.microsoft.com/office/powerpoint/2010/main" val="423814257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57200" y="533400"/>
            <a:ext cx="8404690" cy="5867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71704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04800" y="228600"/>
            <a:ext cx="8458200" cy="64728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344714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80999" y="228600"/>
            <a:ext cx="8500269" cy="6248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382644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0"/>
            <a:ext cx="8229600" cy="694953"/>
          </a:xfrm>
        </p:spPr>
        <p:txBody>
          <a:bodyPr/>
          <a:lstStyle/>
          <a:p>
            <a:r>
              <a:rPr lang="en-US" dirty="0" smtClean="0">
                <a:solidFill>
                  <a:srgbClr val="C00000"/>
                </a:solidFill>
              </a:rPr>
              <a:t>We start a little light….</a:t>
            </a:r>
            <a:endParaRPr lang="en-US" dirty="0">
              <a:solidFill>
                <a:srgbClr val="C00000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9D3AC3A4-A827-4FE8-9ABD-FFBE5D96B8FE}" type="slidenum">
              <a:rPr lang="en-US" altLang="en-US" smtClean="0">
                <a:solidFill>
                  <a:srgbClr val="99CCFF"/>
                </a:solidFill>
              </a:rPr>
              <a:pPr>
                <a:defRPr/>
              </a:pPr>
              <a:t>2</a:t>
            </a:fld>
            <a:endParaRPr lang="en-US" altLang="en-US">
              <a:solidFill>
                <a:srgbClr val="99CCFF"/>
              </a:solidFill>
            </a:endParaRPr>
          </a:p>
        </p:txBody>
      </p:sp>
      <p:pic>
        <p:nvPicPr>
          <p:cNvPr id="209922" name="Picture 2" descr="https://cdn-images-1.medium.com/max/900/1*x7P7gqjo8k2_bj2rTQWAfg.jpe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8829" y="910322"/>
            <a:ext cx="5517611" cy="56348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Rectangle 2"/>
          <p:cNvSpPr/>
          <p:nvPr/>
        </p:nvSpPr>
        <p:spPr>
          <a:xfrm>
            <a:off x="6067821" y="910322"/>
            <a:ext cx="2979926" cy="230832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sz="1800" b="1" i="1" dirty="0">
                <a:solidFill>
                  <a:srgbClr val="0033CC"/>
                </a:solidFill>
                <a:latin typeface="medium-content-serif-font"/>
              </a:rPr>
              <a:t>“When you’re fundraising, it’s AI. When you’re hiring, it’s ML. When you’re implementing, it’s logistic regression.”</a:t>
            </a:r>
          </a:p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endParaRPr lang="en-US" sz="1800" b="1" i="1" dirty="0">
              <a:solidFill>
                <a:srgbClr val="0033CC"/>
              </a:solidFill>
              <a:latin typeface="medium-content-serif-font"/>
            </a:endParaRPr>
          </a:p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sz="1800" dirty="0">
                <a:solidFill>
                  <a:srgbClr val="0033CC"/>
                </a:solidFill>
                <a:latin typeface="Malgun Gothic" panose="020B0503020000020004" pitchFamily="34" charset="-127"/>
                <a:ea typeface="Malgun Gothic" panose="020B0503020000020004" pitchFamily="34" charset="-127"/>
              </a:rPr>
              <a:t>(from Twitter)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6172201" y="3733800"/>
            <a:ext cx="287554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sz="3200" b="1" dirty="0">
                <a:solidFill>
                  <a:srgbClr val="00B050"/>
                </a:solidFill>
                <a:latin typeface="Times New Roman"/>
              </a:rPr>
              <a:t>But is that all?</a:t>
            </a:r>
          </a:p>
        </p:txBody>
      </p:sp>
    </p:spTree>
    <p:extLst>
      <p:ext uri="{BB962C8B-B14F-4D97-AF65-F5344CB8AC3E}">
        <p14:creationId xmlns:p14="http://schemas.microsoft.com/office/powerpoint/2010/main" val="37954840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</p:bld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/>
          <p:cNvSpPr txBox="1"/>
          <p:nvPr/>
        </p:nvSpPr>
        <p:spPr>
          <a:xfrm>
            <a:off x="0" y="76200"/>
            <a:ext cx="660950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sz="1800" dirty="0">
                <a:solidFill>
                  <a:srgbClr val="000000"/>
                </a:solidFill>
                <a:latin typeface="Arial"/>
              </a:rPr>
              <a:t>But </a:t>
            </a:r>
            <a:r>
              <a:rPr lang="en-US" sz="1800" dirty="0" smtClean="0">
                <a:solidFill>
                  <a:srgbClr val="000000"/>
                </a:solidFill>
                <a:latin typeface="Arial"/>
              </a:rPr>
              <a:t>still classification </a:t>
            </a:r>
            <a:r>
              <a:rPr lang="en-US" sz="1800" dirty="0">
                <a:solidFill>
                  <a:srgbClr val="000000"/>
                </a:solidFill>
                <a:latin typeface="Arial"/>
              </a:rPr>
              <a:t>is not that easy….especially nowadays…</a:t>
            </a: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00200" y="533400"/>
            <a:ext cx="6172200" cy="61433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2269511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71600" y="152400"/>
            <a:ext cx="6324600" cy="64274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009342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95400" y="3048"/>
            <a:ext cx="6705600" cy="67153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3921234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15516" y="304799"/>
            <a:ext cx="8831915" cy="6445367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539552" y="224644"/>
            <a:ext cx="7915950" cy="1015663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en-US" dirty="0" smtClean="0"/>
              <a:t>Perhaps a lot of it depends on proper feature </a:t>
            </a:r>
          </a:p>
          <a:p>
            <a:r>
              <a:rPr lang="en-US" dirty="0" smtClean="0"/>
              <a:t>representations: </a:t>
            </a:r>
            <a:r>
              <a:rPr lang="en-US" dirty="0" smtClean="0">
                <a:solidFill>
                  <a:srgbClr val="3333CC"/>
                </a:solidFill>
              </a:rPr>
              <a:t>Feature Engineering</a:t>
            </a:r>
            <a:r>
              <a:rPr lang="en-US" dirty="0" smtClean="0"/>
              <a:t>!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06250488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706" name="Title 1"/>
          <p:cNvSpPr>
            <a:spLocks noGrp="1"/>
          </p:cNvSpPr>
          <p:nvPr>
            <p:ph type="title"/>
          </p:nvPr>
        </p:nvSpPr>
        <p:spPr>
          <a:xfrm>
            <a:off x="107504" y="0"/>
            <a:ext cx="8229600" cy="630907"/>
          </a:xfrm>
        </p:spPr>
        <p:txBody>
          <a:bodyPr/>
          <a:lstStyle/>
          <a:p>
            <a:r>
              <a:rPr lang="en-US" altLang="en-US" dirty="0" smtClean="0"/>
              <a:t>So many classifiers over the years….</a:t>
            </a:r>
          </a:p>
        </p:txBody>
      </p:sp>
      <p:sp>
        <p:nvSpPr>
          <p:cNvPr id="72707" name="Content Placeholder 2"/>
          <p:cNvSpPr>
            <a:spLocks noGrp="1"/>
          </p:cNvSpPr>
          <p:nvPr>
            <p:ph idx="1"/>
          </p:nvPr>
        </p:nvSpPr>
        <p:spPr>
          <a:xfrm>
            <a:off x="360206" y="931831"/>
            <a:ext cx="8229600" cy="4530725"/>
          </a:xfrm>
        </p:spPr>
        <p:txBody>
          <a:bodyPr/>
          <a:lstStyle/>
          <a:p>
            <a:r>
              <a:rPr lang="en-US" altLang="en-US" sz="2400" dirty="0" smtClean="0"/>
              <a:t>k-nearest neighbor</a:t>
            </a:r>
          </a:p>
          <a:p>
            <a:r>
              <a:rPr lang="en-US" altLang="en-US" sz="2400" dirty="0" smtClean="0"/>
              <a:t>SVM</a:t>
            </a:r>
          </a:p>
          <a:p>
            <a:r>
              <a:rPr lang="en-US" altLang="en-US" sz="2400" dirty="0" smtClean="0"/>
              <a:t>Decision Trees</a:t>
            </a:r>
          </a:p>
          <a:p>
            <a:r>
              <a:rPr lang="en-US" altLang="en-US" sz="2400" dirty="0" smtClean="0"/>
              <a:t>Neural networks</a:t>
            </a:r>
          </a:p>
          <a:p>
            <a:r>
              <a:rPr lang="en-US" altLang="en-US" sz="2400" dirty="0" smtClean="0"/>
              <a:t>Naïve Bayes</a:t>
            </a:r>
          </a:p>
          <a:p>
            <a:r>
              <a:rPr lang="en-US" altLang="en-US" sz="2400" dirty="0" smtClean="0"/>
              <a:t>Bayesian network</a:t>
            </a:r>
          </a:p>
          <a:p>
            <a:r>
              <a:rPr lang="en-US" altLang="en-US" sz="2400" dirty="0" smtClean="0"/>
              <a:t>Logistic regression</a:t>
            </a:r>
          </a:p>
          <a:p>
            <a:r>
              <a:rPr lang="en-US" altLang="en-US" sz="2400" dirty="0" smtClean="0"/>
              <a:t>Randomized Forests</a:t>
            </a:r>
          </a:p>
          <a:p>
            <a:r>
              <a:rPr lang="en-US" altLang="en-US" sz="2400" dirty="0" smtClean="0"/>
              <a:t>The Deep Learning Systems</a:t>
            </a:r>
          </a:p>
          <a:p>
            <a:r>
              <a:rPr lang="en-US" altLang="en-US" sz="2400" dirty="0" smtClean="0"/>
              <a:t>And so on…..</a:t>
            </a:r>
          </a:p>
          <a:p>
            <a:pPr>
              <a:buFont typeface="Arial" panose="020B0604020202020204" pitchFamily="34" charset="0"/>
              <a:buNone/>
            </a:pPr>
            <a:endParaRPr lang="en-US" altLang="en-US" sz="2400" dirty="0" smtClean="0"/>
          </a:p>
          <a:p>
            <a:endParaRPr lang="en-US" altLang="en-US" sz="2800" dirty="0" smtClean="0"/>
          </a:p>
          <a:p>
            <a:endParaRPr lang="en-US" altLang="en-US" sz="2800" dirty="0" smtClean="0"/>
          </a:p>
          <a:p>
            <a:endParaRPr lang="en-US" altLang="en-US" sz="2800" dirty="0" smtClean="0"/>
          </a:p>
        </p:txBody>
      </p:sp>
      <p:sp>
        <p:nvSpPr>
          <p:cNvPr id="2" name="TextBox 1"/>
          <p:cNvSpPr txBox="1"/>
          <p:nvPr/>
        </p:nvSpPr>
        <p:spPr>
          <a:xfrm>
            <a:off x="115604" y="5589240"/>
            <a:ext cx="8973932" cy="1015663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en-US" b="1" dirty="0" smtClean="0">
                <a:solidFill>
                  <a:srgbClr val="C00000"/>
                </a:solidFill>
              </a:rPr>
              <a:t>And then comes the No Free Lunch Theorem of </a:t>
            </a:r>
          </a:p>
          <a:p>
            <a:r>
              <a:rPr lang="en-US" b="1" dirty="0" smtClean="0">
                <a:solidFill>
                  <a:srgbClr val="C00000"/>
                </a:solidFill>
              </a:rPr>
              <a:t>ML……..</a:t>
            </a:r>
            <a:endParaRPr lang="en-US" b="1" dirty="0">
              <a:solidFill>
                <a:srgbClr val="C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3595468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730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en-US" sz="3600" smtClean="0"/>
              <a:t>Generative vs. Discriminative Classifiers</a:t>
            </a:r>
          </a:p>
        </p:txBody>
      </p:sp>
      <p:sp>
        <p:nvSpPr>
          <p:cNvPr id="73731" name="Content Placeholder 2"/>
          <p:cNvSpPr>
            <a:spLocks noGrp="1"/>
          </p:cNvSpPr>
          <p:nvPr>
            <p:ph idx="1"/>
          </p:nvPr>
        </p:nvSpPr>
        <p:spPr>
          <a:xfrm>
            <a:off x="457200" y="1143000"/>
            <a:ext cx="4114800" cy="5486400"/>
          </a:xfrm>
        </p:spPr>
        <p:txBody>
          <a:bodyPr/>
          <a:lstStyle/>
          <a:p>
            <a:pPr>
              <a:buFont typeface="Arial" panose="020B0604020202020204" pitchFamily="34" charset="0"/>
              <a:buNone/>
            </a:pPr>
            <a:r>
              <a:rPr lang="en-US" altLang="en-US" sz="2800" dirty="0" smtClean="0"/>
              <a:t>Generative Models</a:t>
            </a:r>
            <a:endParaRPr lang="en-US" altLang="en-US" sz="2400" dirty="0" smtClean="0"/>
          </a:p>
          <a:p>
            <a:r>
              <a:rPr lang="en-US" altLang="en-US" sz="2400" dirty="0" smtClean="0"/>
              <a:t>Represent both the data and the labels</a:t>
            </a:r>
          </a:p>
          <a:p>
            <a:r>
              <a:rPr lang="en-US" altLang="en-US" sz="2400" dirty="0" smtClean="0"/>
              <a:t>Often, makes use of conditional independence and priors</a:t>
            </a:r>
          </a:p>
          <a:p>
            <a:r>
              <a:rPr lang="en-US" altLang="en-US" sz="2400" dirty="0" smtClean="0"/>
              <a:t>Examples</a:t>
            </a:r>
          </a:p>
          <a:p>
            <a:pPr lvl="1"/>
            <a:r>
              <a:rPr lang="en-US" altLang="en-US" sz="2000" dirty="0" smtClean="0"/>
              <a:t>Naïve Bayes classifier</a:t>
            </a:r>
          </a:p>
          <a:p>
            <a:pPr lvl="1"/>
            <a:r>
              <a:rPr lang="en-US" altLang="en-US" sz="2000" dirty="0" smtClean="0"/>
              <a:t>Bayesian network</a:t>
            </a:r>
          </a:p>
          <a:p>
            <a:pPr lvl="1"/>
            <a:r>
              <a:rPr lang="en-US" altLang="en-US" sz="2000" dirty="0" smtClean="0"/>
              <a:t>GANs</a:t>
            </a:r>
            <a:endParaRPr lang="en-US" altLang="en-US" sz="2400" dirty="0" smtClean="0"/>
          </a:p>
          <a:p>
            <a:r>
              <a:rPr lang="en-US" altLang="en-US" sz="2400" dirty="0" smtClean="0"/>
              <a:t>Models of data may apply to future prediction problems</a:t>
            </a:r>
          </a:p>
          <a:p>
            <a:pPr lvl="1"/>
            <a:endParaRPr lang="en-US" altLang="en-US" sz="2000" dirty="0" smtClean="0"/>
          </a:p>
        </p:txBody>
      </p:sp>
      <p:sp>
        <p:nvSpPr>
          <p:cNvPr id="7" name="Content Placeholder 2"/>
          <p:cNvSpPr txBox="1">
            <a:spLocks/>
          </p:cNvSpPr>
          <p:nvPr/>
        </p:nvSpPr>
        <p:spPr bwMode="auto">
          <a:xfrm>
            <a:off x="4572000" y="1143000"/>
            <a:ext cx="4114800" cy="5486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342900" indent="-342900" eaLnBrk="0" hangingPunct="0">
              <a:spcBef>
                <a:spcPct val="20000"/>
              </a:spcBef>
              <a:buFont typeface="Arial" pitchFamily="34" charset="0"/>
              <a:buNone/>
              <a:defRPr/>
            </a:pPr>
            <a:r>
              <a:rPr lang="en-US" sz="2800" dirty="0">
                <a:solidFill>
                  <a:prstClr val="black"/>
                </a:solidFill>
                <a:latin typeface="Calibri"/>
                <a:cs typeface="+mn-cs"/>
              </a:rPr>
              <a:t>Discriminative Models</a:t>
            </a:r>
          </a:p>
          <a:p>
            <a:pPr marL="342900" indent="-342900" eaLnBrk="0" hangingPunct="0">
              <a:spcBef>
                <a:spcPct val="20000"/>
              </a:spcBef>
              <a:buFont typeface="Arial" pitchFamily="34" charset="0"/>
              <a:buChar char="•"/>
              <a:defRPr/>
            </a:pPr>
            <a:r>
              <a:rPr lang="en-US" sz="2400" dirty="0">
                <a:solidFill>
                  <a:prstClr val="black"/>
                </a:solidFill>
                <a:latin typeface="Calibri"/>
                <a:cs typeface="+mn-cs"/>
              </a:rPr>
              <a:t>Learn to directly predict the labels from the data</a:t>
            </a:r>
          </a:p>
          <a:p>
            <a:pPr marL="342900" indent="-342900" eaLnBrk="0" hangingPunct="0">
              <a:spcBef>
                <a:spcPct val="20000"/>
              </a:spcBef>
              <a:buFont typeface="Arial" pitchFamily="34" charset="0"/>
              <a:buChar char="•"/>
              <a:defRPr/>
            </a:pPr>
            <a:r>
              <a:rPr lang="en-US" sz="2400" dirty="0">
                <a:solidFill>
                  <a:prstClr val="black"/>
                </a:solidFill>
                <a:latin typeface="Calibri"/>
                <a:cs typeface="+mn-cs"/>
              </a:rPr>
              <a:t>Often, assume a simple boundary (e.g., linear)</a:t>
            </a:r>
          </a:p>
          <a:p>
            <a:pPr marL="342900" indent="-342900" eaLnBrk="0" hangingPunct="0">
              <a:spcBef>
                <a:spcPct val="20000"/>
              </a:spcBef>
              <a:buFont typeface="Arial" pitchFamily="34" charset="0"/>
              <a:buChar char="•"/>
              <a:defRPr/>
            </a:pPr>
            <a:r>
              <a:rPr lang="en-US" sz="2400" dirty="0">
                <a:solidFill>
                  <a:prstClr val="black"/>
                </a:solidFill>
                <a:latin typeface="Calibri"/>
                <a:cs typeface="+mn-cs"/>
              </a:rPr>
              <a:t>Examples</a:t>
            </a:r>
          </a:p>
          <a:p>
            <a:pPr marL="742950" lvl="1" indent="-285750" eaLnBrk="0" hangingPunct="0">
              <a:spcBef>
                <a:spcPct val="20000"/>
              </a:spcBef>
              <a:buFont typeface="Arial" pitchFamily="34" charset="0"/>
              <a:buChar char="–"/>
              <a:defRPr/>
            </a:pPr>
            <a:r>
              <a:rPr lang="en-US" sz="2000" dirty="0">
                <a:solidFill>
                  <a:prstClr val="black"/>
                </a:solidFill>
                <a:latin typeface="Calibri"/>
                <a:cs typeface="+mn-cs"/>
              </a:rPr>
              <a:t>Logistic regression</a:t>
            </a:r>
          </a:p>
          <a:p>
            <a:pPr marL="742950" lvl="1" indent="-285750" eaLnBrk="0" hangingPunct="0">
              <a:spcBef>
                <a:spcPct val="20000"/>
              </a:spcBef>
              <a:buFont typeface="Arial" pitchFamily="34" charset="0"/>
              <a:buChar char="–"/>
              <a:defRPr/>
            </a:pPr>
            <a:r>
              <a:rPr lang="en-US" sz="2000" dirty="0">
                <a:solidFill>
                  <a:prstClr val="black"/>
                </a:solidFill>
                <a:latin typeface="Calibri"/>
                <a:cs typeface="+mn-cs"/>
              </a:rPr>
              <a:t>SVM</a:t>
            </a:r>
          </a:p>
          <a:p>
            <a:pPr marL="742950" lvl="1" indent="-285750" eaLnBrk="0" hangingPunct="0">
              <a:spcBef>
                <a:spcPct val="20000"/>
              </a:spcBef>
              <a:buFont typeface="Arial" pitchFamily="34" charset="0"/>
              <a:buChar char="–"/>
              <a:defRPr/>
            </a:pPr>
            <a:r>
              <a:rPr lang="en-US" sz="2000" dirty="0">
                <a:solidFill>
                  <a:prstClr val="black"/>
                </a:solidFill>
                <a:latin typeface="Calibri"/>
                <a:cs typeface="+mn-cs"/>
              </a:rPr>
              <a:t>Boosted decision trees</a:t>
            </a:r>
          </a:p>
          <a:p>
            <a:pPr marL="285750" indent="-285750" eaLnBrk="0" hangingPunct="0">
              <a:spcBef>
                <a:spcPct val="20000"/>
              </a:spcBef>
              <a:buFont typeface="Arial" pitchFamily="34" charset="0"/>
              <a:buChar char="–"/>
              <a:defRPr/>
            </a:pPr>
            <a:endParaRPr lang="en-US" sz="2000" dirty="0">
              <a:solidFill>
                <a:prstClr val="black"/>
              </a:solidFill>
              <a:latin typeface="Calibri"/>
              <a:cs typeface="+mn-cs"/>
            </a:endParaRPr>
          </a:p>
          <a:p>
            <a:pPr marL="285750" indent="-285750" eaLnBrk="0" hangingPunct="0">
              <a:spcBef>
                <a:spcPct val="20000"/>
              </a:spcBef>
              <a:buFont typeface="Arial" pitchFamily="34" charset="0"/>
              <a:buChar char="•"/>
              <a:defRPr/>
            </a:pPr>
            <a:r>
              <a:rPr lang="en-US" sz="2400" dirty="0">
                <a:solidFill>
                  <a:prstClr val="black"/>
                </a:solidFill>
                <a:latin typeface="Calibri"/>
                <a:cs typeface="+mn-cs"/>
              </a:rPr>
              <a:t>Often easier to predict a label from the data than to model the data</a:t>
            </a:r>
          </a:p>
          <a:p>
            <a:pPr marL="285750" indent="-285750" eaLnBrk="0" hangingPunct="0">
              <a:spcBef>
                <a:spcPct val="20000"/>
              </a:spcBef>
              <a:buFont typeface="Arial" pitchFamily="34" charset="0"/>
              <a:buChar char="–"/>
              <a:defRPr/>
            </a:pPr>
            <a:endParaRPr lang="en-US" sz="2000" dirty="0">
              <a:solidFill>
                <a:prstClr val="black"/>
              </a:solidFill>
              <a:latin typeface="Calibri"/>
              <a:cs typeface="+mn-cs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7315200" y="6581775"/>
            <a:ext cx="1668463" cy="276225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defRPr/>
            </a:pPr>
            <a:r>
              <a:rPr lang="en-US" sz="1200" dirty="0">
                <a:solidFill>
                  <a:prstClr val="white">
                    <a:lumMod val="65000"/>
                  </a:prstClr>
                </a:solidFill>
                <a:latin typeface="Arial" charset="0"/>
                <a:cs typeface="+mn-cs"/>
              </a:rPr>
              <a:t>Slide credit: D. </a:t>
            </a:r>
            <a:r>
              <a:rPr lang="en-US" sz="1200" dirty="0" err="1">
                <a:solidFill>
                  <a:prstClr val="white">
                    <a:lumMod val="65000"/>
                  </a:prstClr>
                </a:solidFill>
                <a:latin typeface="Arial" charset="0"/>
                <a:cs typeface="+mn-cs"/>
              </a:rPr>
              <a:t>Hoiem</a:t>
            </a:r>
            <a:endParaRPr lang="en-US" sz="1200" dirty="0">
              <a:solidFill>
                <a:prstClr val="white">
                  <a:lumMod val="65000"/>
                </a:prstClr>
              </a:solidFill>
              <a:latin typeface="Arial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260210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9D3AC3A4-A827-4FE8-9ABD-FFBE5D96B8FE}" type="slidenum">
              <a:rPr lang="en-US" altLang="en-US" smtClean="0">
                <a:solidFill>
                  <a:srgbClr val="000000"/>
                </a:solidFill>
              </a:rPr>
              <a:pPr>
                <a:defRPr/>
              </a:pPr>
              <a:t>26</a:t>
            </a:fld>
            <a:endParaRPr lang="en-US" altLang="en-US">
              <a:solidFill>
                <a:srgbClr val="000000"/>
              </a:solidFill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1223628" y="2204864"/>
            <a:ext cx="6861174" cy="156966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4800" dirty="0" smtClean="0"/>
              <a:t>A very brief look into a </a:t>
            </a:r>
          </a:p>
          <a:p>
            <a:pPr algn="ctr"/>
            <a:r>
              <a:rPr lang="en-US" sz="4800" dirty="0" smtClean="0"/>
              <a:t>few traditional classifiers</a:t>
            </a:r>
            <a:endParaRPr lang="en-US" sz="4800" dirty="0"/>
          </a:p>
        </p:txBody>
      </p:sp>
    </p:spTree>
    <p:extLst>
      <p:ext uri="{BB962C8B-B14F-4D97-AF65-F5344CB8AC3E}">
        <p14:creationId xmlns:p14="http://schemas.microsoft.com/office/powerpoint/2010/main" val="254703254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0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7" name="Google Shape;107;p19"/>
          <p:cNvGrpSpPr/>
          <p:nvPr/>
        </p:nvGrpSpPr>
        <p:grpSpPr>
          <a:xfrm>
            <a:off x="913354" y="3177703"/>
            <a:ext cx="1705901" cy="1724002"/>
            <a:chOff x="931887" y="1197190"/>
            <a:chExt cx="2561413" cy="2361000"/>
          </a:xfrm>
        </p:grpSpPr>
        <p:cxnSp>
          <p:nvCxnSpPr>
            <p:cNvPr id="108" name="Google Shape;108;p19"/>
            <p:cNvCxnSpPr/>
            <p:nvPr/>
          </p:nvCxnSpPr>
          <p:spPr>
            <a:xfrm flipH="1">
              <a:off x="935339" y="1197190"/>
              <a:ext cx="15900" cy="2361000"/>
            </a:xfrm>
            <a:prstGeom prst="straightConnector1">
              <a:avLst/>
            </a:prstGeom>
            <a:noFill/>
            <a:ln w="28575" cap="flat" cmpd="sng">
              <a:solidFill>
                <a:schemeClr val="dk2"/>
              </a:solidFill>
              <a:prstDash val="solid"/>
              <a:round/>
              <a:headEnd type="triangle" w="med" len="med"/>
              <a:tailEnd type="none" w="med" len="med"/>
            </a:ln>
          </p:spPr>
        </p:cxnSp>
        <p:cxnSp>
          <p:nvCxnSpPr>
            <p:cNvPr id="109" name="Google Shape;109;p19"/>
            <p:cNvCxnSpPr/>
            <p:nvPr/>
          </p:nvCxnSpPr>
          <p:spPr>
            <a:xfrm>
              <a:off x="931887" y="3552368"/>
              <a:ext cx="2443500" cy="5700"/>
            </a:xfrm>
            <a:prstGeom prst="straightConnector1">
              <a:avLst/>
            </a:prstGeom>
            <a:noFill/>
            <a:ln w="28575" cap="flat" cmpd="sng">
              <a:solidFill>
                <a:schemeClr val="dk2"/>
              </a:solidFill>
              <a:prstDash val="solid"/>
              <a:round/>
              <a:headEnd type="none" w="med" len="med"/>
              <a:tailEnd type="triangle" w="med" len="med"/>
            </a:ln>
          </p:spPr>
        </p:cxnSp>
        <p:sp>
          <p:nvSpPr>
            <p:cNvPr id="110" name="Google Shape;110;p19"/>
            <p:cNvSpPr/>
            <p:nvPr/>
          </p:nvSpPr>
          <p:spPr>
            <a:xfrm>
              <a:off x="1268958" y="3006260"/>
              <a:ext cx="94800" cy="92100"/>
            </a:xfrm>
            <a:prstGeom prst="ellipse">
              <a:avLst/>
            </a:prstGeom>
            <a:solidFill>
              <a:srgbClr val="CC0000"/>
            </a:solidFill>
            <a:ln w="9525" cap="flat" cmpd="sng">
              <a:solidFill>
                <a:srgbClr val="CC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</a:pPr>
              <a:endParaRPr sz="1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111" name="Google Shape;111;p19"/>
            <p:cNvSpPr/>
            <p:nvPr/>
          </p:nvSpPr>
          <p:spPr>
            <a:xfrm>
              <a:off x="1105161" y="3200354"/>
              <a:ext cx="94800" cy="92100"/>
            </a:xfrm>
            <a:prstGeom prst="ellipse">
              <a:avLst/>
            </a:prstGeom>
            <a:solidFill>
              <a:srgbClr val="CC0000"/>
            </a:solidFill>
            <a:ln w="9525" cap="flat" cmpd="sng">
              <a:solidFill>
                <a:srgbClr val="CC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</a:pPr>
              <a:endParaRPr sz="1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112" name="Google Shape;112;p19"/>
            <p:cNvSpPr/>
            <p:nvPr/>
          </p:nvSpPr>
          <p:spPr>
            <a:xfrm>
              <a:off x="1353968" y="3200354"/>
              <a:ext cx="94800" cy="92100"/>
            </a:xfrm>
            <a:prstGeom prst="ellipse">
              <a:avLst/>
            </a:prstGeom>
            <a:solidFill>
              <a:srgbClr val="CC0000"/>
            </a:solidFill>
            <a:ln w="9525" cap="flat" cmpd="sng">
              <a:solidFill>
                <a:srgbClr val="CC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</a:pPr>
              <a:endParaRPr sz="1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113" name="Google Shape;113;p19"/>
            <p:cNvSpPr/>
            <p:nvPr/>
          </p:nvSpPr>
          <p:spPr>
            <a:xfrm>
              <a:off x="1105161" y="2803972"/>
              <a:ext cx="94800" cy="92100"/>
            </a:xfrm>
            <a:prstGeom prst="ellipse">
              <a:avLst/>
            </a:prstGeom>
            <a:solidFill>
              <a:srgbClr val="CC0000"/>
            </a:solidFill>
            <a:ln w="9525" cap="flat" cmpd="sng">
              <a:solidFill>
                <a:srgbClr val="CC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</a:pPr>
              <a:endParaRPr sz="1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114" name="Google Shape;114;p19"/>
            <p:cNvSpPr/>
            <p:nvPr/>
          </p:nvSpPr>
          <p:spPr>
            <a:xfrm>
              <a:off x="1419494" y="2754085"/>
              <a:ext cx="94800" cy="92100"/>
            </a:xfrm>
            <a:prstGeom prst="ellipse">
              <a:avLst/>
            </a:prstGeom>
            <a:solidFill>
              <a:srgbClr val="CC0000"/>
            </a:solidFill>
            <a:ln w="9525" cap="flat" cmpd="sng">
              <a:solidFill>
                <a:srgbClr val="CC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</a:pPr>
              <a:endParaRPr sz="1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115" name="Google Shape;115;p19"/>
            <p:cNvSpPr/>
            <p:nvPr/>
          </p:nvSpPr>
          <p:spPr>
            <a:xfrm>
              <a:off x="1587453" y="2972256"/>
              <a:ext cx="94800" cy="92100"/>
            </a:xfrm>
            <a:prstGeom prst="ellipse">
              <a:avLst/>
            </a:prstGeom>
            <a:solidFill>
              <a:srgbClr val="CC0000"/>
            </a:solidFill>
            <a:ln w="9525" cap="flat" cmpd="sng">
              <a:solidFill>
                <a:srgbClr val="CC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</a:pPr>
              <a:endParaRPr sz="1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116" name="Google Shape;116;p19"/>
            <p:cNvSpPr/>
            <p:nvPr/>
          </p:nvSpPr>
          <p:spPr>
            <a:xfrm>
              <a:off x="1876259" y="3326442"/>
              <a:ext cx="94800" cy="92100"/>
            </a:xfrm>
            <a:prstGeom prst="ellipse">
              <a:avLst/>
            </a:prstGeom>
            <a:solidFill>
              <a:srgbClr val="CC0000"/>
            </a:solidFill>
            <a:ln w="9525" cap="flat" cmpd="sng">
              <a:solidFill>
                <a:srgbClr val="CC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</a:pPr>
              <a:endParaRPr sz="1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117" name="Google Shape;117;p19"/>
            <p:cNvSpPr/>
            <p:nvPr/>
          </p:nvSpPr>
          <p:spPr>
            <a:xfrm>
              <a:off x="1791750" y="2724756"/>
              <a:ext cx="94800" cy="92100"/>
            </a:xfrm>
            <a:prstGeom prst="ellipse">
              <a:avLst/>
            </a:prstGeom>
            <a:solidFill>
              <a:srgbClr val="CC0000"/>
            </a:solidFill>
            <a:ln w="9525" cap="flat" cmpd="sng">
              <a:solidFill>
                <a:srgbClr val="CC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</a:pPr>
              <a:endParaRPr sz="1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118" name="Google Shape;118;p19"/>
            <p:cNvSpPr/>
            <p:nvPr/>
          </p:nvSpPr>
          <p:spPr>
            <a:xfrm>
              <a:off x="1922878" y="3132347"/>
              <a:ext cx="94800" cy="92100"/>
            </a:xfrm>
            <a:prstGeom prst="ellipse">
              <a:avLst/>
            </a:prstGeom>
            <a:solidFill>
              <a:srgbClr val="CC0000"/>
            </a:solidFill>
            <a:ln w="9525" cap="flat" cmpd="sng">
              <a:solidFill>
                <a:srgbClr val="CC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</a:pPr>
              <a:endParaRPr sz="1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119" name="Google Shape;119;p19"/>
            <p:cNvSpPr/>
            <p:nvPr/>
          </p:nvSpPr>
          <p:spPr>
            <a:xfrm>
              <a:off x="1948661" y="2914176"/>
              <a:ext cx="94800" cy="92100"/>
            </a:xfrm>
            <a:prstGeom prst="ellipse">
              <a:avLst/>
            </a:prstGeom>
            <a:solidFill>
              <a:srgbClr val="CC0000"/>
            </a:solidFill>
            <a:ln w="9525" cap="flat" cmpd="sng">
              <a:solidFill>
                <a:srgbClr val="CC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</a:pPr>
              <a:endParaRPr sz="1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120" name="Google Shape;120;p19"/>
            <p:cNvSpPr/>
            <p:nvPr/>
          </p:nvSpPr>
          <p:spPr>
            <a:xfrm>
              <a:off x="1514379" y="2443914"/>
              <a:ext cx="94800" cy="92100"/>
            </a:xfrm>
            <a:prstGeom prst="ellipse">
              <a:avLst/>
            </a:prstGeom>
            <a:solidFill>
              <a:srgbClr val="CC0000"/>
            </a:solidFill>
            <a:ln w="9525" cap="flat" cmpd="sng">
              <a:solidFill>
                <a:srgbClr val="CC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</a:pPr>
              <a:endParaRPr sz="1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121" name="Google Shape;121;p19"/>
            <p:cNvSpPr/>
            <p:nvPr/>
          </p:nvSpPr>
          <p:spPr>
            <a:xfrm>
              <a:off x="2138430" y="3098343"/>
              <a:ext cx="94800" cy="92100"/>
            </a:xfrm>
            <a:prstGeom prst="ellipse">
              <a:avLst/>
            </a:prstGeom>
            <a:solidFill>
              <a:srgbClr val="CC0000"/>
            </a:solidFill>
            <a:ln w="9525" cap="flat" cmpd="sng">
              <a:solidFill>
                <a:srgbClr val="CC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</a:pPr>
              <a:endParaRPr sz="1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122" name="Google Shape;122;p19"/>
            <p:cNvSpPr/>
            <p:nvPr/>
          </p:nvSpPr>
          <p:spPr>
            <a:xfrm>
              <a:off x="2181181" y="2816839"/>
              <a:ext cx="94800" cy="92100"/>
            </a:xfrm>
            <a:prstGeom prst="ellipse">
              <a:avLst/>
            </a:prstGeom>
            <a:solidFill>
              <a:srgbClr val="CC0000"/>
            </a:solidFill>
            <a:ln w="9525" cap="flat" cmpd="sng">
              <a:solidFill>
                <a:srgbClr val="CC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</a:pPr>
              <a:endParaRPr sz="1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123" name="Google Shape;123;p19"/>
            <p:cNvSpPr/>
            <p:nvPr/>
          </p:nvSpPr>
          <p:spPr>
            <a:xfrm>
              <a:off x="2043546" y="2404864"/>
              <a:ext cx="94800" cy="92100"/>
            </a:xfrm>
            <a:prstGeom prst="ellipse">
              <a:avLst/>
            </a:prstGeom>
            <a:solidFill>
              <a:srgbClr val="3C78D8"/>
            </a:solidFill>
            <a:ln w="9525" cap="flat" cmpd="sng">
              <a:solidFill>
                <a:srgbClr val="3C78D8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</a:pPr>
              <a:endParaRPr sz="1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124" name="Google Shape;124;p19"/>
            <p:cNvSpPr/>
            <p:nvPr/>
          </p:nvSpPr>
          <p:spPr>
            <a:xfrm>
              <a:off x="1660659" y="2220697"/>
              <a:ext cx="94800" cy="92100"/>
            </a:xfrm>
            <a:prstGeom prst="ellipse">
              <a:avLst/>
            </a:prstGeom>
            <a:solidFill>
              <a:srgbClr val="3C78D8"/>
            </a:solidFill>
            <a:ln w="9525" cap="flat" cmpd="sng">
              <a:solidFill>
                <a:srgbClr val="3C78D8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</a:pPr>
              <a:endParaRPr sz="1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125" name="Google Shape;125;p19"/>
            <p:cNvSpPr/>
            <p:nvPr/>
          </p:nvSpPr>
          <p:spPr>
            <a:xfrm>
              <a:off x="1968353" y="2219807"/>
              <a:ext cx="94800" cy="92100"/>
            </a:xfrm>
            <a:prstGeom prst="ellipse">
              <a:avLst/>
            </a:prstGeom>
            <a:solidFill>
              <a:srgbClr val="3C78D8"/>
            </a:solidFill>
            <a:ln w="9525" cap="flat" cmpd="sng">
              <a:solidFill>
                <a:srgbClr val="3C78D8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</a:pPr>
              <a:endParaRPr sz="1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126" name="Google Shape;126;p19"/>
            <p:cNvSpPr/>
            <p:nvPr/>
          </p:nvSpPr>
          <p:spPr>
            <a:xfrm>
              <a:off x="2315989" y="2530951"/>
              <a:ext cx="94800" cy="92100"/>
            </a:xfrm>
            <a:prstGeom prst="ellipse">
              <a:avLst/>
            </a:prstGeom>
            <a:solidFill>
              <a:srgbClr val="3C78D8"/>
            </a:solidFill>
            <a:ln w="9525" cap="flat" cmpd="sng">
              <a:solidFill>
                <a:srgbClr val="3C78D8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</a:pPr>
              <a:endParaRPr sz="1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127" name="Google Shape;127;p19"/>
            <p:cNvSpPr/>
            <p:nvPr/>
          </p:nvSpPr>
          <p:spPr>
            <a:xfrm>
              <a:off x="2276066" y="2197614"/>
              <a:ext cx="94800" cy="92100"/>
            </a:xfrm>
            <a:prstGeom prst="ellipse">
              <a:avLst/>
            </a:prstGeom>
            <a:solidFill>
              <a:srgbClr val="3C78D8"/>
            </a:solidFill>
            <a:ln w="9525" cap="flat" cmpd="sng">
              <a:solidFill>
                <a:srgbClr val="3C78D8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</a:pPr>
              <a:endParaRPr sz="1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128" name="Google Shape;128;p19"/>
            <p:cNvSpPr/>
            <p:nvPr/>
          </p:nvSpPr>
          <p:spPr>
            <a:xfrm>
              <a:off x="2420506" y="2351831"/>
              <a:ext cx="94800" cy="92100"/>
            </a:xfrm>
            <a:prstGeom prst="ellipse">
              <a:avLst/>
            </a:prstGeom>
            <a:solidFill>
              <a:srgbClr val="3C78D8"/>
            </a:solidFill>
            <a:ln w="9525" cap="flat" cmpd="sng">
              <a:solidFill>
                <a:srgbClr val="3C78D8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</a:pPr>
              <a:endParaRPr sz="1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129" name="Google Shape;129;p19"/>
            <p:cNvSpPr/>
            <p:nvPr/>
          </p:nvSpPr>
          <p:spPr>
            <a:xfrm>
              <a:off x="2017762" y="2034751"/>
              <a:ext cx="94800" cy="92100"/>
            </a:xfrm>
            <a:prstGeom prst="ellipse">
              <a:avLst/>
            </a:prstGeom>
            <a:solidFill>
              <a:srgbClr val="3C78D8"/>
            </a:solidFill>
            <a:ln w="9525" cap="flat" cmpd="sng">
              <a:solidFill>
                <a:srgbClr val="3C78D8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</a:pPr>
              <a:endParaRPr sz="1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130" name="Google Shape;130;p19"/>
            <p:cNvSpPr/>
            <p:nvPr/>
          </p:nvSpPr>
          <p:spPr>
            <a:xfrm>
              <a:off x="2674341" y="2005794"/>
              <a:ext cx="94800" cy="92100"/>
            </a:xfrm>
            <a:prstGeom prst="ellipse">
              <a:avLst/>
            </a:prstGeom>
            <a:solidFill>
              <a:srgbClr val="3C78D8"/>
            </a:solidFill>
            <a:ln w="9525" cap="flat" cmpd="sng">
              <a:solidFill>
                <a:srgbClr val="3C78D8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</a:pPr>
              <a:endParaRPr sz="1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131" name="Google Shape;131;p19"/>
            <p:cNvSpPr/>
            <p:nvPr/>
          </p:nvSpPr>
          <p:spPr>
            <a:xfrm>
              <a:off x="2732064" y="2172194"/>
              <a:ext cx="94800" cy="92100"/>
            </a:xfrm>
            <a:prstGeom prst="ellipse">
              <a:avLst/>
            </a:prstGeom>
            <a:solidFill>
              <a:srgbClr val="3C78D8"/>
            </a:solidFill>
            <a:ln w="9525" cap="flat" cmpd="sng">
              <a:solidFill>
                <a:srgbClr val="3C78D8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</a:pPr>
              <a:endParaRPr sz="1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132" name="Google Shape;132;p19"/>
            <p:cNvSpPr/>
            <p:nvPr/>
          </p:nvSpPr>
          <p:spPr>
            <a:xfrm>
              <a:off x="2221113" y="1733950"/>
              <a:ext cx="94800" cy="92100"/>
            </a:xfrm>
            <a:prstGeom prst="ellipse">
              <a:avLst/>
            </a:prstGeom>
            <a:solidFill>
              <a:srgbClr val="3C78D8"/>
            </a:solidFill>
            <a:ln w="9525" cap="flat" cmpd="sng">
              <a:solidFill>
                <a:srgbClr val="3C78D8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</a:pPr>
              <a:endParaRPr sz="1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133" name="Google Shape;133;p19"/>
            <p:cNvSpPr/>
            <p:nvPr/>
          </p:nvSpPr>
          <p:spPr>
            <a:xfrm>
              <a:off x="2983765" y="1942668"/>
              <a:ext cx="94800" cy="92100"/>
            </a:xfrm>
            <a:prstGeom prst="ellipse">
              <a:avLst/>
            </a:prstGeom>
            <a:solidFill>
              <a:srgbClr val="3C78D8"/>
            </a:solidFill>
            <a:ln w="9525" cap="flat" cmpd="sng">
              <a:solidFill>
                <a:srgbClr val="3C78D8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</a:pPr>
              <a:endParaRPr sz="1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134" name="Google Shape;134;p19"/>
            <p:cNvSpPr/>
            <p:nvPr/>
          </p:nvSpPr>
          <p:spPr>
            <a:xfrm>
              <a:off x="1587453" y="1784604"/>
              <a:ext cx="94800" cy="92100"/>
            </a:xfrm>
            <a:prstGeom prst="ellipse">
              <a:avLst/>
            </a:prstGeom>
            <a:solidFill>
              <a:srgbClr val="3C78D8"/>
            </a:solidFill>
            <a:ln w="9525" cap="flat" cmpd="sng">
              <a:solidFill>
                <a:srgbClr val="3C78D8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</a:pPr>
              <a:endParaRPr sz="1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135" name="Google Shape;135;p19"/>
            <p:cNvSpPr/>
            <p:nvPr/>
          </p:nvSpPr>
          <p:spPr>
            <a:xfrm>
              <a:off x="2496700" y="1672649"/>
              <a:ext cx="996600" cy="858300"/>
            </a:xfrm>
            <a:prstGeom prst="ellipse">
              <a:avLst/>
            </a:prstGeom>
            <a:noFill/>
            <a:ln w="28575" cap="flat" cmpd="sng">
              <a:solidFill>
                <a:schemeClr val="dk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</a:pPr>
              <a:endParaRPr sz="1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136" name="Google Shape;136;p19"/>
            <p:cNvSpPr/>
            <p:nvPr/>
          </p:nvSpPr>
          <p:spPr>
            <a:xfrm>
              <a:off x="2911875" y="2081375"/>
              <a:ext cx="162600" cy="154500"/>
            </a:xfrm>
            <a:prstGeom prst="diamond">
              <a:avLst/>
            </a:prstGeom>
            <a:solidFill>
              <a:srgbClr val="551E80"/>
            </a:solidFill>
            <a:ln w="9525" cap="flat" cmpd="sng">
              <a:solidFill>
                <a:srgbClr val="551E8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</a:pPr>
              <a:endParaRPr sz="1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</p:grpSp>
      <p:grpSp>
        <p:nvGrpSpPr>
          <p:cNvPr id="137" name="Google Shape;137;p19"/>
          <p:cNvGrpSpPr/>
          <p:nvPr/>
        </p:nvGrpSpPr>
        <p:grpSpPr>
          <a:xfrm>
            <a:off x="3446872" y="3230647"/>
            <a:ext cx="1763841" cy="1828339"/>
            <a:chOff x="4492600" y="1197190"/>
            <a:chExt cx="2616587" cy="2604471"/>
          </a:xfrm>
        </p:grpSpPr>
        <p:grpSp>
          <p:nvGrpSpPr>
            <p:cNvPr id="138" name="Google Shape;138;p19"/>
            <p:cNvGrpSpPr/>
            <p:nvPr/>
          </p:nvGrpSpPr>
          <p:grpSpPr>
            <a:xfrm>
              <a:off x="4665687" y="1197190"/>
              <a:ext cx="2443500" cy="2361000"/>
              <a:chOff x="4665687" y="1197190"/>
              <a:chExt cx="2443500" cy="2361000"/>
            </a:xfrm>
          </p:grpSpPr>
          <p:cxnSp>
            <p:nvCxnSpPr>
              <p:cNvPr id="139" name="Google Shape;139;p19"/>
              <p:cNvCxnSpPr/>
              <p:nvPr/>
            </p:nvCxnSpPr>
            <p:spPr>
              <a:xfrm flipH="1">
                <a:off x="4669139" y="1197190"/>
                <a:ext cx="15900" cy="2361000"/>
              </a:xfrm>
              <a:prstGeom prst="straightConnector1">
                <a:avLst/>
              </a:prstGeom>
              <a:noFill/>
              <a:ln w="28575" cap="flat" cmpd="sng">
                <a:solidFill>
                  <a:schemeClr val="dk2"/>
                </a:solidFill>
                <a:prstDash val="solid"/>
                <a:round/>
                <a:headEnd type="triangle" w="med" len="med"/>
                <a:tailEnd type="none" w="med" len="med"/>
              </a:ln>
            </p:spPr>
          </p:cxnSp>
          <p:cxnSp>
            <p:nvCxnSpPr>
              <p:cNvPr id="140" name="Google Shape;140;p19"/>
              <p:cNvCxnSpPr/>
              <p:nvPr/>
            </p:nvCxnSpPr>
            <p:spPr>
              <a:xfrm>
                <a:off x="4665687" y="3552368"/>
                <a:ext cx="2443500" cy="5700"/>
              </a:xfrm>
              <a:prstGeom prst="straightConnector1">
                <a:avLst/>
              </a:prstGeom>
              <a:noFill/>
              <a:ln w="28575" cap="flat" cmpd="sng">
                <a:solidFill>
                  <a:schemeClr val="dk2"/>
                </a:solidFill>
                <a:prstDash val="solid"/>
                <a:round/>
                <a:headEnd type="none" w="med" len="med"/>
                <a:tailEnd type="triangle" w="med" len="med"/>
              </a:ln>
            </p:spPr>
          </p:cxnSp>
          <p:sp>
            <p:nvSpPr>
              <p:cNvPr id="141" name="Google Shape;141;p19"/>
              <p:cNvSpPr/>
              <p:nvPr/>
            </p:nvSpPr>
            <p:spPr>
              <a:xfrm>
                <a:off x="5002758" y="3006260"/>
                <a:ext cx="94800" cy="92100"/>
              </a:xfrm>
              <a:prstGeom prst="ellipse">
                <a:avLst/>
              </a:prstGeom>
              <a:solidFill>
                <a:srgbClr val="CC0000"/>
              </a:solidFill>
              <a:ln w="9525" cap="flat" cmpd="sng">
                <a:solidFill>
                  <a:srgbClr val="CC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</a:pPr>
                <a:endParaRPr sz="1400" kern="0">
                  <a:solidFill>
                    <a:srgbClr val="000000"/>
                  </a:solidFill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142" name="Google Shape;142;p19"/>
              <p:cNvSpPr/>
              <p:nvPr/>
            </p:nvSpPr>
            <p:spPr>
              <a:xfrm>
                <a:off x="4838961" y="3200354"/>
                <a:ext cx="94800" cy="92100"/>
              </a:xfrm>
              <a:prstGeom prst="ellipse">
                <a:avLst/>
              </a:prstGeom>
              <a:solidFill>
                <a:srgbClr val="CC0000"/>
              </a:solidFill>
              <a:ln w="9525" cap="flat" cmpd="sng">
                <a:solidFill>
                  <a:srgbClr val="CC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</a:pPr>
                <a:endParaRPr sz="1400" kern="0">
                  <a:solidFill>
                    <a:srgbClr val="000000"/>
                  </a:solidFill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143" name="Google Shape;143;p19"/>
              <p:cNvSpPr/>
              <p:nvPr/>
            </p:nvSpPr>
            <p:spPr>
              <a:xfrm>
                <a:off x="5087768" y="3200354"/>
                <a:ext cx="94800" cy="92100"/>
              </a:xfrm>
              <a:prstGeom prst="ellipse">
                <a:avLst/>
              </a:prstGeom>
              <a:solidFill>
                <a:srgbClr val="CC0000"/>
              </a:solidFill>
              <a:ln w="9525" cap="flat" cmpd="sng">
                <a:solidFill>
                  <a:srgbClr val="CC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</a:pPr>
                <a:endParaRPr sz="1400" kern="0">
                  <a:solidFill>
                    <a:srgbClr val="000000"/>
                  </a:solidFill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144" name="Google Shape;144;p19"/>
              <p:cNvSpPr/>
              <p:nvPr/>
            </p:nvSpPr>
            <p:spPr>
              <a:xfrm>
                <a:off x="4838961" y="2803972"/>
                <a:ext cx="94800" cy="92100"/>
              </a:xfrm>
              <a:prstGeom prst="ellipse">
                <a:avLst/>
              </a:prstGeom>
              <a:solidFill>
                <a:srgbClr val="CC0000"/>
              </a:solidFill>
              <a:ln w="9525" cap="flat" cmpd="sng">
                <a:solidFill>
                  <a:srgbClr val="CC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</a:pPr>
                <a:endParaRPr sz="1400" kern="0">
                  <a:solidFill>
                    <a:srgbClr val="000000"/>
                  </a:solidFill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145" name="Google Shape;145;p19"/>
              <p:cNvSpPr/>
              <p:nvPr/>
            </p:nvSpPr>
            <p:spPr>
              <a:xfrm>
                <a:off x="5153294" y="2754085"/>
                <a:ext cx="94800" cy="92100"/>
              </a:xfrm>
              <a:prstGeom prst="ellipse">
                <a:avLst/>
              </a:prstGeom>
              <a:solidFill>
                <a:srgbClr val="CC0000"/>
              </a:solidFill>
              <a:ln w="9525" cap="flat" cmpd="sng">
                <a:solidFill>
                  <a:srgbClr val="CC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</a:pPr>
                <a:endParaRPr sz="1400" kern="0">
                  <a:solidFill>
                    <a:srgbClr val="000000"/>
                  </a:solidFill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146" name="Google Shape;146;p19"/>
              <p:cNvSpPr/>
              <p:nvPr/>
            </p:nvSpPr>
            <p:spPr>
              <a:xfrm>
                <a:off x="5397453" y="2972256"/>
                <a:ext cx="94800" cy="92100"/>
              </a:xfrm>
              <a:prstGeom prst="ellipse">
                <a:avLst/>
              </a:prstGeom>
              <a:solidFill>
                <a:srgbClr val="CC0000"/>
              </a:solidFill>
              <a:ln w="9525" cap="flat" cmpd="sng">
                <a:solidFill>
                  <a:srgbClr val="CC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</a:pPr>
                <a:endParaRPr sz="1400" kern="0">
                  <a:solidFill>
                    <a:srgbClr val="000000"/>
                  </a:solidFill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147" name="Google Shape;147;p19"/>
              <p:cNvSpPr/>
              <p:nvPr/>
            </p:nvSpPr>
            <p:spPr>
              <a:xfrm>
                <a:off x="5610059" y="3326442"/>
                <a:ext cx="94800" cy="92100"/>
              </a:xfrm>
              <a:prstGeom prst="ellipse">
                <a:avLst/>
              </a:prstGeom>
              <a:solidFill>
                <a:srgbClr val="CC0000"/>
              </a:solidFill>
              <a:ln w="9525" cap="flat" cmpd="sng">
                <a:solidFill>
                  <a:srgbClr val="CC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</a:pPr>
                <a:endParaRPr sz="1400" kern="0">
                  <a:solidFill>
                    <a:srgbClr val="000000"/>
                  </a:solidFill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148" name="Google Shape;148;p19"/>
              <p:cNvSpPr/>
              <p:nvPr/>
            </p:nvSpPr>
            <p:spPr>
              <a:xfrm>
                <a:off x="5525550" y="2724756"/>
                <a:ext cx="94800" cy="92100"/>
              </a:xfrm>
              <a:prstGeom prst="ellipse">
                <a:avLst/>
              </a:prstGeom>
              <a:solidFill>
                <a:srgbClr val="CC0000"/>
              </a:solidFill>
              <a:ln w="9525" cap="flat" cmpd="sng">
                <a:solidFill>
                  <a:srgbClr val="CC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</a:pPr>
                <a:endParaRPr sz="1400" kern="0">
                  <a:solidFill>
                    <a:srgbClr val="000000"/>
                  </a:solidFill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149" name="Google Shape;149;p19"/>
              <p:cNvSpPr/>
              <p:nvPr/>
            </p:nvSpPr>
            <p:spPr>
              <a:xfrm>
                <a:off x="5656678" y="3132347"/>
                <a:ext cx="94800" cy="92100"/>
              </a:xfrm>
              <a:prstGeom prst="ellipse">
                <a:avLst/>
              </a:prstGeom>
              <a:solidFill>
                <a:srgbClr val="CC0000"/>
              </a:solidFill>
              <a:ln w="9525" cap="flat" cmpd="sng">
                <a:solidFill>
                  <a:srgbClr val="CC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</a:pPr>
                <a:endParaRPr sz="1400" kern="0">
                  <a:solidFill>
                    <a:srgbClr val="000000"/>
                  </a:solidFill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150" name="Google Shape;150;p19"/>
              <p:cNvSpPr/>
              <p:nvPr/>
            </p:nvSpPr>
            <p:spPr>
              <a:xfrm>
                <a:off x="5682461" y="2914176"/>
                <a:ext cx="94800" cy="92100"/>
              </a:xfrm>
              <a:prstGeom prst="ellipse">
                <a:avLst/>
              </a:prstGeom>
              <a:solidFill>
                <a:srgbClr val="CC0000"/>
              </a:solidFill>
              <a:ln w="9525" cap="flat" cmpd="sng">
                <a:solidFill>
                  <a:srgbClr val="CC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</a:pPr>
                <a:endParaRPr sz="1400" kern="0">
                  <a:solidFill>
                    <a:srgbClr val="000000"/>
                  </a:solidFill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151" name="Google Shape;151;p19"/>
              <p:cNvSpPr/>
              <p:nvPr/>
            </p:nvSpPr>
            <p:spPr>
              <a:xfrm>
                <a:off x="5248179" y="2443914"/>
                <a:ext cx="94800" cy="92100"/>
              </a:xfrm>
              <a:prstGeom prst="ellipse">
                <a:avLst/>
              </a:prstGeom>
              <a:solidFill>
                <a:srgbClr val="CC0000"/>
              </a:solidFill>
              <a:ln w="9525" cap="flat" cmpd="sng">
                <a:solidFill>
                  <a:srgbClr val="CC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</a:pPr>
                <a:endParaRPr sz="1400" kern="0">
                  <a:solidFill>
                    <a:srgbClr val="000000"/>
                  </a:solidFill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152" name="Google Shape;152;p19"/>
              <p:cNvSpPr/>
              <p:nvPr/>
            </p:nvSpPr>
            <p:spPr>
              <a:xfrm>
                <a:off x="5872230" y="3098343"/>
                <a:ext cx="94800" cy="92100"/>
              </a:xfrm>
              <a:prstGeom prst="ellipse">
                <a:avLst/>
              </a:prstGeom>
              <a:solidFill>
                <a:srgbClr val="CC0000"/>
              </a:solidFill>
              <a:ln w="9525" cap="flat" cmpd="sng">
                <a:solidFill>
                  <a:srgbClr val="CC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</a:pPr>
                <a:endParaRPr sz="1400" kern="0">
                  <a:solidFill>
                    <a:srgbClr val="000000"/>
                  </a:solidFill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153" name="Google Shape;153;p19"/>
              <p:cNvSpPr/>
              <p:nvPr/>
            </p:nvSpPr>
            <p:spPr>
              <a:xfrm>
                <a:off x="5914981" y="2816839"/>
                <a:ext cx="94800" cy="92100"/>
              </a:xfrm>
              <a:prstGeom prst="ellipse">
                <a:avLst/>
              </a:prstGeom>
              <a:solidFill>
                <a:srgbClr val="CC0000"/>
              </a:solidFill>
              <a:ln w="9525" cap="flat" cmpd="sng">
                <a:solidFill>
                  <a:srgbClr val="CC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</a:pPr>
                <a:endParaRPr sz="1400" kern="0">
                  <a:solidFill>
                    <a:srgbClr val="000000"/>
                  </a:solidFill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154" name="Google Shape;154;p19"/>
              <p:cNvSpPr/>
              <p:nvPr/>
            </p:nvSpPr>
            <p:spPr>
              <a:xfrm>
                <a:off x="5777346" y="2404864"/>
                <a:ext cx="94800" cy="92100"/>
              </a:xfrm>
              <a:prstGeom prst="ellipse">
                <a:avLst/>
              </a:prstGeom>
              <a:solidFill>
                <a:srgbClr val="3C78D8"/>
              </a:solidFill>
              <a:ln w="9525" cap="flat" cmpd="sng">
                <a:solidFill>
                  <a:srgbClr val="3C78D8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</a:pPr>
                <a:endParaRPr sz="1400" kern="0">
                  <a:solidFill>
                    <a:srgbClr val="000000"/>
                  </a:solidFill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155" name="Google Shape;155;p19"/>
              <p:cNvSpPr/>
              <p:nvPr/>
            </p:nvSpPr>
            <p:spPr>
              <a:xfrm>
                <a:off x="5394459" y="2220697"/>
                <a:ext cx="94800" cy="92100"/>
              </a:xfrm>
              <a:prstGeom prst="ellipse">
                <a:avLst/>
              </a:prstGeom>
              <a:solidFill>
                <a:srgbClr val="3C78D8"/>
              </a:solidFill>
              <a:ln w="9525" cap="flat" cmpd="sng">
                <a:solidFill>
                  <a:srgbClr val="3C78D8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</a:pPr>
                <a:endParaRPr sz="1400" kern="0">
                  <a:solidFill>
                    <a:srgbClr val="000000"/>
                  </a:solidFill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156" name="Google Shape;156;p19"/>
              <p:cNvSpPr/>
              <p:nvPr/>
            </p:nvSpPr>
            <p:spPr>
              <a:xfrm>
                <a:off x="5702153" y="2219807"/>
                <a:ext cx="94800" cy="92100"/>
              </a:xfrm>
              <a:prstGeom prst="ellipse">
                <a:avLst/>
              </a:prstGeom>
              <a:solidFill>
                <a:srgbClr val="3C78D8"/>
              </a:solidFill>
              <a:ln w="9525" cap="flat" cmpd="sng">
                <a:solidFill>
                  <a:srgbClr val="3C78D8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</a:pPr>
                <a:endParaRPr sz="1400" kern="0">
                  <a:solidFill>
                    <a:srgbClr val="000000"/>
                  </a:solidFill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157" name="Google Shape;157;p19"/>
              <p:cNvSpPr/>
              <p:nvPr/>
            </p:nvSpPr>
            <p:spPr>
              <a:xfrm>
                <a:off x="6049789" y="2530951"/>
                <a:ext cx="94800" cy="92100"/>
              </a:xfrm>
              <a:prstGeom prst="ellipse">
                <a:avLst/>
              </a:prstGeom>
              <a:solidFill>
                <a:srgbClr val="3C78D8"/>
              </a:solidFill>
              <a:ln w="9525" cap="flat" cmpd="sng">
                <a:solidFill>
                  <a:srgbClr val="3C78D8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</a:pPr>
                <a:endParaRPr sz="1400" kern="0">
                  <a:solidFill>
                    <a:srgbClr val="000000"/>
                  </a:solidFill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158" name="Google Shape;158;p19"/>
              <p:cNvSpPr/>
              <p:nvPr/>
            </p:nvSpPr>
            <p:spPr>
              <a:xfrm>
                <a:off x="6009866" y="2197614"/>
                <a:ext cx="94800" cy="92100"/>
              </a:xfrm>
              <a:prstGeom prst="ellipse">
                <a:avLst/>
              </a:prstGeom>
              <a:solidFill>
                <a:srgbClr val="3C78D8"/>
              </a:solidFill>
              <a:ln w="9525" cap="flat" cmpd="sng">
                <a:solidFill>
                  <a:srgbClr val="3C78D8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</a:pPr>
                <a:endParaRPr sz="1400" kern="0">
                  <a:solidFill>
                    <a:srgbClr val="000000"/>
                  </a:solidFill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159" name="Google Shape;159;p19"/>
              <p:cNvSpPr/>
              <p:nvPr/>
            </p:nvSpPr>
            <p:spPr>
              <a:xfrm>
                <a:off x="6154306" y="2351831"/>
                <a:ext cx="94800" cy="92100"/>
              </a:xfrm>
              <a:prstGeom prst="ellipse">
                <a:avLst/>
              </a:prstGeom>
              <a:solidFill>
                <a:srgbClr val="3C78D8"/>
              </a:solidFill>
              <a:ln w="9525" cap="flat" cmpd="sng">
                <a:solidFill>
                  <a:srgbClr val="3C78D8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</a:pPr>
                <a:endParaRPr sz="1400" kern="0">
                  <a:solidFill>
                    <a:srgbClr val="000000"/>
                  </a:solidFill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160" name="Google Shape;160;p19"/>
              <p:cNvSpPr/>
              <p:nvPr/>
            </p:nvSpPr>
            <p:spPr>
              <a:xfrm>
                <a:off x="5751562" y="2034751"/>
                <a:ext cx="94800" cy="92100"/>
              </a:xfrm>
              <a:prstGeom prst="ellipse">
                <a:avLst/>
              </a:prstGeom>
              <a:solidFill>
                <a:srgbClr val="3C78D8"/>
              </a:solidFill>
              <a:ln w="9525" cap="flat" cmpd="sng">
                <a:solidFill>
                  <a:srgbClr val="3C78D8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</a:pPr>
                <a:endParaRPr sz="1400" kern="0">
                  <a:solidFill>
                    <a:srgbClr val="000000"/>
                  </a:solidFill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161" name="Google Shape;161;p19"/>
              <p:cNvSpPr/>
              <p:nvPr/>
            </p:nvSpPr>
            <p:spPr>
              <a:xfrm>
                <a:off x="6331941" y="2005794"/>
                <a:ext cx="94800" cy="92100"/>
              </a:xfrm>
              <a:prstGeom prst="ellipse">
                <a:avLst/>
              </a:prstGeom>
              <a:solidFill>
                <a:srgbClr val="3C78D8"/>
              </a:solidFill>
              <a:ln w="9525" cap="flat" cmpd="sng">
                <a:solidFill>
                  <a:srgbClr val="3C78D8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</a:pPr>
                <a:endParaRPr sz="1400" kern="0">
                  <a:solidFill>
                    <a:srgbClr val="000000"/>
                  </a:solidFill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162" name="Google Shape;162;p19"/>
              <p:cNvSpPr/>
              <p:nvPr/>
            </p:nvSpPr>
            <p:spPr>
              <a:xfrm>
                <a:off x="6465864" y="2172194"/>
                <a:ext cx="94800" cy="92100"/>
              </a:xfrm>
              <a:prstGeom prst="ellipse">
                <a:avLst/>
              </a:prstGeom>
              <a:solidFill>
                <a:srgbClr val="3C78D8"/>
              </a:solidFill>
              <a:ln w="9525" cap="flat" cmpd="sng">
                <a:solidFill>
                  <a:srgbClr val="3C78D8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</a:pPr>
                <a:endParaRPr sz="1400" kern="0">
                  <a:solidFill>
                    <a:srgbClr val="000000"/>
                  </a:solidFill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163" name="Google Shape;163;p19"/>
              <p:cNvSpPr/>
              <p:nvPr/>
            </p:nvSpPr>
            <p:spPr>
              <a:xfrm>
                <a:off x="5954913" y="1733950"/>
                <a:ext cx="94800" cy="92100"/>
              </a:xfrm>
              <a:prstGeom prst="ellipse">
                <a:avLst/>
              </a:prstGeom>
              <a:solidFill>
                <a:srgbClr val="3C78D8"/>
              </a:solidFill>
              <a:ln w="9525" cap="flat" cmpd="sng">
                <a:solidFill>
                  <a:srgbClr val="3C78D8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</a:pPr>
                <a:endParaRPr sz="1400" kern="0">
                  <a:solidFill>
                    <a:srgbClr val="000000"/>
                  </a:solidFill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164" name="Google Shape;164;p19"/>
              <p:cNvSpPr/>
              <p:nvPr/>
            </p:nvSpPr>
            <p:spPr>
              <a:xfrm>
                <a:off x="6717565" y="1942668"/>
                <a:ext cx="94800" cy="92100"/>
              </a:xfrm>
              <a:prstGeom prst="ellipse">
                <a:avLst/>
              </a:prstGeom>
              <a:solidFill>
                <a:srgbClr val="3C78D8"/>
              </a:solidFill>
              <a:ln w="9525" cap="flat" cmpd="sng">
                <a:solidFill>
                  <a:srgbClr val="3C78D8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</a:pPr>
                <a:endParaRPr sz="1400" kern="0">
                  <a:solidFill>
                    <a:srgbClr val="000000"/>
                  </a:solidFill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165" name="Google Shape;165;p19"/>
              <p:cNvSpPr/>
              <p:nvPr/>
            </p:nvSpPr>
            <p:spPr>
              <a:xfrm>
                <a:off x="5321253" y="1784604"/>
                <a:ext cx="94800" cy="92100"/>
              </a:xfrm>
              <a:prstGeom prst="ellipse">
                <a:avLst/>
              </a:prstGeom>
              <a:solidFill>
                <a:srgbClr val="3C78D8"/>
              </a:solidFill>
              <a:ln w="9525" cap="flat" cmpd="sng">
                <a:solidFill>
                  <a:srgbClr val="3C78D8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</a:pPr>
                <a:endParaRPr sz="1400" kern="0">
                  <a:solidFill>
                    <a:srgbClr val="000000"/>
                  </a:solidFill>
                  <a:latin typeface="Arial"/>
                  <a:cs typeface="Arial"/>
                  <a:sym typeface="Arial"/>
                </a:endParaRPr>
              </a:p>
            </p:txBody>
          </p:sp>
        </p:grpSp>
        <p:sp>
          <p:nvSpPr>
            <p:cNvPr id="166" name="Google Shape;166;p19"/>
            <p:cNvSpPr/>
            <p:nvPr/>
          </p:nvSpPr>
          <p:spPr>
            <a:xfrm>
              <a:off x="4492600" y="2943361"/>
              <a:ext cx="996600" cy="858300"/>
            </a:xfrm>
            <a:prstGeom prst="ellipse">
              <a:avLst/>
            </a:prstGeom>
            <a:noFill/>
            <a:ln w="28575" cap="flat" cmpd="sng">
              <a:solidFill>
                <a:schemeClr val="dk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</a:pPr>
              <a:endParaRPr sz="1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167" name="Google Shape;167;p19"/>
            <p:cNvSpPr/>
            <p:nvPr/>
          </p:nvSpPr>
          <p:spPr>
            <a:xfrm>
              <a:off x="4909600" y="3345175"/>
              <a:ext cx="162600" cy="154500"/>
            </a:xfrm>
            <a:prstGeom prst="diamond">
              <a:avLst/>
            </a:prstGeom>
            <a:solidFill>
              <a:srgbClr val="4C1130"/>
            </a:solidFill>
            <a:ln w="9525" cap="flat" cmpd="sng">
              <a:solidFill>
                <a:srgbClr val="4C113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</a:pPr>
              <a:endParaRPr sz="1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</p:grpSp>
      <p:sp>
        <p:nvSpPr>
          <p:cNvPr id="168" name="Google Shape;168;p19"/>
          <p:cNvSpPr/>
          <p:nvPr/>
        </p:nvSpPr>
        <p:spPr>
          <a:xfrm>
            <a:off x="751922" y="1379063"/>
            <a:ext cx="7489200" cy="1065000"/>
          </a:xfrm>
          <a:prstGeom prst="roundRect">
            <a:avLst>
              <a:gd name="adj" fmla="val 16667"/>
            </a:avLst>
          </a:prstGeom>
          <a:solidFill>
            <a:schemeClr val="lt2"/>
          </a:solidFill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  <a:effectLst>
            <a:outerShdw blurRad="57150" dist="19050" dir="5400000" algn="bl" rotWithShape="0">
              <a:srgbClr val="000000">
                <a:alpha val="50000"/>
              </a:srgbClr>
            </a:outerShdw>
          </a:effectLst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algn="just" eaLnBrk="1" fontAlgn="auto" hangingPunct="1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</a:pPr>
            <a:r>
              <a:rPr lang="en" sz="1800" b="1" kern="0" dirty="0">
                <a:solidFill>
                  <a:srgbClr val="000000"/>
                </a:solidFill>
                <a:latin typeface="EB Garamond"/>
                <a:ea typeface="EB Garamond"/>
                <a:cs typeface="EB Garamond"/>
                <a:sym typeface="EB Garamond"/>
              </a:rPr>
              <a:t>The k-Nearest Neighbor (kNN) classifier </a:t>
            </a:r>
            <a:r>
              <a:rPr lang="en" sz="1800" b="1" kern="0" dirty="0">
                <a:solidFill>
                  <a:srgbClr val="0000FF"/>
                </a:solidFill>
                <a:latin typeface="EB Garamond"/>
                <a:ea typeface="EB Garamond"/>
                <a:cs typeface="EB Garamond"/>
                <a:sym typeface="EB Garamond"/>
              </a:rPr>
              <a:t>(Fix and Hodges 1958, Cover and Hart 1967)</a:t>
            </a:r>
            <a:r>
              <a:rPr lang="en" sz="1800" b="1" kern="0" dirty="0">
                <a:solidFill>
                  <a:srgbClr val="000000"/>
                </a:solidFill>
                <a:latin typeface="EB Garamond"/>
                <a:ea typeface="EB Garamond"/>
                <a:cs typeface="EB Garamond"/>
                <a:sym typeface="EB Garamond"/>
              </a:rPr>
              <a:t> labels a test point </a:t>
            </a:r>
            <a:r>
              <a:rPr lang="en" sz="1800" b="1" i="1" kern="0" dirty="0">
                <a:solidFill>
                  <a:srgbClr val="000000"/>
                </a:solidFill>
                <a:latin typeface="EB Garamond"/>
                <a:ea typeface="EB Garamond"/>
                <a:cs typeface="EB Garamond"/>
                <a:sym typeface="EB Garamond"/>
              </a:rPr>
              <a:t>y</a:t>
            </a:r>
            <a:r>
              <a:rPr lang="en" sz="1800" b="1" kern="0" dirty="0">
                <a:solidFill>
                  <a:srgbClr val="000000"/>
                </a:solidFill>
                <a:latin typeface="EB Garamond"/>
                <a:ea typeface="EB Garamond"/>
                <a:cs typeface="EB Garamond"/>
                <a:sym typeface="EB Garamond"/>
              </a:rPr>
              <a:t>, by that class which has the majority number of representatives among the training set neighbors of </a:t>
            </a:r>
            <a:r>
              <a:rPr lang="en" sz="1800" b="1" i="1" kern="0" dirty="0">
                <a:solidFill>
                  <a:srgbClr val="000000"/>
                </a:solidFill>
                <a:latin typeface="EB Garamond"/>
                <a:ea typeface="EB Garamond"/>
                <a:cs typeface="EB Garamond"/>
                <a:sym typeface="EB Garamond"/>
              </a:rPr>
              <a:t>y</a:t>
            </a:r>
            <a:r>
              <a:rPr lang="en" sz="1800" b="1" kern="0" dirty="0">
                <a:solidFill>
                  <a:srgbClr val="000000"/>
                </a:solidFill>
                <a:latin typeface="EB Garamond"/>
                <a:ea typeface="EB Garamond"/>
                <a:cs typeface="EB Garamond"/>
                <a:sym typeface="EB Garamond"/>
              </a:rPr>
              <a:t>. </a:t>
            </a:r>
            <a:endParaRPr sz="1800" b="1" kern="0" dirty="0">
              <a:solidFill>
                <a:srgbClr val="000000"/>
              </a:solidFill>
              <a:latin typeface="EB Garamond"/>
              <a:ea typeface="EB Garamond"/>
              <a:cs typeface="EB Garamond"/>
              <a:sym typeface="EB Garamond"/>
            </a:endParaRPr>
          </a:p>
        </p:txBody>
      </p:sp>
      <p:sp>
        <p:nvSpPr>
          <p:cNvPr id="169" name="Google Shape;169;p19"/>
          <p:cNvSpPr txBox="1"/>
          <p:nvPr/>
        </p:nvSpPr>
        <p:spPr>
          <a:xfrm>
            <a:off x="77009" y="5882840"/>
            <a:ext cx="8407800" cy="473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457200" indent="-285750" algn="just" eaLnBrk="1" fontAlgn="auto" hangingPunct="1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EB Garamond"/>
              <a:buChar char="●"/>
            </a:pPr>
            <a:r>
              <a:rPr lang="en" sz="1200" kern="0" dirty="0">
                <a:solidFill>
                  <a:srgbClr val="000000"/>
                </a:solidFill>
                <a:latin typeface="EB Garamond"/>
                <a:ea typeface="EB Garamond"/>
                <a:cs typeface="EB Garamond"/>
                <a:sym typeface="EB Garamond"/>
              </a:rPr>
              <a:t>E. Fix and J.L. Hodges, Discriminatory analysis-nonparametric discrimination: consistency properties, Technical Report, California Univ Berkeley (1951)</a:t>
            </a:r>
            <a:endParaRPr sz="1200" kern="0" dirty="0">
              <a:solidFill>
                <a:srgbClr val="000000"/>
              </a:solidFill>
              <a:latin typeface="EB Garamond"/>
              <a:ea typeface="EB Garamond"/>
              <a:cs typeface="EB Garamond"/>
              <a:sym typeface="EB Garamond"/>
            </a:endParaRPr>
          </a:p>
          <a:p>
            <a:pPr marL="457200" indent="-285750" algn="just" eaLnBrk="1" fontAlgn="auto" hangingPunct="1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EB Garamond"/>
              <a:buChar char="●"/>
            </a:pPr>
            <a:r>
              <a:rPr lang="en" sz="1200" kern="0" dirty="0">
                <a:solidFill>
                  <a:srgbClr val="000000"/>
                </a:solidFill>
                <a:latin typeface="EB Garamond"/>
                <a:ea typeface="EB Garamond"/>
                <a:cs typeface="EB Garamond"/>
                <a:sym typeface="EB Garamond"/>
              </a:rPr>
              <a:t>T. M. Cover and P. E. Hart, “Nearest neighbour pattern classification,” IEEE Transactions on Information Theory, vol. 13, no. 1, pp. 21–27, 1967.</a:t>
            </a:r>
            <a:endParaRPr sz="1200" kern="0" dirty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170" name="Google Shape;170;p19"/>
          <p:cNvSpPr/>
          <p:nvPr/>
        </p:nvSpPr>
        <p:spPr>
          <a:xfrm>
            <a:off x="-11522" y="5535423"/>
            <a:ext cx="9144000" cy="243600"/>
          </a:xfrm>
          <a:prstGeom prst="rect">
            <a:avLst/>
          </a:prstGeom>
          <a:solidFill>
            <a:srgbClr val="A4C2F4"/>
          </a:solidFill>
          <a:ln w="9525" cap="flat" cmpd="sng">
            <a:solidFill>
              <a:srgbClr val="A4C2F4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</a:pPr>
            <a:r>
              <a:rPr lang="en" sz="1400" b="1" kern="0">
                <a:solidFill>
                  <a:srgbClr val="000000"/>
                </a:solidFill>
                <a:latin typeface="EB Garamond"/>
                <a:ea typeface="EB Garamond"/>
                <a:cs typeface="EB Garamond"/>
                <a:sym typeface="EB Garamond"/>
              </a:rPr>
              <a:t>Reference:</a:t>
            </a:r>
            <a:endParaRPr sz="1400" b="1" kern="0">
              <a:solidFill>
                <a:srgbClr val="000000"/>
              </a:solidFill>
              <a:latin typeface="EB Garamond"/>
              <a:ea typeface="EB Garamond"/>
              <a:cs typeface="EB Garamond"/>
              <a:sym typeface="EB Garamond"/>
            </a:endParaRPr>
          </a:p>
        </p:txBody>
      </p:sp>
      <p:cxnSp>
        <p:nvCxnSpPr>
          <p:cNvPr id="171" name="Google Shape;171;p19"/>
          <p:cNvCxnSpPr/>
          <p:nvPr/>
        </p:nvCxnSpPr>
        <p:spPr>
          <a:xfrm>
            <a:off x="677" y="955583"/>
            <a:ext cx="9145500" cy="13800"/>
          </a:xfrm>
          <a:prstGeom prst="straightConnector1">
            <a:avLst/>
          </a:prstGeom>
          <a:noFill/>
          <a:ln w="76200" cap="flat" cmpd="sng">
            <a:solidFill>
              <a:srgbClr val="551E80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172" name="Google Shape;172;p19"/>
          <p:cNvSpPr txBox="1"/>
          <p:nvPr/>
        </p:nvSpPr>
        <p:spPr>
          <a:xfrm>
            <a:off x="134670" y="472079"/>
            <a:ext cx="6514500" cy="382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</a:pPr>
            <a:r>
              <a:rPr lang="en" sz="2400" b="1" kern="0" dirty="0">
                <a:solidFill>
                  <a:srgbClr val="33124D"/>
                </a:solidFill>
                <a:latin typeface="EB Garamond"/>
                <a:ea typeface="EB Garamond"/>
                <a:cs typeface="EB Garamond"/>
                <a:sym typeface="EB Garamond"/>
              </a:rPr>
              <a:t>The </a:t>
            </a:r>
            <a:r>
              <a:rPr lang="en" sz="2400" b="1" i="1" kern="0" dirty="0">
                <a:solidFill>
                  <a:srgbClr val="33124D"/>
                </a:solidFill>
                <a:latin typeface="EB Garamond"/>
                <a:ea typeface="EB Garamond"/>
                <a:cs typeface="EB Garamond"/>
                <a:sym typeface="EB Garamond"/>
              </a:rPr>
              <a:t>k</a:t>
            </a:r>
            <a:r>
              <a:rPr lang="en" sz="2400" b="1" kern="0" dirty="0">
                <a:solidFill>
                  <a:srgbClr val="33124D"/>
                </a:solidFill>
                <a:latin typeface="EB Garamond"/>
                <a:ea typeface="EB Garamond"/>
                <a:cs typeface="EB Garamond"/>
                <a:sym typeface="EB Garamond"/>
              </a:rPr>
              <a:t>-Nearest Neighbor Classifier</a:t>
            </a:r>
            <a:endParaRPr sz="2400" b="1" kern="0" dirty="0">
              <a:solidFill>
                <a:srgbClr val="33124D"/>
              </a:solidFill>
              <a:latin typeface="EB Garamond"/>
              <a:ea typeface="EB Garamond"/>
              <a:cs typeface="EB Garamond"/>
              <a:sym typeface="EB Garamond"/>
            </a:endParaRPr>
          </a:p>
        </p:txBody>
      </p:sp>
      <p:grpSp>
        <p:nvGrpSpPr>
          <p:cNvPr id="173" name="Google Shape;173;p19"/>
          <p:cNvGrpSpPr/>
          <p:nvPr/>
        </p:nvGrpSpPr>
        <p:grpSpPr>
          <a:xfrm>
            <a:off x="6282353" y="3177740"/>
            <a:ext cx="1627500" cy="1724100"/>
            <a:chOff x="6282353" y="2320490"/>
            <a:chExt cx="1627500" cy="1724100"/>
          </a:xfrm>
        </p:grpSpPr>
        <p:cxnSp>
          <p:nvCxnSpPr>
            <p:cNvPr id="174" name="Google Shape;174;p19"/>
            <p:cNvCxnSpPr/>
            <p:nvPr/>
          </p:nvCxnSpPr>
          <p:spPr>
            <a:xfrm flipH="1">
              <a:off x="6284741" y="2320490"/>
              <a:ext cx="10500" cy="1724100"/>
            </a:xfrm>
            <a:prstGeom prst="straightConnector1">
              <a:avLst/>
            </a:prstGeom>
            <a:noFill/>
            <a:ln w="28575" cap="flat" cmpd="sng">
              <a:solidFill>
                <a:schemeClr val="dk2"/>
              </a:solidFill>
              <a:prstDash val="solid"/>
              <a:round/>
              <a:headEnd type="triangle" w="med" len="med"/>
              <a:tailEnd type="none" w="med" len="med"/>
            </a:ln>
          </p:spPr>
        </p:cxnSp>
        <p:cxnSp>
          <p:nvCxnSpPr>
            <p:cNvPr id="175" name="Google Shape;175;p19"/>
            <p:cNvCxnSpPr/>
            <p:nvPr/>
          </p:nvCxnSpPr>
          <p:spPr>
            <a:xfrm>
              <a:off x="6282353" y="4040241"/>
              <a:ext cx="1627500" cy="4200"/>
            </a:xfrm>
            <a:prstGeom prst="straightConnector1">
              <a:avLst/>
            </a:prstGeom>
            <a:noFill/>
            <a:ln w="28575" cap="flat" cmpd="sng">
              <a:solidFill>
                <a:schemeClr val="dk2"/>
              </a:solidFill>
              <a:prstDash val="solid"/>
              <a:round/>
              <a:headEnd type="none" w="med" len="med"/>
              <a:tailEnd type="triangle" w="med" len="med"/>
            </a:ln>
          </p:spPr>
        </p:cxnSp>
        <p:sp>
          <p:nvSpPr>
            <p:cNvPr id="176" name="Google Shape;176;p19"/>
            <p:cNvSpPr/>
            <p:nvPr/>
          </p:nvSpPr>
          <p:spPr>
            <a:xfrm>
              <a:off x="6506842" y="3641473"/>
              <a:ext cx="63000" cy="67200"/>
            </a:xfrm>
            <a:prstGeom prst="ellipse">
              <a:avLst/>
            </a:prstGeom>
            <a:solidFill>
              <a:srgbClr val="CC0000"/>
            </a:solidFill>
            <a:ln w="9525" cap="flat" cmpd="sng">
              <a:solidFill>
                <a:srgbClr val="CC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</a:pPr>
              <a:endParaRPr sz="1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177" name="Google Shape;177;p19"/>
            <p:cNvSpPr/>
            <p:nvPr/>
          </p:nvSpPr>
          <p:spPr>
            <a:xfrm>
              <a:off x="6397753" y="3783201"/>
              <a:ext cx="63000" cy="67200"/>
            </a:xfrm>
            <a:prstGeom prst="ellipse">
              <a:avLst/>
            </a:prstGeom>
            <a:solidFill>
              <a:srgbClr val="CC0000"/>
            </a:solidFill>
            <a:ln w="9525" cap="flat" cmpd="sng">
              <a:solidFill>
                <a:srgbClr val="CC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</a:pPr>
              <a:endParaRPr sz="1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178" name="Google Shape;178;p19"/>
            <p:cNvSpPr/>
            <p:nvPr/>
          </p:nvSpPr>
          <p:spPr>
            <a:xfrm>
              <a:off x="6563459" y="3783201"/>
              <a:ext cx="63000" cy="67200"/>
            </a:xfrm>
            <a:prstGeom prst="ellipse">
              <a:avLst/>
            </a:prstGeom>
            <a:solidFill>
              <a:srgbClr val="CC0000"/>
            </a:solidFill>
            <a:ln w="9525" cap="flat" cmpd="sng">
              <a:solidFill>
                <a:srgbClr val="CC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</a:pPr>
              <a:endParaRPr sz="1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179" name="Google Shape;179;p19"/>
            <p:cNvSpPr/>
            <p:nvPr/>
          </p:nvSpPr>
          <p:spPr>
            <a:xfrm>
              <a:off x="6397753" y="3493762"/>
              <a:ext cx="63000" cy="67200"/>
            </a:xfrm>
            <a:prstGeom prst="ellipse">
              <a:avLst/>
            </a:prstGeom>
            <a:solidFill>
              <a:srgbClr val="CC0000"/>
            </a:solidFill>
            <a:ln w="9525" cap="flat" cmpd="sng">
              <a:solidFill>
                <a:srgbClr val="CC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</a:pPr>
              <a:endParaRPr sz="1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180" name="Google Shape;180;p19"/>
            <p:cNvSpPr/>
            <p:nvPr/>
          </p:nvSpPr>
          <p:spPr>
            <a:xfrm>
              <a:off x="6607099" y="3457335"/>
              <a:ext cx="63000" cy="67200"/>
            </a:xfrm>
            <a:prstGeom prst="ellipse">
              <a:avLst/>
            </a:prstGeom>
            <a:solidFill>
              <a:srgbClr val="CC0000"/>
            </a:solidFill>
            <a:ln w="9525" cap="flat" cmpd="sng">
              <a:solidFill>
                <a:srgbClr val="CC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</a:pPr>
              <a:endParaRPr sz="1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181" name="Google Shape;181;p19"/>
            <p:cNvSpPr/>
            <p:nvPr/>
          </p:nvSpPr>
          <p:spPr>
            <a:xfrm>
              <a:off x="6718960" y="3616643"/>
              <a:ext cx="63000" cy="67200"/>
            </a:xfrm>
            <a:prstGeom prst="ellipse">
              <a:avLst/>
            </a:prstGeom>
            <a:solidFill>
              <a:srgbClr val="CC0000"/>
            </a:solidFill>
            <a:ln w="9525" cap="flat" cmpd="sng">
              <a:solidFill>
                <a:srgbClr val="CC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</a:pPr>
              <a:endParaRPr sz="1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182" name="Google Shape;182;p19"/>
            <p:cNvSpPr/>
            <p:nvPr/>
          </p:nvSpPr>
          <p:spPr>
            <a:xfrm>
              <a:off x="6911304" y="3875269"/>
              <a:ext cx="63000" cy="67200"/>
            </a:xfrm>
            <a:prstGeom prst="ellipse">
              <a:avLst/>
            </a:prstGeom>
            <a:solidFill>
              <a:srgbClr val="CC0000"/>
            </a:solidFill>
            <a:ln w="9525" cap="flat" cmpd="sng">
              <a:solidFill>
                <a:srgbClr val="CC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</a:pPr>
              <a:endParaRPr sz="1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183" name="Google Shape;183;p19"/>
            <p:cNvSpPr/>
            <p:nvPr/>
          </p:nvSpPr>
          <p:spPr>
            <a:xfrm>
              <a:off x="6855021" y="3435919"/>
              <a:ext cx="63000" cy="67200"/>
            </a:xfrm>
            <a:prstGeom prst="ellipse">
              <a:avLst/>
            </a:prstGeom>
            <a:solidFill>
              <a:srgbClr val="CC0000"/>
            </a:solidFill>
            <a:ln w="9525" cap="flat" cmpd="sng">
              <a:solidFill>
                <a:srgbClr val="CC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</a:pPr>
              <a:endParaRPr sz="1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184" name="Google Shape;184;p19"/>
            <p:cNvSpPr/>
            <p:nvPr/>
          </p:nvSpPr>
          <p:spPr>
            <a:xfrm>
              <a:off x="6942353" y="3733541"/>
              <a:ext cx="63000" cy="67200"/>
            </a:xfrm>
            <a:prstGeom prst="ellipse">
              <a:avLst/>
            </a:prstGeom>
            <a:solidFill>
              <a:srgbClr val="CC0000"/>
            </a:solidFill>
            <a:ln w="9525" cap="flat" cmpd="sng">
              <a:solidFill>
                <a:srgbClr val="CC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</a:pPr>
              <a:endParaRPr sz="1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185" name="Google Shape;185;p19"/>
            <p:cNvSpPr/>
            <p:nvPr/>
          </p:nvSpPr>
          <p:spPr>
            <a:xfrm>
              <a:off x="6959524" y="3574233"/>
              <a:ext cx="63000" cy="67200"/>
            </a:xfrm>
            <a:prstGeom prst="ellipse">
              <a:avLst/>
            </a:prstGeom>
            <a:solidFill>
              <a:srgbClr val="CC0000"/>
            </a:solidFill>
            <a:ln w="9525" cap="flat" cmpd="sng">
              <a:solidFill>
                <a:srgbClr val="CC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</a:pPr>
              <a:endParaRPr sz="1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186" name="Google Shape;186;p19"/>
            <p:cNvSpPr/>
            <p:nvPr/>
          </p:nvSpPr>
          <p:spPr>
            <a:xfrm>
              <a:off x="6670292" y="3230848"/>
              <a:ext cx="63000" cy="67200"/>
            </a:xfrm>
            <a:prstGeom prst="ellipse">
              <a:avLst/>
            </a:prstGeom>
            <a:solidFill>
              <a:srgbClr val="CC0000"/>
            </a:solidFill>
            <a:ln w="9525" cap="flat" cmpd="sng">
              <a:solidFill>
                <a:srgbClr val="CC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</a:pPr>
              <a:endParaRPr sz="1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187" name="Google Shape;187;p19"/>
            <p:cNvSpPr/>
            <p:nvPr/>
          </p:nvSpPr>
          <p:spPr>
            <a:xfrm>
              <a:off x="7085910" y="3708712"/>
              <a:ext cx="63000" cy="67200"/>
            </a:xfrm>
            <a:prstGeom prst="ellipse">
              <a:avLst/>
            </a:prstGeom>
            <a:solidFill>
              <a:srgbClr val="CC0000"/>
            </a:solidFill>
            <a:ln w="9525" cap="flat" cmpd="sng">
              <a:solidFill>
                <a:srgbClr val="CC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</a:pPr>
              <a:endParaRPr sz="1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188" name="Google Shape;188;p19"/>
            <p:cNvSpPr/>
            <p:nvPr/>
          </p:nvSpPr>
          <p:spPr>
            <a:xfrm>
              <a:off x="7140982" y="3545620"/>
              <a:ext cx="63000" cy="67200"/>
            </a:xfrm>
            <a:prstGeom prst="ellipse">
              <a:avLst/>
            </a:prstGeom>
            <a:solidFill>
              <a:srgbClr val="CC0000"/>
            </a:solidFill>
            <a:ln w="9525" cap="flat" cmpd="sng">
              <a:solidFill>
                <a:srgbClr val="CC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</a:pPr>
              <a:endParaRPr sz="1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189" name="Google Shape;189;p19"/>
            <p:cNvSpPr/>
            <p:nvPr/>
          </p:nvSpPr>
          <p:spPr>
            <a:xfrm>
              <a:off x="7022717" y="3202333"/>
              <a:ext cx="63000" cy="67200"/>
            </a:xfrm>
            <a:prstGeom prst="ellipse">
              <a:avLst/>
            </a:prstGeom>
            <a:solidFill>
              <a:srgbClr val="3C78D8"/>
            </a:solidFill>
            <a:ln w="9525" cap="flat" cmpd="sng">
              <a:solidFill>
                <a:srgbClr val="3C78D8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</a:pPr>
              <a:endParaRPr sz="1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190" name="Google Shape;190;p19"/>
            <p:cNvSpPr/>
            <p:nvPr/>
          </p:nvSpPr>
          <p:spPr>
            <a:xfrm>
              <a:off x="6767715" y="3067855"/>
              <a:ext cx="63000" cy="67200"/>
            </a:xfrm>
            <a:prstGeom prst="ellipse">
              <a:avLst/>
            </a:prstGeom>
            <a:solidFill>
              <a:srgbClr val="3C78D8"/>
            </a:solidFill>
            <a:ln w="9525" cap="flat" cmpd="sng">
              <a:solidFill>
                <a:srgbClr val="3C78D8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</a:pPr>
              <a:endParaRPr sz="1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191" name="Google Shape;191;p19"/>
            <p:cNvSpPr/>
            <p:nvPr/>
          </p:nvSpPr>
          <p:spPr>
            <a:xfrm>
              <a:off x="6972639" y="3067205"/>
              <a:ext cx="63000" cy="67200"/>
            </a:xfrm>
            <a:prstGeom prst="ellipse">
              <a:avLst/>
            </a:prstGeom>
            <a:solidFill>
              <a:srgbClr val="3C78D8"/>
            </a:solidFill>
            <a:ln w="9525" cap="flat" cmpd="sng">
              <a:solidFill>
                <a:srgbClr val="3C78D8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</a:pPr>
              <a:endParaRPr sz="1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192" name="Google Shape;192;p19"/>
            <p:cNvSpPr/>
            <p:nvPr/>
          </p:nvSpPr>
          <p:spPr>
            <a:xfrm>
              <a:off x="7085902" y="3373965"/>
              <a:ext cx="63000" cy="67200"/>
            </a:xfrm>
            <a:prstGeom prst="ellipse">
              <a:avLst/>
            </a:prstGeom>
            <a:solidFill>
              <a:srgbClr val="3C78D8"/>
            </a:solidFill>
            <a:ln w="9525" cap="flat" cmpd="sng">
              <a:solidFill>
                <a:srgbClr val="3C78D8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</a:pPr>
              <a:endParaRPr sz="1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193" name="Google Shape;193;p19"/>
            <p:cNvSpPr/>
            <p:nvPr/>
          </p:nvSpPr>
          <p:spPr>
            <a:xfrm>
              <a:off x="7177576" y="3051000"/>
              <a:ext cx="63000" cy="67200"/>
            </a:xfrm>
            <a:prstGeom prst="ellipse">
              <a:avLst/>
            </a:prstGeom>
            <a:solidFill>
              <a:srgbClr val="3C78D8"/>
            </a:solidFill>
            <a:ln w="9525" cap="flat" cmpd="sng">
              <a:solidFill>
                <a:srgbClr val="3C78D8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</a:pPr>
              <a:endParaRPr sz="1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194" name="Google Shape;194;p19"/>
            <p:cNvSpPr/>
            <p:nvPr/>
          </p:nvSpPr>
          <p:spPr>
            <a:xfrm>
              <a:off x="7273773" y="3163609"/>
              <a:ext cx="63000" cy="67200"/>
            </a:xfrm>
            <a:prstGeom prst="ellipse">
              <a:avLst/>
            </a:prstGeom>
            <a:solidFill>
              <a:srgbClr val="3C78D8"/>
            </a:solidFill>
            <a:ln w="9525" cap="flat" cmpd="sng">
              <a:solidFill>
                <a:srgbClr val="3C78D8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</a:pPr>
              <a:endParaRPr sz="1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195" name="Google Shape;195;p19"/>
            <p:cNvSpPr/>
            <p:nvPr/>
          </p:nvSpPr>
          <p:spPr>
            <a:xfrm>
              <a:off x="7005546" y="2932077"/>
              <a:ext cx="63000" cy="67200"/>
            </a:xfrm>
            <a:prstGeom prst="ellipse">
              <a:avLst/>
            </a:prstGeom>
            <a:solidFill>
              <a:srgbClr val="3C78D8"/>
            </a:solidFill>
            <a:ln w="9525" cap="flat" cmpd="sng">
              <a:solidFill>
                <a:srgbClr val="3C78D8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</a:pPr>
              <a:endParaRPr sz="1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196" name="Google Shape;196;p19"/>
            <p:cNvSpPr/>
            <p:nvPr/>
          </p:nvSpPr>
          <p:spPr>
            <a:xfrm>
              <a:off x="7442827" y="2910933"/>
              <a:ext cx="63000" cy="67200"/>
            </a:xfrm>
            <a:prstGeom prst="ellipse">
              <a:avLst/>
            </a:prstGeom>
            <a:solidFill>
              <a:srgbClr val="3C78D8"/>
            </a:solidFill>
            <a:ln w="9525" cap="flat" cmpd="sng">
              <a:solidFill>
                <a:srgbClr val="3C78D8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</a:pPr>
              <a:endParaRPr sz="1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197" name="Google Shape;197;p19"/>
            <p:cNvSpPr/>
            <p:nvPr/>
          </p:nvSpPr>
          <p:spPr>
            <a:xfrm>
              <a:off x="7481270" y="3032438"/>
              <a:ext cx="63000" cy="67200"/>
            </a:xfrm>
            <a:prstGeom prst="ellipse">
              <a:avLst/>
            </a:prstGeom>
            <a:solidFill>
              <a:srgbClr val="3C78D8"/>
            </a:solidFill>
            <a:ln w="9525" cap="flat" cmpd="sng">
              <a:solidFill>
                <a:srgbClr val="3C78D8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</a:pPr>
              <a:endParaRPr sz="1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198" name="Google Shape;198;p19"/>
            <p:cNvSpPr/>
            <p:nvPr/>
          </p:nvSpPr>
          <p:spPr>
            <a:xfrm>
              <a:off x="7140977" y="2712432"/>
              <a:ext cx="63000" cy="67200"/>
            </a:xfrm>
            <a:prstGeom prst="ellipse">
              <a:avLst/>
            </a:prstGeom>
            <a:solidFill>
              <a:srgbClr val="3C78D8"/>
            </a:solidFill>
            <a:ln w="9525" cap="flat" cmpd="sng">
              <a:solidFill>
                <a:srgbClr val="3C78D8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</a:pPr>
              <a:endParaRPr sz="1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199" name="Google Shape;199;p19"/>
            <p:cNvSpPr/>
            <p:nvPr/>
          </p:nvSpPr>
          <p:spPr>
            <a:xfrm>
              <a:off x="7648903" y="2864838"/>
              <a:ext cx="63000" cy="67200"/>
            </a:xfrm>
            <a:prstGeom prst="ellipse">
              <a:avLst/>
            </a:prstGeom>
            <a:solidFill>
              <a:srgbClr val="3C78D8"/>
            </a:solidFill>
            <a:ln w="9525" cap="flat" cmpd="sng">
              <a:solidFill>
                <a:srgbClr val="3C78D8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</a:pPr>
              <a:endParaRPr sz="1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200" name="Google Shape;200;p19"/>
            <p:cNvSpPr/>
            <p:nvPr/>
          </p:nvSpPr>
          <p:spPr>
            <a:xfrm>
              <a:off x="6718960" y="2749420"/>
              <a:ext cx="63000" cy="67200"/>
            </a:xfrm>
            <a:prstGeom prst="ellipse">
              <a:avLst/>
            </a:prstGeom>
            <a:solidFill>
              <a:srgbClr val="3C78D8"/>
            </a:solidFill>
            <a:ln w="9525" cap="flat" cmpd="sng">
              <a:solidFill>
                <a:srgbClr val="3C78D8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</a:pPr>
              <a:endParaRPr sz="1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201" name="Google Shape;201;p19"/>
            <p:cNvSpPr/>
            <p:nvPr/>
          </p:nvSpPr>
          <p:spPr>
            <a:xfrm>
              <a:off x="6767725" y="3163613"/>
              <a:ext cx="436200" cy="412200"/>
            </a:xfrm>
            <a:prstGeom prst="ellipse">
              <a:avLst/>
            </a:prstGeom>
            <a:noFill/>
            <a:ln w="28575" cap="flat" cmpd="sng">
              <a:solidFill>
                <a:schemeClr val="dk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</a:pPr>
              <a:endParaRPr sz="1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202" name="Google Shape;202;p19"/>
            <p:cNvSpPr txBox="1"/>
            <p:nvPr/>
          </p:nvSpPr>
          <p:spPr>
            <a:xfrm>
              <a:off x="6843550" y="3163325"/>
              <a:ext cx="320100" cy="3534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t" anchorCtr="0">
              <a:noAutofit/>
            </a:bodyPr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</a:pPr>
              <a:r>
                <a:rPr lang="en" sz="1800" kern="0">
                  <a:solidFill>
                    <a:srgbClr val="000000"/>
                  </a:solidFill>
                  <a:latin typeface="Ultra"/>
                  <a:ea typeface="Ultra"/>
                  <a:cs typeface="Ultra"/>
                  <a:sym typeface="Ultra"/>
                </a:rPr>
                <a:t>?</a:t>
              </a:r>
              <a:endParaRPr sz="1800" kern="0">
                <a:solidFill>
                  <a:srgbClr val="000000"/>
                </a:solidFill>
                <a:latin typeface="Ultra"/>
                <a:ea typeface="Ultra"/>
                <a:cs typeface="Ultra"/>
                <a:sym typeface="Ultr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7329401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323" name="Rectangle 3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smtClean="0"/>
              <a:t>Example: k=6 (6NN)</a:t>
            </a:r>
          </a:p>
        </p:txBody>
      </p:sp>
      <p:sp>
        <p:nvSpPr>
          <p:cNvPr id="56324" name="Rectangle 4"/>
          <p:cNvSpPr>
            <a:spLocks noChangeArrowheads="1"/>
          </p:cNvSpPr>
          <p:nvPr/>
        </p:nvSpPr>
        <p:spPr bwMode="auto">
          <a:xfrm>
            <a:off x="685800" y="1981200"/>
            <a:ext cx="7772400" cy="411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342900" indent="-342900"/>
            <a:endParaRPr lang="en-US"/>
          </a:p>
        </p:txBody>
      </p:sp>
      <p:sp>
        <p:nvSpPr>
          <p:cNvPr id="56325" name="Oval 5"/>
          <p:cNvSpPr>
            <a:spLocks noChangeArrowheads="1"/>
          </p:cNvSpPr>
          <p:nvPr/>
        </p:nvSpPr>
        <p:spPr bwMode="auto">
          <a:xfrm>
            <a:off x="1239838" y="2138363"/>
            <a:ext cx="152400" cy="152400"/>
          </a:xfrm>
          <a:prstGeom prst="ellipse">
            <a:avLst/>
          </a:prstGeom>
          <a:solidFill>
            <a:srgbClr val="66FF33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endParaRPr lang="en-IN"/>
          </a:p>
        </p:txBody>
      </p:sp>
      <p:sp>
        <p:nvSpPr>
          <p:cNvPr id="56326" name="Oval 6"/>
          <p:cNvSpPr>
            <a:spLocks noChangeArrowheads="1"/>
          </p:cNvSpPr>
          <p:nvPr/>
        </p:nvSpPr>
        <p:spPr bwMode="auto">
          <a:xfrm>
            <a:off x="3449638" y="2824163"/>
            <a:ext cx="152400" cy="152400"/>
          </a:xfrm>
          <a:prstGeom prst="ellipse">
            <a:avLst/>
          </a:prstGeom>
          <a:solidFill>
            <a:srgbClr val="FF0000"/>
          </a:solidFill>
          <a:ln w="9525">
            <a:solidFill>
              <a:srgbClr val="FF0000"/>
            </a:solidFill>
            <a:round/>
            <a:headEnd/>
            <a:tailEnd/>
          </a:ln>
        </p:spPr>
        <p:txBody>
          <a:bodyPr wrap="none" anchor="ctr"/>
          <a:lstStyle/>
          <a:p>
            <a:endParaRPr lang="en-IN"/>
          </a:p>
        </p:txBody>
      </p:sp>
      <p:sp>
        <p:nvSpPr>
          <p:cNvPr id="56327" name="Oval 7"/>
          <p:cNvSpPr>
            <a:spLocks noChangeArrowheads="1"/>
          </p:cNvSpPr>
          <p:nvPr/>
        </p:nvSpPr>
        <p:spPr bwMode="auto">
          <a:xfrm>
            <a:off x="3983038" y="4348163"/>
            <a:ext cx="152400" cy="152400"/>
          </a:xfrm>
          <a:prstGeom prst="ellipse">
            <a:avLst/>
          </a:prstGeom>
          <a:solidFill>
            <a:schemeClr val="tx1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endParaRPr lang="en-IN"/>
          </a:p>
        </p:txBody>
      </p:sp>
      <p:sp>
        <p:nvSpPr>
          <p:cNvPr id="56328" name="Oval 8"/>
          <p:cNvSpPr>
            <a:spLocks noChangeArrowheads="1"/>
          </p:cNvSpPr>
          <p:nvPr/>
        </p:nvSpPr>
        <p:spPr bwMode="auto">
          <a:xfrm>
            <a:off x="1392238" y="2671763"/>
            <a:ext cx="152400" cy="152400"/>
          </a:xfrm>
          <a:prstGeom prst="ellipse">
            <a:avLst/>
          </a:prstGeom>
          <a:solidFill>
            <a:srgbClr val="66FF33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endParaRPr lang="en-IN"/>
          </a:p>
        </p:txBody>
      </p:sp>
      <p:sp>
        <p:nvSpPr>
          <p:cNvPr id="56329" name="Oval 9"/>
          <p:cNvSpPr>
            <a:spLocks noChangeArrowheads="1"/>
          </p:cNvSpPr>
          <p:nvPr/>
        </p:nvSpPr>
        <p:spPr bwMode="auto">
          <a:xfrm>
            <a:off x="1544638" y="3738563"/>
            <a:ext cx="152400" cy="152400"/>
          </a:xfrm>
          <a:prstGeom prst="ellipse">
            <a:avLst/>
          </a:prstGeom>
          <a:solidFill>
            <a:srgbClr val="66FF33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endParaRPr lang="en-IN"/>
          </a:p>
        </p:txBody>
      </p:sp>
      <p:sp>
        <p:nvSpPr>
          <p:cNvPr id="56330" name="Oval 10"/>
          <p:cNvSpPr>
            <a:spLocks noChangeArrowheads="1"/>
          </p:cNvSpPr>
          <p:nvPr/>
        </p:nvSpPr>
        <p:spPr bwMode="auto">
          <a:xfrm>
            <a:off x="2459038" y="2138363"/>
            <a:ext cx="152400" cy="152400"/>
          </a:xfrm>
          <a:prstGeom prst="ellipse">
            <a:avLst/>
          </a:prstGeom>
          <a:solidFill>
            <a:srgbClr val="66FF33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endParaRPr lang="en-IN"/>
          </a:p>
        </p:txBody>
      </p:sp>
      <p:sp>
        <p:nvSpPr>
          <p:cNvPr id="56331" name="Oval 11"/>
          <p:cNvSpPr>
            <a:spLocks noChangeArrowheads="1"/>
          </p:cNvSpPr>
          <p:nvPr/>
        </p:nvSpPr>
        <p:spPr bwMode="auto">
          <a:xfrm>
            <a:off x="935038" y="3128963"/>
            <a:ext cx="152400" cy="152400"/>
          </a:xfrm>
          <a:prstGeom prst="ellipse">
            <a:avLst/>
          </a:prstGeom>
          <a:solidFill>
            <a:srgbClr val="66FF33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endParaRPr lang="en-IN"/>
          </a:p>
        </p:txBody>
      </p:sp>
      <p:sp>
        <p:nvSpPr>
          <p:cNvPr id="56332" name="Oval 12"/>
          <p:cNvSpPr>
            <a:spLocks noChangeArrowheads="1"/>
          </p:cNvSpPr>
          <p:nvPr/>
        </p:nvSpPr>
        <p:spPr bwMode="auto">
          <a:xfrm>
            <a:off x="2001838" y="2900363"/>
            <a:ext cx="152400" cy="152400"/>
          </a:xfrm>
          <a:prstGeom prst="ellipse">
            <a:avLst/>
          </a:prstGeom>
          <a:solidFill>
            <a:srgbClr val="66FF33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endParaRPr lang="en-IN"/>
          </a:p>
        </p:txBody>
      </p:sp>
      <p:sp>
        <p:nvSpPr>
          <p:cNvPr id="56333" name="Oval 13"/>
          <p:cNvSpPr>
            <a:spLocks noChangeArrowheads="1"/>
          </p:cNvSpPr>
          <p:nvPr/>
        </p:nvSpPr>
        <p:spPr bwMode="auto">
          <a:xfrm>
            <a:off x="2687638" y="2519363"/>
            <a:ext cx="152400" cy="152400"/>
          </a:xfrm>
          <a:prstGeom prst="ellipse">
            <a:avLst/>
          </a:prstGeom>
          <a:solidFill>
            <a:srgbClr val="66FF33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endParaRPr lang="en-IN"/>
          </a:p>
        </p:txBody>
      </p:sp>
      <p:sp>
        <p:nvSpPr>
          <p:cNvPr id="56334" name="Oval 14"/>
          <p:cNvSpPr>
            <a:spLocks noChangeArrowheads="1"/>
          </p:cNvSpPr>
          <p:nvPr/>
        </p:nvSpPr>
        <p:spPr bwMode="auto">
          <a:xfrm>
            <a:off x="2306638" y="3738563"/>
            <a:ext cx="152400" cy="152400"/>
          </a:xfrm>
          <a:prstGeom prst="ellipse">
            <a:avLst/>
          </a:prstGeom>
          <a:solidFill>
            <a:srgbClr val="66FF33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endParaRPr lang="en-IN"/>
          </a:p>
        </p:txBody>
      </p:sp>
      <p:sp>
        <p:nvSpPr>
          <p:cNvPr id="56335" name="Oval 15"/>
          <p:cNvSpPr>
            <a:spLocks noChangeArrowheads="1"/>
          </p:cNvSpPr>
          <p:nvPr/>
        </p:nvSpPr>
        <p:spPr bwMode="auto">
          <a:xfrm>
            <a:off x="3602038" y="1909763"/>
            <a:ext cx="152400" cy="152400"/>
          </a:xfrm>
          <a:prstGeom prst="ellipse">
            <a:avLst/>
          </a:prstGeom>
          <a:solidFill>
            <a:srgbClr val="FF0000"/>
          </a:solidFill>
          <a:ln w="9525">
            <a:solidFill>
              <a:srgbClr val="FF0000"/>
            </a:solidFill>
            <a:round/>
            <a:headEnd/>
            <a:tailEnd/>
          </a:ln>
        </p:spPr>
        <p:txBody>
          <a:bodyPr wrap="none" anchor="ctr"/>
          <a:lstStyle/>
          <a:p>
            <a:endParaRPr lang="en-IN"/>
          </a:p>
        </p:txBody>
      </p:sp>
      <p:sp>
        <p:nvSpPr>
          <p:cNvPr id="56336" name="Oval 16"/>
          <p:cNvSpPr>
            <a:spLocks noChangeArrowheads="1"/>
          </p:cNvSpPr>
          <p:nvPr/>
        </p:nvSpPr>
        <p:spPr bwMode="auto">
          <a:xfrm>
            <a:off x="3754438" y="3433763"/>
            <a:ext cx="152400" cy="152400"/>
          </a:xfrm>
          <a:prstGeom prst="ellipse">
            <a:avLst/>
          </a:prstGeom>
          <a:solidFill>
            <a:srgbClr val="FF0000"/>
          </a:solidFill>
          <a:ln w="9525">
            <a:solidFill>
              <a:srgbClr val="FF0000"/>
            </a:solidFill>
            <a:round/>
            <a:headEnd/>
            <a:tailEnd/>
          </a:ln>
        </p:spPr>
        <p:txBody>
          <a:bodyPr wrap="none" anchor="ctr"/>
          <a:lstStyle/>
          <a:p>
            <a:endParaRPr lang="en-IN"/>
          </a:p>
        </p:txBody>
      </p:sp>
      <p:sp>
        <p:nvSpPr>
          <p:cNvPr id="56337" name="Oval 17"/>
          <p:cNvSpPr>
            <a:spLocks noChangeArrowheads="1"/>
          </p:cNvSpPr>
          <p:nvPr/>
        </p:nvSpPr>
        <p:spPr bwMode="auto">
          <a:xfrm>
            <a:off x="3906838" y="2214563"/>
            <a:ext cx="152400" cy="152400"/>
          </a:xfrm>
          <a:prstGeom prst="ellipse">
            <a:avLst/>
          </a:prstGeom>
          <a:solidFill>
            <a:srgbClr val="FF0000"/>
          </a:solidFill>
          <a:ln w="9525">
            <a:solidFill>
              <a:srgbClr val="FF0000"/>
            </a:solidFill>
            <a:round/>
            <a:headEnd/>
            <a:tailEnd/>
          </a:ln>
        </p:spPr>
        <p:txBody>
          <a:bodyPr wrap="none" anchor="ctr"/>
          <a:lstStyle/>
          <a:p>
            <a:endParaRPr lang="en-IN"/>
          </a:p>
        </p:txBody>
      </p:sp>
      <p:sp>
        <p:nvSpPr>
          <p:cNvPr id="56338" name="Oval 18"/>
          <p:cNvSpPr>
            <a:spLocks noChangeArrowheads="1"/>
          </p:cNvSpPr>
          <p:nvPr/>
        </p:nvSpPr>
        <p:spPr bwMode="auto">
          <a:xfrm>
            <a:off x="4973638" y="2366963"/>
            <a:ext cx="152400" cy="152400"/>
          </a:xfrm>
          <a:prstGeom prst="ellipse">
            <a:avLst/>
          </a:prstGeom>
          <a:solidFill>
            <a:srgbClr val="FF0000"/>
          </a:solidFill>
          <a:ln w="9525">
            <a:solidFill>
              <a:srgbClr val="FF0000"/>
            </a:solidFill>
            <a:round/>
            <a:headEnd/>
            <a:tailEnd/>
          </a:ln>
        </p:spPr>
        <p:txBody>
          <a:bodyPr wrap="none" anchor="ctr"/>
          <a:lstStyle/>
          <a:p>
            <a:endParaRPr lang="en-IN"/>
          </a:p>
        </p:txBody>
      </p:sp>
      <p:sp>
        <p:nvSpPr>
          <p:cNvPr id="56339" name="Oval 19"/>
          <p:cNvSpPr>
            <a:spLocks noChangeArrowheads="1"/>
          </p:cNvSpPr>
          <p:nvPr/>
        </p:nvSpPr>
        <p:spPr bwMode="auto">
          <a:xfrm>
            <a:off x="4211638" y="2519363"/>
            <a:ext cx="152400" cy="152400"/>
          </a:xfrm>
          <a:prstGeom prst="ellipse">
            <a:avLst/>
          </a:prstGeom>
          <a:solidFill>
            <a:srgbClr val="FF0000"/>
          </a:solidFill>
          <a:ln w="9525">
            <a:solidFill>
              <a:srgbClr val="FF0000"/>
            </a:solidFill>
            <a:round/>
            <a:headEnd/>
            <a:tailEnd/>
          </a:ln>
        </p:spPr>
        <p:txBody>
          <a:bodyPr wrap="none" anchor="ctr"/>
          <a:lstStyle/>
          <a:p>
            <a:endParaRPr lang="en-IN"/>
          </a:p>
        </p:txBody>
      </p:sp>
      <p:sp>
        <p:nvSpPr>
          <p:cNvPr id="56340" name="Oval 20"/>
          <p:cNvSpPr>
            <a:spLocks noChangeArrowheads="1"/>
          </p:cNvSpPr>
          <p:nvPr/>
        </p:nvSpPr>
        <p:spPr bwMode="auto">
          <a:xfrm>
            <a:off x="3373438" y="4500563"/>
            <a:ext cx="152400" cy="152400"/>
          </a:xfrm>
          <a:prstGeom prst="ellipse">
            <a:avLst/>
          </a:prstGeom>
          <a:solidFill>
            <a:schemeClr val="tx1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endParaRPr lang="en-IN"/>
          </a:p>
        </p:txBody>
      </p:sp>
      <p:sp>
        <p:nvSpPr>
          <p:cNvPr id="56341" name="Oval 21"/>
          <p:cNvSpPr>
            <a:spLocks noChangeArrowheads="1"/>
          </p:cNvSpPr>
          <p:nvPr/>
        </p:nvSpPr>
        <p:spPr bwMode="auto">
          <a:xfrm>
            <a:off x="3906838" y="5414963"/>
            <a:ext cx="152400" cy="152400"/>
          </a:xfrm>
          <a:prstGeom prst="ellipse">
            <a:avLst/>
          </a:prstGeom>
          <a:solidFill>
            <a:schemeClr val="tx1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endParaRPr lang="en-IN"/>
          </a:p>
        </p:txBody>
      </p:sp>
      <p:sp>
        <p:nvSpPr>
          <p:cNvPr id="56342" name="Oval 22"/>
          <p:cNvSpPr>
            <a:spLocks noChangeArrowheads="1"/>
          </p:cNvSpPr>
          <p:nvPr/>
        </p:nvSpPr>
        <p:spPr bwMode="auto">
          <a:xfrm>
            <a:off x="4440238" y="4805363"/>
            <a:ext cx="152400" cy="152400"/>
          </a:xfrm>
          <a:prstGeom prst="ellipse">
            <a:avLst/>
          </a:prstGeom>
          <a:solidFill>
            <a:schemeClr val="tx1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endParaRPr lang="en-IN"/>
          </a:p>
        </p:txBody>
      </p:sp>
      <p:sp>
        <p:nvSpPr>
          <p:cNvPr id="56343" name="Oval 23"/>
          <p:cNvSpPr>
            <a:spLocks noChangeArrowheads="1"/>
          </p:cNvSpPr>
          <p:nvPr/>
        </p:nvSpPr>
        <p:spPr bwMode="auto">
          <a:xfrm>
            <a:off x="6335713" y="1550988"/>
            <a:ext cx="152400" cy="152400"/>
          </a:xfrm>
          <a:prstGeom prst="ellipse">
            <a:avLst/>
          </a:prstGeom>
          <a:solidFill>
            <a:srgbClr val="66FF33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endParaRPr lang="en-IN"/>
          </a:p>
        </p:txBody>
      </p:sp>
      <p:sp>
        <p:nvSpPr>
          <p:cNvPr id="56344" name="Oval 24"/>
          <p:cNvSpPr>
            <a:spLocks noChangeArrowheads="1"/>
          </p:cNvSpPr>
          <p:nvPr/>
        </p:nvSpPr>
        <p:spPr bwMode="auto">
          <a:xfrm>
            <a:off x="6335713" y="2008188"/>
            <a:ext cx="152400" cy="152400"/>
          </a:xfrm>
          <a:prstGeom prst="ellipse">
            <a:avLst/>
          </a:prstGeom>
          <a:solidFill>
            <a:srgbClr val="FF0000"/>
          </a:solidFill>
          <a:ln w="9525">
            <a:solidFill>
              <a:srgbClr val="FF0000"/>
            </a:solidFill>
            <a:round/>
            <a:headEnd/>
            <a:tailEnd/>
          </a:ln>
        </p:spPr>
        <p:txBody>
          <a:bodyPr wrap="none" anchor="ctr"/>
          <a:lstStyle/>
          <a:p>
            <a:endParaRPr lang="en-IN"/>
          </a:p>
        </p:txBody>
      </p:sp>
      <p:sp>
        <p:nvSpPr>
          <p:cNvPr id="56345" name="Oval 25"/>
          <p:cNvSpPr>
            <a:spLocks noChangeArrowheads="1"/>
          </p:cNvSpPr>
          <p:nvPr/>
        </p:nvSpPr>
        <p:spPr bwMode="auto">
          <a:xfrm>
            <a:off x="6335713" y="2465388"/>
            <a:ext cx="152400" cy="152400"/>
          </a:xfrm>
          <a:prstGeom prst="ellipse">
            <a:avLst/>
          </a:prstGeom>
          <a:solidFill>
            <a:schemeClr val="tx1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endParaRPr lang="en-IN"/>
          </a:p>
        </p:txBody>
      </p:sp>
      <p:sp>
        <p:nvSpPr>
          <p:cNvPr id="56346" name="Line 26"/>
          <p:cNvSpPr>
            <a:spLocks noChangeShapeType="1"/>
          </p:cNvSpPr>
          <p:nvPr/>
        </p:nvSpPr>
        <p:spPr bwMode="auto">
          <a:xfrm>
            <a:off x="5964238" y="1376363"/>
            <a:ext cx="0" cy="4419600"/>
          </a:xfrm>
          <a:prstGeom prst="line">
            <a:avLst/>
          </a:prstGeom>
          <a:noFill/>
          <a:ln w="28575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endParaRPr lang="en-US"/>
          </a:p>
        </p:txBody>
      </p:sp>
      <p:sp>
        <p:nvSpPr>
          <p:cNvPr id="56347" name="Text Box 27"/>
          <p:cNvSpPr txBox="1">
            <a:spLocks noChangeArrowheads="1"/>
          </p:cNvSpPr>
          <p:nvPr/>
        </p:nvSpPr>
        <p:spPr bwMode="auto">
          <a:xfrm>
            <a:off x="6488113" y="1339850"/>
            <a:ext cx="1706562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eaLnBrk="0" hangingPunct="0">
              <a:buClrTx/>
              <a:buSzTx/>
              <a:buFontTx/>
              <a:buNone/>
            </a:pPr>
            <a:r>
              <a:rPr lang="en-US" sz="2400">
                <a:latin typeface="Rockwell" pitchFamily="18" charset="0"/>
              </a:rPr>
              <a:t>Government</a:t>
            </a:r>
          </a:p>
        </p:txBody>
      </p:sp>
      <p:sp>
        <p:nvSpPr>
          <p:cNvPr id="56348" name="Text Box 28"/>
          <p:cNvSpPr txBox="1">
            <a:spLocks noChangeArrowheads="1"/>
          </p:cNvSpPr>
          <p:nvPr/>
        </p:nvSpPr>
        <p:spPr bwMode="auto">
          <a:xfrm>
            <a:off x="6488113" y="1858963"/>
            <a:ext cx="11303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eaLnBrk="0" hangingPunct="0">
              <a:buClrTx/>
              <a:buSzTx/>
              <a:buFontTx/>
              <a:buNone/>
            </a:pPr>
            <a:r>
              <a:rPr lang="en-US" sz="2400">
                <a:latin typeface="Rockwell" pitchFamily="18" charset="0"/>
              </a:rPr>
              <a:t>Science</a:t>
            </a:r>
          </a:p>
        </p:txBody>
      </p:sp>
      <p:sp>
        <p:nvSpPr>
          <p:cNvPr id="56349" name="Text Box 29"/>
          <p:cNvSpPr txBox="1">
            <a:spLocks noChangeArrowheads="1"/>
          </p:cNvSpPr>
          <p:nvPr/>
        </p:nvSpPr>
        <p:spPr bwMode="auto">
          <a:xfrm>
            <a:off x="6488113" y="2316163"/>
            <a:ext cx="709612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eaLnBrk="0" hangingPunct="0">
              <a:buClrTx/>
              <a:buSzTx/>
              <a:buFontTx/>
              <a:buNone/>
            </a:pPr>
            <a:r>
              <a:rPr lang="en-US" sz="2400">
                <a:latin typeface="Rockwell" pitchFamily="18" charset="0"/>
              </a:rPr>
              <a:t>Arts</a:t>
            </a:r>
          </a:p>
        </p:txBody>
      </p:sp>
      <p:grpSp>
        <p:nvGrpSpPr>
          <p:cNvPr id="2" name="Group 39"/>
          <p:cNvGrpSpPr>
            <a:grpSpLocks/>
          </p:cNvGrpSpPr>
          <p:nvPr/>
        </p:nvGrpSpPr>
        <p:grpSpPr bwMode="auto">
          <a:xfrm>
            <a:off x="1316038" y="1985963"/>
            <a:ext cx="7850188" cy="2638425"/>
            <a:chOff x="829" y="1251"/>
            <a:chExt cx="4945" cy="1662"/>
          </a:xfrm>
        </p:grpSpPr>
        <p:sp>
          <p:nvSpPr>
            <p:cNvPr id="56351" name="Text Box 31"/>
            <p:cNvSpPr txBox="1">
              <a:spLocks noChangeArrowheads="1"/>
            </p:cNvSpPr>
            <p:nvPr/>
          </p:nvSpPr>
          <p:spPr bwMode="auto">
            <a:xfrm>
              <a:off x="3949" y="2355"/>
              <a:ext cx="1825" cy="55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/>
            <a:p>
              <a:pPr>
                <a:spcBef>
                  <a:spcPct val="0"/>
                </a:spcBef>
                <a:buClrTx/>
                <a:buSzTx/>
                <a:buFontTx/>
                <a:buNone/>
              </a:pPr>
              <a:r>
                <a:rPr lang="en-US" sz="2600" dirty="0">
                  <a:solidFill>
                    <a:srgbClr val="3333CC"/>
                  </a:solidFill>
                  <a:latin typeface="Lucida Sans" pitchFamily="34" charset="0"/>
                </a:rPr>
                <a:t>A new point </a:t>
              </a:r>
            </a:p>
            <a:p>
              <a:pPr>
                <a:spcBef>
                  <a:spcPct val="0"/>
                </a:spcBef>
                <a:buClrTx/>
                <a:buSzTx/>
                <a:buFontTx/>
                <a:buNone/>
              </a:pPr>
              <a:r>
                <a:rPr lang="en-US" sz="2600" dirty="0" err="1" smtClean="0">
                  <a:solidFill>
                    <a:srgbClr val="3333CC"/>
                  </a:solidFill>
                  <a:latin typeface="Lucida Sans" pitchFamily="34" charset="0"/>
                </a:rPr>
                <a:t>Pr</a:t>
              </a:r>
              <a:r>
                <a:rPr lang="en-US" sz="2600" dirty="0" smtClean="0">
                  <a:solidFill>
                    <a:srgbClr val="3333CC"/>
                  </a:solidFill>
                  <a:latin typeface="Lucida Sans" pitchFamily="34" charset="0"/>
                </a:rPr>
                <a:t>(</a:t>
              </a:r>
              <a:r>
                <a:rPr lang="en-US" sz="2600" dirty="0" err="1" smtClean="0">
                  <a:solidFill>
                    <a:srgbClr val="3333CC"/>
                  </a:solidFill>
                  <a:latin typeface="Lucida Sans" pitchFamily="34" charset="0"/>
                </a:rPr>
                <a:t>Govt</a:t>
              </a:r>
              <a:r>
                <a:rPr lang="en-US" sz="2600" dirty="0" smtClean="0">
                  <a:solidFill>
                    <a:srgbClr val="3333CC"/>
                  </a:solidFill>
                  <a:latin typeface="Lucida Sans" pitchFamily="34" charset="0"/>
                </a:rPr>
                <a:t>|   )= 5/6</a:t>
              </a:r>
              <a:endParaRPr lang="en-US" sz="2600" dirty="0">
                <a:solidFill>
                  <a:srgbClr val="3333CC"/>
                </a:solidFill>
                <a:latin typeface="Lucida Sans" pitchFamily="34" charset="0"/>
              </a:endParaRPr>
            </a:p>
          </p:txBody>
        </p:sp>
        <p:sp>
          <p:nvSpPr>
            <p:cNvPr id="56352" name="Oval 2"/>
            <p:cNvSpPr>
              <a:spLocks noChangeArrowheads="1"/>
            </p:cNvSpPr>
            <p:nvPr/>
          </p:nvSpPr>
          <p:spPr bwMode="auto">
            <a:xfrm>
              <a:off x="829" y="1251"/>
              <a:ext cx="1584" cy="1248"/>
            </a:xfrm>
            <a:prstGeom prst="ellipse">
              <a:avLst/>
            </a:prstGeom>
            <a:solidFill>
              <a:schemeClr val="bg1">
                <a:alpha val="0"/>
              </a:schemeClr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en-IN"/>
            </a:p>
          </p:txBody>
        </p:sp>
        <p:sp>
          <p:nvSpPr>
            <p:cNvPr id="56353" name="Rectangle 33"/>
            <p:cNvSpPr>
              <a:spLocks noChangeArrowheads="1"/>
            </p:cNvSpPr>
            <p:nvPr/>
          </p:nvSpPr>
          <p:spPr bwMode="auto">
            <a:xfrm>
              <a:off x="1537" y="1842"/>
              <a:ext cx="96" cy="96"/>
            </a:xfrm>
            <a:prstGeom prst="rect">
              <a:avLst/>
            </a:prstGeom>
            <a:solidFill>
              <a:srgbClr val="000080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en-IN"/>
            </a:p>
          </p:txBody>
        </p:sp>
        <p:sp>
          <p:nvSpPr>
            <p:cNvPr id="56354" name="Rectangle 35"/>
            <p:cNvSpPr>
              <a:spLocks noChangeArrowheads="1"/>
            </p:cNvSpPr>
            <p:nvPr/>
          </p:nvSpPr>
          <p:spPr bwMode="auto">
            <a:xfrm>
              <a:off x="4825" y="2739"/>
              <a:ext cx="96" cy="96"/>
            </a:xfrm>
            <a:prstGeom prst="rect">
              <a:avLst/>
            </a:prstGeom>
            <a:solidFill>
              <a:srgbClr val="000080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en-IN"/>
            </a:p>
          </p:txBody>
        </p:sp>
        <p:sp>
          <p:nvSpPr>
            <p:cNvPr id="56355" name="Rectangle 38"/>
            <p:cNvSpPr>
              <a:spLocks noChangeArrowheads="1"/>
            </p:cNvSpPr>
            <p:nvPr/>
          </p:nvSpPr>
          <p:spPr bwMode="auto">
            <a:xfrm>
              <a:off x="5245" y="2471"/>
              <a:ext cx="96" cy="96"/>
            </a:xfrm>
            <a:prstGeom prst="rect">
              <a:avLst/>
            </a:prstGeom>
            <a:solidFill>
              <a:srgbClr val="000080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en-IN"/>
            </a:p>
          </p:txBody>
        </p:sp>
      </p:grpSp>
    </p:spTree>
    <p:extLst>
      <p:ext uri="{BB962C8B-B14F-4D97-AF65-F5344CB8AC3E}">
        <p14:creationId xmlns:p14="http://schemas.microsoft.com/office/powerpoint/2010/main" val="32677050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42" name="Slide Number Placeholder 4"/>
          <p:cNvSpPr>
            <a:spLocks noGrp="1"/>
          </p:cNvSpPr>
          <p:nvPr>
            <p:ph type="sldNum" sz="quarter" idx="11"/>
          </p:nvPr>
        </p:nvSpPr>
        <p:spPr>
          <a:noFill/>
        </p:spPr>
        <p:txBody>
          <a:bodyPr/>
          <a:lstStyle/>
          <a:p>
            <a:fld id="{BB755DAE-C991-45B6-B36C-DA7683B6327A}" type="slidenum">
              <a:rPr lang="en-US" altLang="en-US"/>
              <a:pPr/>
              <a:t>29</a:t>
            </a:fld>
            <a:endParaRPr lang="en-US" altLang="en-US"/>
          </a:p>
        </p:txBody>
      </p:sp>
      <p:sp>
        <p:nvSpPr>
          <p:cNvPr id="61443" name="Rectangle 2"/>
          <p:cNvSpPr>
            <a:spLocks noGrp="1" noChangeArrowheads="1"/>
          </p:cNvSpPr>
          <p:nvPr>
            <p:ph type="title"/>
          </p:nvPr>
        </p:nvSpPr>
        <p:spPr>
          <a:xfrm>
            <a:off x="112469" y="264614"/>
            <a:ext cx="8520600" cy="763600"/>
          </a:xfrm>
        </p:spPr>
        <p:txBody>
          <a:bodyPr/>
          <a:lstStyle/>
          <a:p>
            <a:pPr eaLnBrk="1" hangingPunct="1"/>
            <a:r>
              <a:rPr lang="en-US" b="1" dirty="0" smtClean="0">
                <a:solidFill>
                  <a:srgbClr val="C00000"/>
                </a:solidFill>
              </a:rPr>
              <a:t>The Decision Tree Classifier</a:t>
            </a:r>
          </a:p>
        </p:txBody>
      </p:sp>
      <p:sp>
        <p:nvSpPr>
          <p:cNvPr id="61444" name="Text Box 4"/>
          <p:cNvSpPr txBox="1">
            <a:spLocks noChangeArrowheads="1"/>
          </p:cNvSpPr>
          <p:nvPr/>
        </p:nvSpPr>
        <p:spPr bwMode="auto">
          <a:xfrm>
            <a:off x="358775" y="1233488"/>
            <a:ext cx="8027988" cy="5492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342900" indent="-342900">
              <a:spcBef>
                <a:spcPct val="50000"/>
              </a:spcBef>
            </a:pPr>
            <a:r>
              <a:rPr lang="en-US">
                <a:solidFill>
                  <a:srgbClr val="3333CC"/>
                </a:solidFill>
              </a:rPr>
              <a:t>Decision nodes </a:t>
            </a:r>
            <a:r>
              <a:rPr lang="en-US"/>
              <a:t>and</a:t>
            </a:r>
            <a:r>
              <a:rPr lang="en-US">
                <a:solidFill>
                  <a:srgbClr val="3333CC"/>
                </a:solidFill>
              </a:rPr>
              <a:t> leaf nodes (classes)</a:t>
            </a:r>
          </a:p>
        </p:txBody>
      </p:sp>
      <p:pic>
        <p:nvPicPr>
          <p:cNvPr id="61445" name="Picture 5"/>
          <p:cNvPicPr>
            <a:picLocks noGrp="1" noChangeAspect="1" noChangeArrowheads="1"/>
          </p:cNvPicPr>
          <p:nvPr>
            <p:ph type="body" idx="1"/>
          </p:nvPr>
        </p:nvPicPr>
        <p:blipFill>
          <a:blip r:embed="rId2"/>
          <a:srcRect/>
          <a:stretch>
            <a:fillRect/>
          </a:stretch>
        </p:blipFill>
        <p:spPr>
          <a:xfrm>
            <a:off x="431800" y="2097088"/>
            <a:ext cx="8229600" cy="3709987"/>
          </a:xfrm>
        </p:spPr>
      </p:pic>
    </p:spTree>
    <p:extLst>
      <p:ext uri="{BB962C8B-B14F-4D97-AF65-F5344CB8AC3E}">
        <p14:creationId xmlns:p14="http://schemas.microsoft.com/office/powerpoint/2010/main" val="160126315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2" descr="Machine Learningâ¢ Herbert Alexander Simon:  âLearning is any process by  which a system improves  performance from experie...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5516" y="224644"/>
            <a:ext cx="8688964" cy="65167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827812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082" name="Slide Number Placeholder 4"/>
          <p:cNvSpPr>
            <a:spLocks noGrp="1"/>
          </p:cNvSpPr>
          <p:nvPr>
            <p:ph type="sldNum" sz="quarter" idx="11"/>
          </p:nvPr>
        </p:nvSpPr>
        <p:spPr>
          <a:noFill/>
        </p:spPr>
        <p:txBody>
          <a:bodyPr/>
          <a:lstStyle/>
          <a:p>
            <a:fld id="{C315E0FF-28C4-4892-8C98-BB1FFA07F9F8}" type="slidenum">
              <a:rPr lang="en-US" altLang="en-US"/>
              <a:pPr/>
              <a:t>30</a:t>
            </a:fld>
            <a:endParaRPr lang="en-US" altLang="en-US"/>
          </a:p>
        </p:txBody>
      </p:sp>
      <p:sp>
        <p:nvSpPr>
          <p:cNvPr id="46083" name="Rectangle 2"/>
          <p:cNvSpPr>
            <a:spLocks noGrp="1" noChangeArrowheads="1"/>
          </p:cNvSpPr>
          <p:nvPr>
            <p:ph type="title"/>
          </p:nvPr>
        </p:nvSpPr>
        <p:spPr>
          <a:xfrm>
            <a:off x="358775" y="949251"/>
            <a:ext cx="4464744" cy="467271"/>
          </a:xfrm>
        </p:spPr>
        <p:txBody>
          <a:bodyPr/>
          <a:lstStyle/>
          <a:p>
            <a:pPr eaLnBrk="1" hangingPunct="1"/>
            <a:r>
              <a:rPr lang="en-US" sz="2400" b="1" dirty="0" smtClean="0">
                <a:solidFill>
                  <a:srgbClr val="3333CC"/>
                </a:solidFill>
              </a:rPr>
              <a:t>The Loan Data Reproduced…</a:t>
            </a:r>
          </a:p>
        </p:txBody>
      </p:sp>
      <p:sp>
        <p:nvSpPr>
          <p:cNvPr id="46084" name="Text Box 7"/>
          <p:cNvSpPr txBox="1">
            <a:spLocks noChangeArrowheads="1"/>
          </p:cNvSpPr>
          <p:nvPr/>
        </p:nvSpPr>
        <p:spPr bwMode="auto">
          <a:xfrm>
            <a:off x="7020272" y="1416522"/>
            <a:ext cx="1871663" cy="3667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342900" indent="-342900">
              <a:spcBef>
                <a:spcPct val="50000"/>
              </a:spcBef>
              <a:buFont typeface="Wingdings" pitchFamily="2" charset="2"/>
              <a:buNone/>
            </a:pPr>
            <a:r>
              <a:rPr lang="en-US" sz="1800" dirty="0"/>
              <a:t>Approved or not</a:t>
            </a:r>
          </a:p>
        </p:txBody>
      </p:sp>
      <p:pic>
        <p:nvPicPr>
          <p:cNvPr id="46085" name="Picture 8"/>
          <p:cNvPicPr>
            <a:picLocks noGrp="1" noChangeAspect="1" noChangeArrowheads="1"/>
          </p:cNvPicPr>
          <p:nvPr>
            <p:ph idx="1"/>
          </p:nvPr>
        </p:nvPicPr>
        <p:blipFill>
          <a:blip r:embed="rId2"/>
          <a:srcRect/>
          <a:stretch>
            <a:fillRect/>
          </a:stretch>
        </p:blipFill>
        <p:spPr>
          <a:xfrm>
            <a:off x="358775" y="1808820"/>
            <a:ext cx="8229600" cy="4789487"/>
          </a:xfrm>
        </p:spPr>
      </p:pic>
      <p:sp>
        <p:nvSpPr>
          <p:cNvPr id="2" name="TextBox 1"/>
          <p:cNvSpPr txBox="1"/>
          <p:nvPr/>
        </p:nvSpPr>
        <p:spPr>
          <a:xfrm>
            <a:off x="358775" y="332656"/>
            <a:ext cx="4903522" cy="5539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>
                <a:solidFill>
                  <a:srgbClr val="00B050"/>
                </a:solidFill>
              </a:rPr>
              <a:t>Decision Tree Classifiers….</a:t>
            </a:r>
            <a:endParaRPr lang="en-US" dirty="0">
              <a:solidFill>
                <a:srgbClr val="00B05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16959488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466" name="Slide Number Placeholder 4"/>
          <p:cNvSpPr>
            <a:spLocks noGrp="1"/>
          </p:cNvSpPr>
          <p:nvPr>
            <p:ph type="sldNum" sz="quarter" idx="11"/>
          </p:nvPr>
        </p:nvSpPr>
        <p:spPr>
          <a:noFill/>
        </p:spPr>
        <p:txBody>
          <a:bodyPr/>
          <a:lstStyle/>
          <a:p>
            <a:fld id="{B7813677-1291-44B5-A0FA-D695A4BE6F9E}" type="slidenum">
              <a:rPr lang="en-US" altLang="en-US"/>
              <a:pPr/>
              <a:t>31</a:t>
            </a:fld>
            <a:endParaRPr lang="en-US" altLang="en-US"/>
          </a:p>
        </p:txBody>
      </p:sp>
      <p:pic>
        <p:nvPicPr>
          <p:cNvPr id="62467" name="Picture 11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503238" y="2673350"/>
            <a:ext cx="8229600" cy="3494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2468" name="Rectangle 2"/>
          <p:cNvSpPr>
            <a:spLocks noGrp="1" noChangeArrowheads="1"/>
          </p:cNvSpPr>
          <p:nvPr>
            <p:ph type="title"/>
          </p:nvPr>
        </p:nvSpPr>
        <p:spPr>
          <a:xfrm>
            <a:off x="242564" y="291294"/>
            <a:ext cx="8520600" cy="763600"/>
          </a:xfrm>
        </p:spPr>
        <p:txBody>
          <a:bodyPr/>
          <a:lstStyle/>
          <a:p>
            <a:pPr eaLnBrk="1" hangingPunct="1"/>
            <a:r>
              <a:rPr lang="en-US" dirty="0" smtClean="0"/>
              <a:t>Use the decision tree</a:t>
            </a:r>
          </a:p>
        </p:txBody>
      </p:sp>
      <p:pic>
        <p:nvPicPr>
          <p:cNvPr id="62469" name="Picture 5"/>
          <p:cNvPicPr>
            <a:picLocks noGrp="1" noChangeAspect="1" noChangeArrowheads="1"/>
          </p:cNvPicPr>
          <p:nvPr>
            <p:ph idx="1"/>
          </p:nvPr>
        </p:nvPicPr>
        <p:blipFill>
          <a:blip r:embed="rId3"/>
          <a:srcRect/>
          <a:stretch>
            <a:fillRect/>
          </a:stretch>
        </p:blipFill>
        <p:spPr>
          <a:xfrm>
            <a:off x="503238" y="1414463"/>
            <a:ext cx="8027987" cy="935037"/>
          </a:xfrm>
          <a:noFill/>
        </p:spPr>
      </p:pic>
      <p:sp>
        <p:nvSpPr>
          <p:cNvPr id="62470" name="Line 7"/>
          <p:cNvSpPr>
            <a:spLocks noChangeShapeType="1"/>
          </p:cNvSpPr>
          <p:nvPr/>
        </p:nvSpPr>
        <p:spPr bwMode="auto">
          <a:xfrm flipH="1">
            <a:off x="1908175" y="3249613"/>
            <a:ext cx="1476375" cy="576262"/>
          </a:xfrm>
          <a:prstGeom prst="line">
            <a:avLst/>
          </a:prstGeom>
          <a:noFill/>
          <a:ln w="57150">
            <a:solidFill>
              <a:srgbClr val="FF0000"/>
            </a:solidFill>
            <a:round/>
            <a:headEnd/>
            <a:tailEnd type="triangle" w="med" len="med"/>
          </a:ln>
        </p:spPr>
        <p:txBody>
          <a:bodyPr/>
          <a:lstStyle/>
          <a:p>
            <a:endParaRPr lang="en-US"/>
          </a:p>
        </p:txBody>
      </p:sp>
      <p:sp>
        <p:nvSpPr>
          <p:cNvPr id="62471" name="Line 9"/>
          <p:cNvSpPr>
            <a:spLocks noChangeShapeType="1"/>
          </p:cNvSpPr>
          <p:nvPr/>
        </p:nvSpPr>
        <p:spPr bwMode="auto">
          <a:xfrm>
            <a:off x="1979613" y="4545013"/>
            <a:ext cx="612775" cy="755650"/>
          </a:xfrm>
          <a:prstGeom prst="line">
            <a:avLst/>
          </a:prstGeom>
          <a:noFill/>
          <a:ln w="57150">
            <a:solidFill>
              <a:srgbClr val="FF0000"/>
            </a:solidFill>
            <a:round/>
            <a:headEnd/>
            <a:tailEnd type="triangle" w="med" len="med"/>
          </a:ln>
        </p:spPr>
        <p:txBody>
          <a:bodyPr/>
          <a:lstStyle/>
          <a:p>
            <a:endParaRPr lang="en-US"/>
          </a:p>
        </p:txBody>
      </p:sp>
      <p:sp>
        <p:nvSpPr>
          <p:cNvPr id="62472" name="Text Box 10"/>
          <p:cNvSpPr txBox="1">
            <a:spLocks noChangeArrowheads="1"/>
          </p:cNvSpPr>
          <p:nvPr/>
        </p:nvSpPr>
        <p:spPr bwMode="auto">
          <a:xfrm>
            <a:off x="7524750" y="2097088"/>
            <a:ext cx="1189038" cy="5492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342900" indent="-342900">
              <a:spcBef>
                <a:spcPct val="50000"/>
              </a:spcBef>
              <a:buFont typeface="Wingdings" pitchFamily="2" charset="2"/>
              <a:buNone/>
            </a:pPr>
            <a:r>
              <a:rPr lang="en-US">
                <a:solidFill>
                  <a:srgbClr val="FF0000"/>
                </a:solidFill>
              </a:rPr>
              <a:t>No</a:t>
            </a:r>
          </a:p>
        </p:txBody>
      </p:sp>
    </p:spTree>
    <p:extLst>
      <p:ext uri="{BB962C8B-B14F-4D97-AF65-F5344CB8AC3E}">
        <p14:creationId xmlns:p14="http://schemas.microsoft.com/office/powerpoint/2010/main" val="495644934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490" name="Slide Number Placeholder 4"/>
          <p:cNvSpPr>
            <a:spLocks noGrp="1"/>
          </p:cNvSpPr>
          <p:nvPr>
            <p:ph type="sldNum" sz="quarter" idx="11"/>
          </p:nvPr>
        </p:nvSpPr>
        <p:spPr>
          <a:noFill/>
        </p:spPr>
        <p:txBody>
          <a:bodyPr/>
          <a:lstStyle/>
          <a:p>
            <a:fld id="{1E66F9A6-748A-47FC-9BEA-0CDA226CD797}" type="slidenum">
              <a:rPr lang="en-US" altLang="en-US"/>
              <a:pPr/>
              <a:t>32</a:t>
            </a:fld>
            <a:endParaRPr lang="en-US" altLang="en-US"/>
          </a:p>
        </p:txBody>
      </p:sp>
      <p:sp>
        <p:nvSpPr>
          <p:cNvPr id="63491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smtClean="0"/>
              <a:t>Is the decision tree unique?</a:t>
            </a:r>
          </a:p>
        </p:txBody>
      </p:sp>
      <p:pic>
        <p:nvPicPr>
          <p:cNvPr id="63492" name="Picture 3"/>
          <p:cNvPicPr>
            <a:picLocks noGrp="1" noChangeAspect="1" noChangeArrowheads="1"/>
          </p:cNvPicPr>
          <p:nvPr>
            <p:ph type="body" idx="1"/>
          </p:nvPr>
        </p:nvPicPr>
        <p:blipFill>
          <a:blip r:embed="rId2"/>
          <a:srcRect/>
          <a:stretch>
            <a:fillRect/>
          </a:stretch>
        </p:blipFill>
        <p:spPr>
          <a:xfrm>
            <a:off x="4716463" y="2633663"/>
            <a:ext cx="4103687" cy="3495675"/>
          </a:xfrm>
        </p:spPr>
      </p:pic>
      <p:sp>
        <p:nvSpPr>
          <p:cNvPr id="63493" name="Text Box 4"/>
          <p:cNvSpPr txBox="1">
            <a:spLocks noChangeArrowheads="1"/>
          </p:cNvSpPr>
          <p:nvPr/>
        </p:nvSpPr>
        <p:spPr bwMode="auto">
          <a:xfrm>
            <a:off x="287338" y="1196975"/>
            <a:ext cx="7704137" cy="1371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342900" indent="-342900">
              <a:spcBef>
                <a:spcPct val="50000"/>
              </a:spcBef>
            </a:pPr>
            <a:r>
              <a:rPr lang="en-US">
                <a:solidFill>
                  <a:srgbClr val="FF0000"/>
                </a:solidFill>
              </a:rPr>
              <a:t>No</a:t>
            </a:r>
            <a:r>
              <a:rPr lang="en-US"/>
              <a:t>. Here is a simpler tree. </a:t>
            </a:r>
          </a:p>
          <a:p>
            <a:pPr marL="342900" indent="-342900">
              <a:spcBef>
                <a:spcPct val="0"/>
              </a:spcBef>
            </a:pPr>
            <a:r>
              <a:rPr lang="en-US"/>
              <a:t>We want</a:t>
            </a:r>
            <a:r>
              <a:rPr lang="en-US">
                <a:solidFill>
                  <a:srgbClr val="3333CC"/>
                </a:solidFill>
              </a:rPr>
              <a:t> smaller tree </a:t>
            </a:r>
            <a:r>
              <a:rPr lang="en-US"/>
              <a:t>and</a:t>
            </a:r>
            <a:r>
              <a:rPr lang="en-US">
                <a:solidFill>
                  <a:srgbClr val="3333CC"/>
                </a:solidFill>
              </a:rPr>
              <a:t> accurate tree</a:t>
            </a:r>
            <a:r>
              <a:rPr lang="en-US"/>
              <a:t>.</a:t>
            </a:r>
          </a:p>
          <a:p>
            <a:pPr lvl="1">
              <a:spcBef>
                <a:spcPct val="0"/>
              </a:spcBef>
            </a:pPr>
            <a:r>
              <a:rPr lang="en-US" sz="2000"/>
              <a:t>  </a:t>
            </a:r>
            <a:r>
              <a:rPr lang="en-US" sz="2400"/>
              <a:t>Easy to understand and perform better.</a:t>
            </a:r>
            <a:r>
              <a:rPr lang="en-US" sz="2000"/>
              <a:t> </a:t>
            </a:r>
          </a:p>
        </p:txBody>
      </p:sp>
      <p:sp>
        <p:nvSpPr>
          <p:cNvPr id="63494" name="Text Box 5"/>
          <p:cNvSpPr txBox="1">
            <a:spLocks noChangeArrowheads="1"/>
          </p:cNvSpPr>
          <p:nvPr/>
        </p:nvSpPr>
        <p:spPr bwMode="auto">
          <a:xfrm>
            <a:off x="287338" y="3321050"/>
            <a:ext cx="4572000" cy="26066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342900" indent="-342900">
              <a:spcBef>
                <a:spcPct val="50000"/>
              </a:spcBef>
            </a:pPr>
            <a:r>
              <a:rPr lang="en-US"/>
              <a:t>Finding the best tree is NP-hard.</a:t>
            </a:r>
          </a:p>
          <a:p>
            <a:pPr marL="342900" indent="-342900">
              <a:spcBef>
                <a:spcPct val="50000"/>
              </a:spcBef>
            </a:pPr>
            <a:r>
              <a:rPr lang="en-US"/>
              <a:t>All current tree building algorithms are heuristic algorithms</a:t>
            </a:r>
          </a:p>
        </p:txBody>
      </p:sp>
    </p:spTree>
    <p:extLst>
      <p:ext uri="{BB962C8B-B14F-4D97-AF65-F5344CB8AC3E}">
        <p14:creationId xmlns:p14="http://schemas.microsoft.com/office/powerpoint/2010/main" val="314970472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778" name="Slide Number Placeholder 4"/>
          <p:cNvSpPr>
            <a:spLocks noGrp="1"/>
          </p:cNvSpPr>
          <p:nvPr>
            <p:ph type="sldNum" sz="quarter" idx="11"/>
          </p:nvPr>
        </p:nvSpPr>
        <p:spPr>
          <a:noFill/>
        </p:spPr>
        <p:txBody>
          <a:bodyPr/>
          <a:lstStyle/>
          <a:p>
            <a:fld id="{FC739D6A-89F8-4F72-A38D-9FE842714531}" type="slidenum">
              <a:rPr lang="en-US" altLang="en-US">
                <a:solidFill>
                  <a:srgbClr val="000000"/>
                </a:solidFill>
              </a:rPr>
              <a:pPr/>
              <a:t>33</a:t>
            </a:fld>
            <a:endParaRPr lang="en-US" altLang="en-US">
              <a:solidFill>
                <a:srgbClr val="000000"/>
              </a:solidFill>
            </a:endParaRPr>
          </a:p>
        </p:txBody>
      </p:sp>
      <p:sp>
        <p:nvSpPr>
          <p:cNvPr id="75779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smtClean="0"/>
              <a:t>An example in a continuous space</a:t>
            </a:r>
          </a:p>
        </p:txBody>
      </p:sp>
      <p:pic>
        <p:nvPicPr>
          <p:cNvPr id="75780" name="Picture 3"/>
          <p:cNvPicPr>
            <a:picLocks noGrp="1" noChangeAspect="1" noChangeArrowheads="1"/>
          </p:cNvPicPr>
          <p:nvPr>
            <p:ph type="body" idx="1"/>
          </p:nvPr>
        </p:nvPicPr>
        <p:blipFill>
          <a:blip r:embed="rId2"/>
          <a:srcRect/>
          <a:stretch>
            <a:fillRect/>
          </a:stretch>
        </p:blipFill>
        <p:spPr>
          <a:xfrm>
            <a:off x="431800" y="1628775"/>
            <a:ext cx="8229600" cy="3916363"/>
          </a:xfrm>
        </p:spPr>
      </p:pic>
    </p:spTree>
    <p:extLst>
      <p:ext uri="{BB962C8B-B14F-4D97-AF65-F5344CB8AC3E}">
        <p14:creationId xmlns:p14="http://schemas.microsoft.com/office/powerpoint/2010/main" val="123895030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626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altLang="en-US" dirty="0" smtClean="0"/>
              <a:t>Perceptron : A computational unit with binary threshold</a:t>
            </a:r>
          </a:p>
          <a:p>
            <a:endParaRPr lang="en-US" altLang="en-US" dirty="0" smtClean="0"/>
          </a:p>
          <a:p>
            <a:endParaRPr lang="en-US" altLang="en-US" dirty="0" smtClean="0"/>
          </a:p>
          <a:p>
            <a:endParaRPr lang="en-US" altLang="en-US" dirty="0" smtClean="0"/>
          </a:p>
          <a:p>
            <a:endParaRPr lang="en-US" altLang="en-US" dirty="0" smtClean="0"/>
          </a:p>
          <a:p>
            <a:endParaRPr lang="en-US" altLang="en-US" dirty="0" smtClean="0"/>
          </a:p>
          <a:p>
            <a:r>
              <a:rPr lang="en-US" altLang="en-US" dirty="0" smtClean="0"/>
              <a:t>Abilities</a:t>
            </a:r>
          </a:p>
          <a:p>
            <a:pPr lvl="1"/>
            <a:r>
              <a:rPr lang="en-US" altLang="en-US" dirty="0" smtClean="0"/>
              <a:t>Linear separable decision surface </a:t>
            </a:r>
          </a:p>
          <a:p>
            <a:pPr lvl="1"/>
            <a:r>
              <a:rPr lang="en-US" altLang="en-US" dirty="0" smtClean="0"/>
              <a:t>Represent </a:t>
            </a:r>
            <a:r>
              <a:rPr lang="en-US" altLang="en-US" dirty="0" err="1" smtClean="0"/>
              <a:t>boolean</a:t>
            </a:r>
            <a:r>
              <a:rPr lang="en-US" altLang="en-US" dirty="0" smtClean="0"/>
              <a:t> functions </a:t>
            </a:r>
            <a:r>
              <a:rPr lang="en-US" altLang="en-US" sz="1600" dirty="0" smtClean="0"/>
              <a:t>(AND, OR, NO)</a:t>
            </a:r>
          </a:p>
          <a:p>
            <a:pPr lvl="1"/>
            <a:r>
              <a:rPr lang="en-US" altLang="en-US" dirty="0" smtClean="0"/>
              <a:t>Network (Multilayer) of </a:t>
            </a:r>
            <a:r>
              <a:rPr lang="en-US" altLang="en-US" dirty="0" err="1" smtClean="0"/>
              <a:t>perceptrons</a:t>
            </a:r>
            <a:r>
              <a:rPr lang="en-US" altLang="en-US" dirty="0" smtClean="0"/>
              <a:t/>
            </a:r>
            <a:br>
              <a:rPr lang="en-US" altLang="en-US" dirty="0" smtClean="0"/>
            </a:br>
            <a:r>
              <a:rPr lang="en-US" altLang="en-US" dirty="0" smtClean="0">
                <a:sym typeface="Wingdings" panose="05000000000000000000" pitchFamily="2" charset="2"/>
              </a:rPr>
              <a:t> Various network architectures and capabilities</a:t>
            </a:r>
            <a:endParaRPr lang="en-US" altLang="en-US" dirty="0" smtClean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9pPr>
          </a:lstStyle>
          <a:p>
            <a:fld id="{0871EC99-73BC-4A1A-9B48-1350C76195D8}" type="slidenum">
              <a:rPr lang="en-US" altLang="en-US">
                <a:solidFill>
                  <a:srgbClr val="3F3F3F"/>
                </a:solidFill>
              </a:rPr>
              <a:pPr/>
              <a:t>34</a:t>
            </a:fld>
            <a:endParaRPr lang="en-US" altLang="en-US">
              <a:solidFill>
                <a:srgbClr val="3F3F3F"/>
              </a:solidFill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pPr fontAlgn="auto">
              <a:spcAft>
                <a:spcPts val="0"/>
              </a:spcAft>
              <a:defRPr/>
            </a:pPr>
            <a:r>
              <a:rPr lang="en-US" dirty="0" smtClean="0">
                <a:solidFill>
                  <a:schemeClr val="accent1">
                    <a:satMod val="150000"/>
                  </a:schemeClr>
                </a:solidFill>
              </a:rPr>
              <a:t>Artificial Neural Network (ANN)</a:t>
            </a:r>
            <a:endParaRPr lang="en-US" dirty="0">
              <a:solidFill>
                <a:schemeClr val="accent1">
                  <a:satMod val="150000"/>
                </a:schemeClr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1752600" y="2819400"/>
            <a:ext cx="1676400" cy="304800"/>
          </a:xfrm>
          <a:prstGeom prst="rect">
            <a:avLst/>
          </a:prstGeo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400" dirty="0">
                <a:solidFill>
                  <a:prstClr val="black"/>
                </a:solidFill>
              </a:rPr>
              <a:t>Weighted Sum</a:t>
            </a:r>
          </a:p>
        </p:txBody>
      </p:sp>
      <p:sp>
        <p:nvSpPr>
          <p:cNvPr id="9" name="Rectangle 8"/>
          <p:cNvSpPr/>
          <p:nvPr/>
        </p:nvSpPr>
        <p:spPr>
          <a:xfrm>
            <a:off x="3886200" y="2819400"/>
            <a:ext cx="1676400" cy="304800"/>
          </a:xfrm>
          <a:prstGeom prst="rect">
            <a:avLst/>
          </a:prstGeo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400" dirty="0">
                <a:solidFill>
                  <a:prstClr val="black"/>
                </a:solidFill>
              </a:rPr>
              <a:t>Activation Function</a:t>
            </a:r>
          </a:p>
        </p:txBody>
      </p:sp>
      <p:pic>
        <p:nvPicPr>
          <p:cNvPr id="26631" name="Picture 3"/>
          <p:cNvPicPr>
            <a:picLocks noChangeAspect="1" noChangeArrowheads="1"/>
          </p:cNvPicPr>
          <p:nvPr/>
        </p:nvPicPr>
        <p:blipFill>
          <a:blip r:embed="rId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29000" y="3200400"/>
            <a:ext cx="2438400" cy="528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6632" name="Picture 4"/>
          <p:cNvPicPr>
            <a:picLocks noChangeAspect="1" noChangeArrowheads="1"/>
          </p:cNvPicPr>
          <p:nvPr/>
        </p:nvPicPr>
        <p:blipFill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4800" y="1300163"/>
            <a:ext cx="6580188" cy="2128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6633" name="Picture 21" descr="tmp.bmp"/>
          <p:cNvPicPr>
            <a:picLocks/>
          </p:cNvPicPr>
          <p:nvPr>
            <p:custDataLst>
              <p:tags r:id="rId1"/>
            </p:custDataLst>
          </p:nvPr>
        </p:nvPicPr>
        <p:blipFill>
          <a:blip r:embed="rId6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57800" y="1739900"/>
            <a:ext cx="977900" cy="292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6634" name="Picture 22" descr="tmp.bmp"/>
          <p:cNvPicPr>
            <a:picLocks/>
          </p:cNvPicPr>
          <p:nvPr>
            <p:custDataLst>
              <p:tags r:id="rId2"/>
            </p:custDataLst>
          </p:nvPr>
        </p:nvPicPr>
        <p:blipFill>
          <a:blip r:embed="rId7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19400" y="1511300"/>
            <a:ext cx="1435100" cy="774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6635" name="Picture 6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10400" y="1595438"/>
            <a:ext cx="1219200" cy="1258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6636" name="Picture 8"/>
          <p:cNvPicPr>
            <a:picLocks noChangeAspect="1" noChangeArrowheads="1"/>
          </p:cNvPicPr>
          <p:nvPr/>
        </p:nvPicPr>
        <p:blipFill>
          <a:blip r:embed="rId9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657"/>
          <a:stretch>
            <a:fillRect/>
          </a:stretch>
        </p:blipFill>
        <p:spPr bwMode="auto">
          <a:xfrm>
            <a:off x="5943600" y="3048000"/>
            <a:ext cx="3121025" cy="2851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637" name="TextBox 12"/>
          <p:cNvSpPr txBox="1">
            <a:spLocks noChangeArrowheads="1"/>
          </p:cNvSpPr>
          <p:nvPr/>
        </p:nvSpPr>
        <p:spPr bwMode="auto">
          <a:xfrm>
            <a:off x="7086600" y="5849938"/>
            <a:ext cx="2057400" cy="2460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9pPr>
          </a:lstStyle>
          <a:p>
            <a:pPr algn="r" eaLnBrk="1" hangingPunct="1"/>
            <a:r>
              <a:rPr lang="en-US" altLang="en-US" sz="1000">
                <a:solidFill>
                  <a:prstClr val="black"/>
                </a:solidFill>
                <a:cs typeface="Arial" panose="020B0604020202020204" pitchFamily="34" charset="0"/>
              </a:rPr>
              <a:t>(Jain, 1996)</a:t>
            </a:r>
          </a:p>
        </p:txBody>
      </p:sp>
      <p:sp>
        <p:nvSpPr>
          <p:cNvPr id="2" name="Rectangle 1"/>
          <p:cNvSpPr/>
          <p:nvPr/>
        </p:nvSpPr>
        <p:spPr>
          <a:xfrm>
            <a:off x="7257115" y="6509306"/>
            <a:ext cx="1401346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en-US" sz="1000" dirty="0">
                <a:solidFill>
                  <a:schemeClr val="bg1">
                    <a:lumMod val="50000"/>
                  </a:schemeClr>
                </a:solidFill>
              </a:rPr>
              <a:t>Jong </a:t>
            </a:r>
            <a:r>
              <a:rPr lang="en-US" altLang="en-US" sz="1000" dirty="0" err="1">
                <a:solidFill>
                  <a:schemeClr val="bg1">
                    <a:lumMod val="50000"/>
                  </a:schemeClr>
                </a:solidFill>
              </a:rPr>
              <a:t>Youl</a:t>
            </a:r>
            <a:r>
              <a:rPr lang="en-US" altLang="en-US" sz="1000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en-US" altLang="en-US" sz="1000" dirty="0" smtClean="0">
                <a:solidFill>
                  <a:schemeClr val="bg1">
                    <a:lumMod val="50000"/>
                  </a:schemeClr>
                </a:solidFill>
              </a:rPr>
              <a:t>Choi, 2018</a:t>
            </a:r>
            <a:endParaRPr lang="en-US" altLang="en-US" sz="1000" dirty="0">
              <a:solidFill>
                <a:schemeClr val="bg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854567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50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altLang="en-US" dirty="0" smtClean="0"/>
              <a:t>Learning weights – random initialization and updating</a:t>
            </a:r>
          </a:p>
          <a:p>
            <a:endParaRPr lang="en-US" altLang="en-US" dirty="0" smtClean="0"/>
          </a:p>
          <a:p>
            <a:r>
              <a:rPr lang="en-US" altLang="en-US" dirty="0" smtClean="0"/>
              <a:t>Error-correction training rules</a:t>
            </a:r>
          </a:p>
          <a:p>
            <a:pPr lvl="1"/>
            <a:r>
              <a:rPr lang="en-US" altLang="en-US" dirty="0" smtClean="0"/>
              <a:t>Difference between training data and output: E(</a:t>
            </a:r>
            <a:r>
              <a:rPr lang="en-US" altLang="en-US" dirty="0" err="1" smtClean="0"/>
              <a:t>t,o</a:t>
            </a:r>
            <a:r>
              <a:rPr lang="en-US" altLang="en-US" dirty="0" smtClean="0"/>
              <a:t>)</a:t>
            </a:r>
          </a:p>
          <a:p>
            <a:pPr lvl="1"/>
            <a:r>
              <a:rPr lang="en-US" altLang="en-US" dirty="0" smtClean="0"/>
              <a:t>Gradient descent (Batch learning) </a:t>
            </a:r>
          </a:p>
          <a:p>
            <a:pPr lvl="2"/>
            <a:r>
              <a:rPr lang="en-US" altLang="en-US" dirty="0" smtClean="0"/>
              <a:t>With E being the total loss,</a:t>
            </a:r>
            <a:endParaRPr lang="en-US" altLang="en-US" baseline="-25000" dirty="0" smtClean="0"/>
          </a:p>
          <a:p>
            <a:pPr lvl="1"/>
            <a:r>
              <a:rPr lang="en-US" altLang="en-US" dirty="0" smtClean="0"/>
              <a:t>Stochastic approach (On-line learning)</a:t>
            </a:r>
          </a:p>
          <a:p>
            <a:pPr lvl="2"/>
            <a:r>
              <a:rPr lang="en-US" altLang="en-US" dirty="0" smtClean="0"/>
              <a:t>Update  gradient for each result</a:t>
            </a:r>
          </a:p>
          <a:p>
            <a:pPr lvl="2"/>
            <a:endParaRPr lang="en-US" altLang="en-US" dirty="0" smtClean="0"/>
          </a:p>
          <a:p>
            <a:r>
              <a:rPr lang="en-US" altLang="en-US" dirty="0" smtClean="0"/>
              <a:t>Various error functions</a:t>
            </a:r>
          </a:p>
          <a:p>
            <a:pPr lvl="1"/>
            <a:r>
              <a:rPr lang="en-US" altLang="en-US" dirty="0" smtClean="0"/>
              <a:t>Adding weight regularization term (</a:t>
            </a:r>
            <a:r>
              <a:rPr lang="en-US" altLang="en-US" dirty="0" smtClean="0">
                <a:sym typeface="Symbol" panose="05050102010706020507" pitchFamily="18" charset="2"/>
              </a:rPr>
              <a:t></a:t>
            </a:r>
            <a:r>
              <a:rPr lang="en-US" altLang="en-US" dirty="0" smtClean="0"/>
              <a:t> w</a:t>
            </a:r>
            <a:r>
              <a:rPr lang="en-US" altLang="en-US" baseline="-25000" dirty="0" smtClean="0"/>
              <a:t>i</a:t>
            </a:r>
            <a:r>
              <a:rPr lang="en-US" altLang="en-US" baseline="30000" dirty="0" smtClean="0"/>
              <a:t>2</a:t>
            </a:r>
            <a:r>
              <a:rPr lang="en-US" altLang="en-US" dirty="0" smtClean="0"/>
              <a:t>) to avoid </a:t>
            </a:r>
            <a:r>
              <a:rPr lang="en-US" altLang="en-US" dirty="0" err="1" smtClean="0"/>
              <a:t>overfitting</a:t>
            </a:r>
            <a:endParaRPr lang="en-US" altLang="en-US" dirty="0" smtClean="0"/>
          </a:p>
          <a:p>
            <a:pPr lvl="1"/>
            <a:r>
              <a:rPr lang="en-US" altLang="en-US" dirty="0" smtClean="0"/>
              <a:t>Adding momentum (</a:t>
            </a:r>
            <a:r>
              <a:rPr lang="en-US" altLang="en-US" dirty="0" smtClean="0">
                <a:sym typeface="Symbol" panose="05050102010706020507" pitchFamily="18" charset="2"/>
              </a:rPr>
              <a:t></a:t>
            </a:r>
            <a:r>
              <a:rPr lang="en-US" altLang="en-US" dirty="0" err="1" smtClean="0"/>
              <a:t>w</a:t>
            </a:r>
            <a:r>
              <a:rPr lang="en-US" altLang="en-US" baseline="-25000" dirty="0" err="1" smtClean="0"/>
              <a:t>i</a:t>
            </a:r>
            <a:r>
              <a:rPr lang="en-US" altLang="en-US" baseline="30000" dirty="0" smtClean="0"/>
              <a:t>(n-1)</a:t>
            </a:r>
            <a:r>
              <a:rPr lang="en-US" altLang="en-US" dirty="0" smtClean="0"/>
              <a:t>) to expedite convergence</a:t>
            </a:r>
            <a:endParaRPr lang="en-US" altLang="en-US" baseline="-25000" dirty="0" smtClean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9pPr>
          </a:lstStyle>
          <a:p>
            <a:fld id="{617178DF-4FB0-4A08-94BD-6EA49B93DF83}" type="slidenum">
              <a:rPr lang="en-US" altLang="en-US">
                <a:solidFill>
                  <a:srgbClr val="3F3F3F"/>
                </a:solidFill>
              </a:rPr>
              <a:pPr/>
              <a:t>35</a:t>
            </a:fld>
            <a:endParaRPr lang="en-US" altLang="en-US">
              <a:solidFill>
                <a:srgbClr val="3F3F3F"/>
              </a:solidFill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pPr fontAlgn="auto">
              <a:spcAft>
                <a:spcPts val="0"/>
              </a:spcAft>
              <a:defRPr/>
            </a:pPr>
            <a:r>
              <a:rPr lang="en-US" dirty="0" smtClean="0">
                <a:solidFill>
                  <a:schemeClr val="accent1">
                    <a:satMod val="150000"/>
                  </a:schemeClr>
                </a:solidFill>
              </a:rPr>
              <a:t>Artificial Neural Network (ANN)</a:t>
            </a:r>
            <a:endParaRPr lang="en-US" dirty="0">
              <a:solidFill>
                <a:schemeClr val="accent1">
                  <a:satMod val="150000"/>
                </a:schemeClr>
              </a:solidFill>
            </a:endParaRPr>
          </a:p>
        </p:txBody>
      </p:sp>
      <p:pic>
        <p:nvPicPr>
          <p:cNvPr id="27653" name="Picture 13" descr="tmp.bmp"/>
          <p:cNvPicPr>
            <a:picLocks/>
          </p:cNvPicPr>
          <p:nvPr>
            <p:custDataLst>
              <p:tags r:id="rId1"/>
            </p:custDataLst>
          </p:nvPr>
        </p:nvPicPr>
        <p:blipFill>
          <a:blip r:embed="rId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76600" y="1371600"/>
            <a:ext cx="2413000" cy="368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7654" name="Picture 14" descr="tmp.bmp"/>
          <p:cNvPicPr>
            <a:picLocks/>
          </p:cNvPicPr>
          <p:nvPr>
            <p:custDataLst>
              <p:tags r:id="rId2"/>
            </p:custDataLst>
          </p:nvPr>
        </p:nvPicPr>
        <p:blipFill>
          <a:blip r:embed="rId5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67944" y="3356992"/>
            <a:ext cx="2298700" cy="292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5269849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674" name="Content Placeholder 1"/>
          <p:cNvSpPr>
            <a:spLocks noGrp="1"/>
          </p:cNvSpPr>
          <p:nvPr>
            <p:ph idx="1"/>
          </p:nvPr>
        </p:nvSpPr>
        <p:spPr>
          <a:xfrm>
            <a:off x="3352800" y="685800"/>
            <a:ext cx="5638800" cy="6096000"/>
          </a:xfrm>
        </p:spPr>
        <p:txBody>
          <a:bodyPr/>
          <a:lstStyle/>
          <a:p>
            <a:r>
              <a:rPr lang="en-US" altLang="en-US" smtClean="0"/>
              <a:t>Q: How to draw the optimal linear separating hyperplane?</a:t>
            </a:r>
          </a:p>
          <a:p>
            <a:pPr lvl="1">
              <a:buFont typeface="Wingdings" panose="05000000000000000000" pitchFamily="2" charset="2"/>
              <a:buNone/>
            </a:pPr>
            <a:r>
              <a:rPr lang="en-US" altLang="en-US" smtClean="0">
                <a:sym typeface="Wingdings" panose="05000000000000000000" pitchFamily="2" charset="2"/>
              </a:rPr>
              <a:t> A: Maximizing  margin</a:t>
            </a:r>
            <a:endParaRPr lang="en-US" altLang="en-US" smtClean="0"/>
          </a:p>
          <a:p>
            <a:endParaRPr lang="en-US" altLang="en-US" smtClean="0"/>
          </a:p>
          <a:p>
            <a:endParaRPr lang="en-US" altLang="en-US" smtClean="0"/>
          </a:p>
          <a:p>
            <a:r>
              <a:rPr lang="en-US" altLang="en-US" smtClean="0"/>
              <a:t>Margin maximization</a:t>
            </a:r>
          </a:p>
          <a:p>
            <a:pPr lvl="1"/>
            <a:r>
              <a:rPr lang="en-US" altLang="en-US" smtClean="0"/>
              <a:t>The distance between H</a:t>
            </a:r>
            <a:r>
              <a:rPr lang="en-US" altLang="en-US" baseline="-25000" smtClean="0"/>
              <a:t>+1 </a:t>
            </a:r>
            <a:r>
              <a:rPr lang="en-US" altLang="en-US" smtClean="0"/>
              <a:t>and H</a:t>
            </a:r>
            <a:r>
              <a:rPr lang="en-US" altLang="en-US" baseline="-25000" smtClean="0"/>
              <a:t>-1</a:t>
            </a:r>
            <a:r>
              <a:rPr lang="en-US" altLang="en-US" smtClean="0"/>
              <a:t>:</a:t>
            </a:r>
            <a:endParaRPr lang="en-US" altLang="en-US" baseline="-25000" smtClean="0"/>
          </a:p>
          <a:p>
            <a:pPr lvl="1"/>
            <a:endParaRPr lang="en-US" altLang="en-US" smtClean="0"/>
          </a:p>
          <a:p>
            <a:pPr lvl="1"/>
            <a:endParaRPr lang="en-US" altLang="en-US" smtClean="0"/>
          </a:p>
          <a:p>
            <a:pPr lvl="1"/>
            <a:r>
              <a:rPr lang="en-US" altLang="en-US" smtClean="0">
                <a:sym typeface="Wingdings" panose="05000000000000000000" pitchFamily="2" charset="2"/>
              </a:rPr>
              <a:t>Thus, ||</a:t>
            </a:r>
            <a:r>
              <a:rPr lang="en-US" altLang="en-US" b="1" i="1" smtClean="0">
                <a:sym typeface="Wingdings" panose="05000000000000000000" pitchFamily="2" charset="2"/>
              </a:rPr>
              <a:t>w</a:t>
            </a:r>
            <a:r>
              <a:rPr lang="en-US" altLang="en-US" smtClean="0">
                <a:sym typeface="Wingdings" panose="05000000000000000000" pitchFamily="2" charset="2"/>
              </a:rPr>
              <a:t>|| should be minimized</a:t>
            </a:r>
            <a:endParaRPr lang="en-US" altLang="en-US" smtClean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9pPr>
          </a:lstStyle>
          <a:p>
            <a:fld id="{AE629DC1-C15C-48C2-B1F7-37DCCF427F5D}" type="slidenum">
              <a:rPr lang="en-US" altLang="en-US">
                <a:solidFill>
                  <a:srgbClr val="3F3F3F"/>
                </a:solidFill>
              </a:rPr>
              <a:pPr/>
              <a:t>36</a:t>
            </a:fld>
            <a:endParaRPr lang="en-US" altLang="en-US">
              <a:solidFill>
                <a:srgbClr val="3F3F3F"/>
              </a:solidFill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pPr fontAlgn="auto">
              <a:spcAft>
                <a:spcPts val="0"/>
              </a:spcAft>
              <a:defRPr/>
            </a:pPr>
            <a:r>
              <a:rPr lang="en-US" dirty="0" smtClean="0">
                <a:solidFill>
                  <a:schemeClr val="accent1">
                    <a:satMod val="150000"/>
                  </a:schemeClr>
                </a:solidFill>
              </a:rPr>
              <a:t>Support Vector Machine</a:t>
            </a:r>
            <a:endParaRPr lang="en-US" dirty="0">
              <a:solidFill>
                <a:schemeClr val="accent1">
                  <a:satMod val="150000"/>
                </a:schemeClr>
              </a:solidFill>
            </a:endParaRPr>
          </a:p>
        </p:txBody>
      </p:sp>
      <p:cxnSp>
        <p:nvCxnSpPr>
          <p:cNvPr id="6" name="Straight Connector 5"/>
          <p:cNvCxnSpPr/>
          <p:nvPr/>
        </p:nvCxnSpPr>
        <p:spPr>
          <a:xfrm rot="5400000" flipH="1" flipV="1">
            <a:off x="-571499" y="2017712"/>
            <a:ext cx="2057400" cy="3175"/>
          </a:xfrm>
          <a:prstGeom prst="line">
            <a:avLst/>
          </a:prstGeom>
          <a:ln>
            <a:tailEnd type="arrow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" name="Straight Connector 6"/>
          <p:cNvCxnSpPr/>
          <p:nvPr/>
        </p:nvCxnSpPr>
        <p:spPr>
          <a:xfrm rot="10800000" flipH="1">
            <a:off x="457200" y="3046413"/>
            <a:ext cx="2592388" cy="1587"/>
          </a:xfrm>
          <a:prstGeom prst="line">
            <a:avLst/>
          </a:prstGeom>
          <a:ln>
            <a:tailEnd type="arrow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9" name="Oval 8"/>
          <p:cNvSpPr/>
          <p:nvPr/>
        </p:nvSpPr>
        <p:spPr>
          <a:xfrm>
            <a:off x="1371600" y="1293813"/>
            <a:ext cx="228600" cy="228600"/>
          </a:xfrm>
          <a:prstGeom prst="ellipse">
            <a:avLst/>
          </a:prstGeo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anchor="ctr"/>
          <a:lstStyle>
            <a:lvl1pPr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9pPr>
          </a:lstStyle>
          <a:p>
            <a:pPr algn="ctr" eaLnBrk="1" hangingPunct="1"/>
            <a:endParaRPr lang="en-US" altLang="en-US" sz="1800">
              <a:solidFill>
                <a:srgbClr val="000000"/>
              </a:solidFill>
            </a:endParaRPr>
          </a:p>
        </p:txBody>
      </p:sp>
      <p:sp>
        <p:nvSpPr>
          <p:cNvPr id="10" name="Oval 9"/>
          <p:cNvSpPr/>
          <p:nvPr/>
        </p:nvSpPr>
        <p:spPr>
          <a:xfrm>
            <a:off x="2133600" y="1979613"/>
            <a:ext cx="228600" cy="228600"/>
          </a:xfrm>
          <a:prstGeom prst="ellipse">
            <a:avLst/>
          </a:prstGeo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anchor="ctr"/>
          <a:lstStyle>
            <a:lvl1pPr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9pPr>
          </a:lstStyle>
          <a:p>
            <a:pPr algn="ctr" eaLnBrk="1" hangingPunct="1"/>
            <a:endParaRPr lang="en-US" altLang="en-US" sz="1800">
              <a:solidFill>
                <a:srgbClr val="000000"/>
              </a:solidFill>
            </a:endParaRPr>
          </a:p>
        </p:txBody>
      </p:sp>
      <p:sp>
        <p:nvSpPr>
          <p:cNvPr id="11" name="Oval 10"/>
          <p:cNvSpPr/>
          <p:nvPr/>
        </p:nvSpPr>
        <p:spPr>
          <a:xfrm>
            <a:off x="2209800" y="1370013"/>
            <a:ext cx="228600" cy="228600"/>
          </a:xfrm>
          <a:prstGeom prst="ellipse">
            <a:avLst/>
          </a:prstGeo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anchor="ctr"/>
          <a:lstStyle>
            <a:lvl1pPr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9pPr>
          </a:lstStyle>
          <a:p>
            <a:pPr algn="ctr" eaLnBrk="1" hangingPunct="1"/>
            <a:endParaRPr lang="en-US" altLang="en-US" sz="1800">
              <a:solidFill>
                <a:srgbClr val="000000"/>
              </a:solidFill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685800" y="1903413"/>
            <a:ext cx="228600" cy="228600"/>
          </a:xfrm>
          <a:prstGeom prst="rect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anchor="ctr"/>
          <a:lstStyle>
            <a:lvl1pPr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9pPr>
          </a:lstStyle>
          <a:p>
            <a:pPr algn="ctr" eaLnBrk="1" hangingPunct="1"/>
            <a:endParaRPr lang="en-US" altLang="en-US" sz="1800">
              <a:solidFill>
                <a:srgbClr val="000000"/>
              </a:solidFill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609600" y="2436813"/>
            <a:ext cx="228600" cy="228600"/>
          </a:xfrm>
          <a:prstGeom prst="rect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anchor="ctr"/>
          <a:lstStyle>
            <a:lvl1pPr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9pPr>
          </a:lstStyle>
          <a:p>
            <a:pPr algn="ctr" eaLnBrk="1" hangingPunct="1"/>
            <a:endParaRPr lang="en-US" altLang="en-US" sz="1800">
              <a:solidFill>
                <a:srgbClr val="000000"/>
              </a:solidFill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1371600" y="2513013"/>
            <a:ext cx="228600" cy="228600"/>
          </a:xfrm>
          <a:prstGeom prst="rect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anchor="ctr"/>
          <a:lstStyle>
            <a:lvl1pPr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9pPr>
          </a:lstStyle>
          <a:p>
            <a:pPr algn="ctr" eaLnBrk="1" hangingPunct="1"/>
            <a:endParaRPr lang="en-US" altLang="en-US" sz="1800">
              <a:solidFill>
                <a:srgbClr val="000000"/>
              </a:solidFill>
            </a:endParaRPr>
          </a:p>
        </p:txBody>
      </p:sp>
      <p:cxnSp>
        <p:nvCxnSpPr>
          <p:cNvPr id="22" name="Straight Connector 21"/>
          <p:cNvCxnSpPr/>
          <p:nvPr/>
        </p:nvCxnSpPr>
        <p:spPr>
          <a:xfrm>
            <a:off x="381000" y="1025525"/>
            <a:ext cx="2371725" cy="2097088"/>
          </a:xfrm>
          <a:prstGeom prst="line">
            <a:avLst/>
          </a:prstGeom>
          <a:ln w="25400">
            <a:prstDash val="sysDash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6" name="Straight Connector 25"/>
          <p:cNvCxnSpPr/>
          <p:nvPr/>
        </p:nvCxnSpPr>
        <p:spPr>
          <a:xfrm rot="5400000" flipH="1" flipV="1">
            <a:off x="-571499" y="4760912"/>
            <a:ext cx="2057400" cy="3175"/>
          </a:xfrm>
          <a:prstGeom prst="line">
            <a:avLst/>
          </a:prstGeom>
          <a:ln>
            <a:tailEnd type="arrow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7" name="Straight Connector 26"/>
          <p:cNvCxnSpPr/>
          <p:nvPr/>
        </p:nvCxnSpPr>
        <p:spPr>
          <a:xfrm rot="10800000" flipH="1">
            <a:off x="457200" y="5789613"/>
            <a:ext cx="2592388" cy="1587"/>
          </a:xfrm>
          <a:prstGeom prst="line">
            <a:avLst/>
          </a:prstGeom>
          <a:ln>
            <a:tailEnd type="arrow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8" name="Oval 27"/>
          <p:cNvSpPr/>
          <p:nvPr/>
        </p:nvSpPr>
        <p:spPr>
          <a:xfrm>
            <a:off x="1371600" y="4037013"/>
            <a:ext cx="228600" cy="228600"/>
          </a:xfrm>
          <a:prstGeom prst="ellipse">
            <a:avLst/>
          </a:prstGeom>
          <a:ln w="38100" cmpd="sng"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anchor="ctr"/>
          <a:lstStyle>
            <a:lvl1pPr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9pPr>
          </a:lstStyle>
          <a:p>
            <a:pPr algn="ctr" eaLnBrk="1" hangingPunct="1"/>
            <a:endParaRPr lang="en-US" altLang="en-US" sz="1800">
              <a:solidFill>
                <a:srgbClr val="000000"/>
              </a:solidFill>
            </a:endParaRPr>
          </a:p>
        </p:txBody>
      </p:sp>
      <p:sp>
        <p:nvSpPr>
          <p:cNvPr id="29" name="Oval 28"/>
          <p:cNvSpPr/>
          <p:nvPr/>
        </p:nvSpPr>
        <p:spPr>
          <a:xfrm>
            <a:off x="2133600" y="4722813"/>
            <a:ext cx="228600" cy="228600"/>
          </a:xfrm>
          <a:prstGeom prst="ellipse">
            <a:avLst/>
          </a:prstGeom>
          <a:ln w="38100" cmpd="sng"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anchor="ctr"/>
          <a:lstStyle>
            <a:lvl1pPr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9pPr>
          </a:lstStyle>
          <a:p>
            <a:pPr algn="ctr" eaLnBrk="1" hangingPunct="1"/>
            <a:endParaRPr lang="en-US" altLang="en-US" sz="1800">
              <a:solidFill>
                <a:srgbClr val="000000"/>
              </a:solidFill>
            </a:endParaRPr>
          </a:p>
        </p:txBody>
      </p:sp>
      <p:sp>
        <p:nvSpPr>
          <p:cNvPr id="30" name="Oval 29"/>
          <p:cNvSpPr/>
          <p:nvPr/>
        </p:nvSpPr>
        <p:spPr>
          <a:xfrm>
            <a:off x="2209800" y="4113213"/>
            <a:ext cx="228600" cy="228600"/>
          </a:xfrm>
          <a:prstGeom prst="ellipse">
            <a:avLst/>
          </a:prstGeo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anchor="ctr"/>
          <a:lstStyle>
            <a:lvl1pPr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9pPr>
          </a:lstStyle>
          <a:p>
            <a:pPr algn="ctr" eaLnBrk="1" hangingPunct="1"/>
            <a:endParaRPr lang="en-US" altLang="en-US" sz="1800">
              <a:solidFill>
                <a:srgbClr val="000000"/>
              </a:solidFill>
            </a:endParaRPr>
          </a:p>
        </p:txBody>
      </p:sp>
      <p:sp>
        <p:nvSpPr>
          <p:cNvPr id="31" name="Rectangle 30"/>
          <p:cNvSpPr/>
          <p:nvPr/>
        </p:nvSpPr>
        <p:spPr>
          <a:xfrm>
            <a:off x="685800" y="4646613"/>
            <a:ext cx="228600" cy="228600"/>
          </a:xfrm>
          <a:prstGeom prst="rect">
            <a:avLst/>
          </a:prstGeom>
          <a:ln w="38100" cmpd="sng"/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anchor="ctr"/>
          <a:lstStyle>
            <a:lvl1pPr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9pPr>
          </a:lstStyle>
          <a:p>
            <a:pPr algn="ctr" eaLnBrk="1" hangingPunct="1"/>
            <a:endParaRPr lang="en-US" altLang="en-US" sz="1800">
              <a:solidFill>
                <a:srgbClr val="000000"/>
              </a:solidFill>
            </a:endParaRPr>
          </a:p>
        </p:txBody>
      </p:sp>
      <p:sp>
        <p:nvSpPr>
          <p:cNvPr id="32" name="Rectangle 31"/>
          <p:cNvSpPr/>
          <p:nvPr/>
        </p:nvSpPr>
        <p:spPr>
          <a:xfrm>
            <a:off x="609600" y="5180013"/>
            <a:ext cx="228600" cy="228600"/>
          </a:xfrm>
          <a:prstGeom prst="rect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anchor="ctr"/>
          <a:lstStyle>
            <a:lvl1pPr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9pPr>
          </a:lstStyle>
          <a:p>
            <a:pPr algn="ctr" eaLnBrk="1" hangingPunct="1"/>
            <a:endParaRPr lang="en-US" altLang="en-US" sz="1800">
              <a:solidFill>
                <a:srgbClr val="000000"/>
              </a:solidFill>
            </a:endParaRPr>
          </a:p>
        </p:txBody>
      </p:sp>
      <p:sp>
        <p:nvSpPr>
          <p:cNvPr id="33" name="Rectangle 32"/>
          <p:cNvSpPr/>
          <p:nvPr/>
        </p:nvSpPr>
        <p:spPr>
          <a:xfrm>
            <a:off x="1371600" y="5256213"/>
            <a:ext cx="228600" cy="228600"/>
          </a:xfrm>
          <a:prstGeom prst="rect">
            <a:avLst/>
          </a:prstGeom>
          <a:ln w="38100" cmpd="sng"/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anchor="ctr"/>
          <a:lstStyle>
            <a:lvl1pPr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9pPr>
          </a:lstStyle>
          <a:p>
            <a:pPr algn="ctr" eaLnBrk="1" hangingPunct="1"/>
            <a:endParaRPr lang="en-US" altLang="en-US" sz="1800">
              <a:solidFill>
                <a:srgbClr val="000000"/>
              </a:solidFill>
            </a:endParaRPr>
          </a:p>
        </p:txBody>
      </p:sp>
      <p:cxnSp>
        <p:nvCxnSpPr>
          <p:cNvPr id="34" name="Straight Connector 33"/>
          <p:cNvCxnSpPr/>
          <p:nvPr/>
        </p:nvCxnSpPr>
        <p:spPr>
          <a:xfrm>
            <a:off x="1143000" y="4038600"/>
            <a:ext cx="1981200" cy="1752600"/>
          </a:xfrm>
          <a:prstGeom prst="line">
            <a:avLst/>
          </a:prstGeom>
          <a:ln>
            <a:prstDash val="sysDash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5" name="Straight Connector 34"/>
          <p:cNvCxnSpPr/>
          <p:nvPr/>
        </p:nvCxnSpPr>
        <p:spPr>
          <a:xfrm>
            <a:off x="609600" y="4419600"/>
            <a:ext cx="1981200" cy="1752600"/>
          </a:xfrm>
          <a:prstGeom prst="line">
            <a:avLst/>
          </a:prstGeom>
          <a:ln>
            <a:prstDash val="sysDash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6" name="Straight Connector 35"/>
          <p:cNvCxnSpPr/>
          <p:nvPr/>
        </p:nvCxnSpPr>
        <p:spPr>
          <a:xfrm>
            <a:off x="685800" y="4037013"/>
            <a:ext cx="1981200" cy="1752600"/>
          </a:xfrm>
          <a:prstGeom prst="line">
            <a:avLst/>
          </a:prstGeom>
          <a:ln w="25400">
            <a:prstDash val="sysDash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7" name="Straight Connector 36"/>
          <p:cNvCxnSpPr/>
          <p:nvPr/>
        </p:nvCxnSpPr>
        <p:spPr>
          <a:xfrm rot="16200000" flipH="1">
            <a:off x="329406" y="1269207"/>
            <a:ext cx="2160587" cy="1600200"/>
          </a:xfrm>
          <a:prstGeom prst="line">
            <a:avLst/>
          </a:prstGeom>
          <a:ln w="25400">
            <a:prstDash val="sysDash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4" name="Straight Connector 43"/>
          <p:cNvCxnSpPr/>
          <p:nvPr/>
        </p:nvCxnSpPr>
        <p:spPr>
          <a:xfrm>
            <a:off x="381000" y="1598613"/>
            <a:ext cx="2590800" cy="1066800"/>
          </a:xfrm>
          <a:prstGeom prst="line">
            <a:avLst/>
          </a:prstGeom>
          <a:ln w="25400">
            <a:prstDash val="sysDash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2" name="Straight Connector 71"/>
          <p:cNvCxnSpPr/>
          <p:nvPr/>
        </p:nvCxnSpPr>
        <p:spPr>
          <a:xfrm rot="5400000" flipH="1" flipV="1">
            <a:off x="342900" y="4305300"/>
            <a:ext cx="1600200" cy="1371600"/>
          </a:xfrm>
          <a:prstGeom prst="line">
            <a:avLst/>
          </a:prstGeom>
          <a:ln>
            <a:tailEnd type="arrow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6" name="Straight Connector 75"/>
          <p:cNvCxnSpPr/>
          <p:nvPr/>
        </p:nvCxnSpPr>
        <p:spPr>
          <a:xfrm rot="5400000" flipH="1" flipV="1">
            <a:off x="2343150" y="5524500"/>
            <a:ext cx="504825" cy="428625"/>
          </a:xfrm>
          <a:prstGeom prst="line">
            <a:avLst/>
          </a:prstGeom>
          <a:ln>
            <a:headEnd type="arrow"/>
            <a:tailEnd type="arrow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0" name="Straight Connector 89"/>
          <p:cNvCxnSpPr/>
          <p:nvPr/>
        </p:nvCxnSpPr>
        <p:spPr>
          <a:xfrm rot="5400000" flipH="1" flipV="1">
            <a:off x="381000" y="4762500"/>
            <a:ext cx="1104900" cy="952500"/>
          </a:xfrm>
          <a:prstGeom prst="line">
            <a:avLst/>
          </a:prstGeom>
          <a:ln>
            <a:tailEnd type="arrow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28702" name="Picture 101" descr="tmp.bmp"/>
          <p:cNvPicPr>
            <a:picLocks/>
          </p:cNvPicPr>
          <p:nvPr>
            <p:custDataLst>
              <p:tags r:id="rId1"/>
            </p:custDataLst>
          </p:nvPr>
        </p:nvPicPr>
        <p:blipFill>
          <a:blip r:embed="rId8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14600" y="5105400"/>
            <a:ext cx="354013" cy="190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8703" name="Picture 102" descr="tmp.bmp"/>
          <p:cNvPicPr>
            <a:picLocks/>
          </p:cNvPicPr>
          <p:nvPr>
            <p:custDataLst>
              <p:tags r:id="rId2"/>
            </p:custDataLst>
          </p:nvPr>
        </p:nvPicPr>
        <p:blipFill>
          <a:blip r:embed="rId9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90725" y="5562600"/>
            <a:ext cx="371475" cy="190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8704" name="TextBox 103"/>
          <p:cNvSpPr txBox="1">
            <a:spLocks noChangeArrowheads="1"/>
          </p:cNvSpPr>
          <p:nvPr/>
        </p:nvSpPr>
        <p:spPr bwMode="auto">
          <a:xfrm>
            <a:off x="2438400" y="5788025"/>
            <a:ext cx="990600" cy="3381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9pPr>
          </a:lstStyle>
          <a:p>
            <a:pPr eaLnBrk="1" hangingPunct="1"/>
            <a:r>
              <a:rPr lang="en-US" altLang="en-US" sz="1600">
                <a:solidFill>
                  <a:prstClr val="black"/>
                </a:solidFill>
                <a:cs typeface="Arial" panose="020B0604020202020204" pitchFamily="34" charset="0"/>
              </a:rPr>
              <a:t>Margin</a:t>
            </a:r>
          </a:p>
        </p:txBody>
      </p:sp>
      <p:pic>
        <p:nvPicPr>
          <p:cNvPr id="28705" name="Picture 111" descr="tmp.bmp"/>
          <p:cNvPicPr>
            <a:picLocks/>
          </p:cNvPicPr>
          <p:nvPr>
            <p:custDataLst>
              <p:tags r:id="rId3"/>
            </p:custDataLst>
          </p:nvPr>
        </p:nvPicPr>
        <p:blipFill>
          <a:blip r:embed="rId10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1500" y="3657600"/>
            <a:ext cx="1663700" cy="292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8706" name="Picture 112" descr="tmp.bmp"/>
          <p:cNvPicPr>
            <a:picLocks/>
          </p:cNvPicPr>
          <p:nvPr>
            <p:custDataLst>
              <p:tags r:id="rId4"/>
            </p:custDataLst>
          </p:nvPr>
        </p:nvPicPr>
        <p:blipFill>
          <a:blip r:embed="rId11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28800" y="4279900"/>
            <a:ext cx="241300" cy="139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8707" name="Picture 113" descr="tmp.bmp"/>
          <p:cNvPicPr>
            <a:picLocks/>
          </p:cNvPicPr>
          <p:nvPr>
            <p:custDataLst>
              <p:tags r:id="rId5"/>
            </p:custDataLst>
          </p:nvPr>
        </p:nvPicPr>
        <p:blipFill>
          <a:blip r:embed="rId1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19200" y="4889500"/>
            <a:ext cx="406400" cy="139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8708" name="Picture 37" descr="tmp.bmp"/>
          <p:cNvPicPr>
            <a:picLocks/>
          </p:cNvPicPr>
          <p:nvPr>
            <p:custDataLst>
              <p:tags r:id="rId6"/>
            </p:custDataLst>
          </p:nvPr>
        </p:nvPicPr>
        <p:blipFill>
          <a:blip r:embed="rId1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19600" y="4368800"/>
            <a:ext cx="1079500" cy="660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5995908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9pPr>
          </a:lstStyle>
          <a:p>
            <a:fld id="{F633440E-4F10-40CB-803C-D910608B8848}" type="slidenum">
              <a:rPr lang="en-US" altLang="en-US">
                <a:solidFill>
                  <a:srgbClr val="3F3F3F"/>
                </a:solidFill>
              </a:rPr>
              <a:pPr/>
              <a:t>37</a:t>
            </a:fld>
            <a:endParaRPr lang="en-US" altLang="en-US">
              <a:solidFill>
                <a:srgbClr val="3F3F3F"/>
              </a:solidFill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pPr fontAlgn="auto">
              <a:spcAft>
                <a:spcPts val="0"/>
              </a:spcAft>
              <a:defRPr/>
            </a:pPr>
            <a:r>
              <a:rPr lang="en-US" dirty="0" smtClean="0">
                <a:solidFill>
                  <a:schemeClr val="accent1">
                    <a:satMod val="150000"/>
                  </a:schemeClr>
                </a:solidFill>
              </a:rPr>
              <a:t>Support Vector Machine</a:t>
            </a:r>
            <a:endParaRPr lang="en-US" dirty="0">
              <a:solidFill>
                <a:schemeClr val="accent1">
                  <a:satMod val="150000"/>
                </a:schemeClr>
              </a:solidFill>
            </a:endParaRPr>
          </a:p>
        </p:txBody>
      </p:sp>
      <p:sp>
        <p:nvSpPr>
          <p:cNvPr id="29700" name="Content Placeholder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altLang="en-US" dirty="0" smtClean="0"/>
              <a:t>Constraint optimization problem</a:t>
            </a:r>
          </a:p>
          <a:p>
            <a:pPr lvl="1"/>
            <a:r>
              <a:rPr lang="en-US" altLang="en-US" dirty="0" smtClean="0"/>
              <a:t>Given training set {</a:t>
            </a:r>
            <a:r>
              <a:rPr lang="en-US" altLang="en-US" b="1" i="1" dirty="0" smtClean="0"/>
              <a:t>x</a:t>
            </a:r>
            <a:r>
              <a:rPr lang="en-US" altLang="en-US" baseline="-25000" dirty="0" smtClean="0"/>
              <a:t>i</a:t>
            </a:r>
            <a:r>
              <a:rPr lang="en-US" altLang="en-US" dirty="0" smtClean="0"/>
              <a:t>, </a:t>
            </a:r>
            <a:r>
              <a:rPr lang="en-US" altLang="en-US" dirty="0" err="1" smtClean="0"/>
              <a:t>y</a:t>
            </a:r>
            <a:r>
              <a:rPr lang="en-US" altLang="en-US" baseline="-25000" dirty="0" err="1" smtClean="0"/>
              <a:t>i</a:t>
            </a:r>
            <a:r>
              <a:rPr lang="en-US" altLang="en-US" dirty="0" smtClean="0"/>
              <a:t>} (</a:t>
            </a:r>
            <a:r>
              <a:rPr lang="en-US" altLang="en-US" dirty="0" err="1" smtClean="0"/>
              <a:t>y</a:t>
            </a:r>
            <a:r>
              <a:rPr lang="en-US" altLang="en-US" baseline="-25000" dirty="0" err="1" smtClean="0"/>
              <a:t>i</a:t>
            </a:r>
            <a:r>
              <a:rPr lang="en-US" altLang="en-US" dirty="0" smtClean="0"/>
              <a:t> </a:t>
            </a:r>
            <a:r>
              <a:rPr lang="el-GR" altLang="en-US" dirty="0" smtClean="0">
                <a:latin typeface="cmsy10" pitchFamily="34" charset="0"/>
              </a:rPr>
              <a:t>ϵ</a:t>
            </a:r>
            <a:r>
              <a:rPr lang="en-US" altLang="en-US" dirty="0" smtClean="0"/>
              <a:t> {+1, -1}): </a:t>
            </a:r>
          </a:p>
          <a:p>
            <a:pPr lvl="1"/>
            <a:r>
              <a:rPr lang="en-US" altLang="en-US" dirty="0" smtClean="0"/>
              <a:t>Minimize :</a:t>
            </a:r>
          </a:p>
          <a:p>
            <a:r>
              <a:rPr lang="en-US" altLang="en-US" dirty="0" err="1" smtClean="0"/>
              <a:t>Lagrangian</a:t>
            </a:r>
            <a:r>
              <a:rPr lang="en-US" altLang="en-US" dirty="0" smtClean="0"/>
              <a:t> equation with saddle points </a:t>
            </a:r>
          </a:p>
          <a:p>
            <a:pPr lvl="1"/>
            <a:endParaRPr lang="en-US" altLang="en-US" dirty="0" smtClean="0"/>
          </a:p>
          <a:p>
            <a:pPr lvl="1">
              <a:spcBef>
                <a:spcPts val="2400"/>
              </a:spcBef>
            </a:pPr>
            <a:r>
              <a:rPr lang="en-US" altLang="en-US" dirty="0" smtClean="0"/>
              <a:t>Minimized w.r.t the primal variable </a:t>
            </a:r>
            <a:r>
              <a:rPr lang="en-US" altLang="en-US" b="1" i="1" dirty="0" smtClean="0"/>
              <a:t>w</a:t>
            </a:r>
            <a:r>
              <a:rPr lang="en-US" altLang="en-US" dirty="0" smtClean="0"/>
              <a:t> and b:</a:t>
            </a:r>
          </a:p>
          <a:p>
            <a:pPr lvl="2"/>
            <a:endParaRPr lang="en-US" altLang="en-US" dirty="0" smtClean="0"/>
          </a:p>
          <a:p>
            <a:pPr lvl="2"/>
            <a:endParaRPr lang="en-US" altLang="en-US" dirty="0" smtClean="0"/>
          </a:p>
          <a:p>
            <a:pPr lvl="1"/>
            <a:r>
              <a:rPr lang="en-US" altLang="en-US" dirty="0" smtClean="0"/>
              <a:t>Maximized w.r.t the dual variables </a:t>
            </a:r>
            <a:r>
              <a:rPr lang="en-US" altLang="en-US" dirty="0" smtClean="0">
                <a:sym typeface="Symbol" panose="05050102010706020507" pitchFamily="18" charset="2"/>
              </a:rPr>
              <a:t></a:t>
            </a:r>
            <a:r>
              <a:rPr lang="en-US" altLang="en-US" baseline="-25000" dirty="0" err="1" smtClean="0">
                <a:sym typeface="Symbol" panose="05050102010706020507" pitchFamily="18" charset="2"/>
              </a:rPr>
              <a:t>i</a:t>
            </a:r>
            <a:r>
              <a:rPr lang="en-US" altLang="en-US" baseline="-25000" dirty="0" smtClean="0">
                <a:sym typeface="Symbol" panose="05050102010706020507" pitchFamily="18" charset="2"/>
              </a:rPr>
              <a:t> </a:t>
            </a:r>
            <a:r>
              <a:rPr lang="en-US" altLang="en-US" dirty="0" smtClean="0"/>
              <a:t>(all </a:t>
            </a:r>
            <a:r>
              <a:rPr lang="en-US" altLang="en-US" dirty="0" smtClean="0">
                <a:sym typeface="Symbol" panose="05050102010706020507" pitchFamily="18" charset="2"/>
              </a:rPr>
              <a:t></a:t>
            </a:r>
            <a:r>
              <a:rPr lang="en-US" altLang="en-US" baseline="-25000" dirty="0" err="1" smtClean="0">
                <a:sym typeface="Symbol" panose="05050102010706020507" pitchFamily="18" charset="2"/>
              </a:rPr>
              <a:t>i</a:t>
            </a:r>
            <a:r>
              <a:rPr lang="en-US" altLang="en-US" dirty="0" smtClean="0"/>
              <a:t> </a:t>
            </a:r>
            <a:r>
              <a:rPr lang="en-US" altLang="en-US" dirty="0" smtClean="0">
                <a:latin typeface="cmsy10" pitchFamily="34" charset="0"/>
              </a:rPr>
              <a:t>¸</a:t>
            </a:r>
            <a:r>
              <a:rPr lang="en-US" altLang="en-US" dirty="0" smtClean="0"/>
              <a:t> 0)</a:t>
            </a:r>
          </a:p>
          <a:p>
            <a:pPr lvl="2"/>
            <a:endParaRPr lang="en-US" altLang="en-US" baseline="-25000" dirty="0" smtClean="0"/>
          </a:p>
          <a:p>
            <a:pPr lvl="2"/>
            <a:endParaRPr lang="en-US" altLang="en-US" baseline="-25000" dirty="0" smtClean="0"/>
          </a:p>
          <a:p>
            <a:pPr lvl="1"/>
            <a:endParaRPr lang="en-US" altLang="en-US" dirty="0" smtClean="0"/>
          </a:p>
          <a:p>
            <a:pPr lvl="1"/>
            <a:r>
              <a:rPr lang="en-US" altLang="en-US" b="1" i="1" dirty="0" smtClean="0"/>
              <a:t>x</a:t>
            </a:r>
            <a:r>
              <a:rPr lang="en-US" altLang="en-US" baseline="-25000" dirty="0" smtClean="0"/>
              <a:t>i</a:t>
            </a:r>
            <a:r>
              <a:rPr lang="en-US" altLang="en-US" dirty="0" smtClean="0"/>
              <a:t> with </a:t>
            </a:r>
            <a:r>
              <a:rPr lang="en-US" altLang="en-US" dirty="0" smtClean="0">
                <a:sym typeface="Symbol" panose="05050102010706020507" pitchFamily="18" charset="2"/>
              </a:rPr>
              <a:t></a:t>
            </a:r>
            <a:r>
              <a:rPr lang="en-US" altLang="en-US" baseline="-25000" dirty="0" err="1" smtClean="0">
                <a:sym typeface="Symbol" panose="05050102010706020507" pitchFamily="18" charset="2"/>
              </a:rPr>
              <a:t>i</a:t>
            </a:r>
            <a:r>
              <a:rPr lang="en-US" altLang="en-US" dirty="0" smtClean="0"/>
              <a:t> &gt; 0 (not </a:t>
            </a:r>
            <a:r>
              <a:rPr lang="en-US" altLang="en-US" dirty="0" smtClean="0">
                <a:sym typeface="Symbol" panose="05050102010706020507" pitchFamily="18" charset="2"/>
              </a:rPr>
              <a:t></a:t>
            </a:r>
            <a:r>
              <a:rPr lang="en-US" altLang="en-US" baseline="-25000" dirty="0" err="1" smtClean="0">
                <a:sym typeface="Symbol" panose="05050102010706020507" pitchFamily="18" charset="2"/>
              </a:rPr>
              <a:t>i</a:t>
            </a:r>
            <a:r>
              <a:rPr lang="en-US" altLang="en-US" dirty="0" smtClean="0"/>
              <a:t> = 0) is called support vector (SV) </a:t>
            </a:r>
            <a:endParaRPr lang="en-US" altLang="en-US" baseline="-25000" dirty="0" smtClean="0"/>
          </a:p>
        </p:txBody>
      </p:sp>
      <p:pic>
        <p:nvPicPr>
          <p:cNvPr id="29701" name="Picture 40" descr="tmp.bmp"/>
          <p:cNvPicPr>
            <a:picLocks/>
          </p:cNvPicPr>
          <p:nvPr>
            <p:custDataLst>
              <p:tags r:id="rId1"/>
            </p:custDataLst>
          </p:nvPr>
        </p:nvPicPr>
        <p:blipFill>
          <a:blip r:embed="rId7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38400" y="1752600"/>
            <a:ext cx="1854200" cy="342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9702" name="Picture 49" descr="tmp.bmp"/>
          <p:cNvPicPr>
            <a:picLocks/>
          </p:cNvPicPr>
          <p:nvPr>
            <p:custDataLst>
              <p:tags r:id="rId2"/>
            </p:custDataLst>
          </p:nvPr>
        </p:nvPicPr>
        <p:blipFill>
          <a:blip r:embed="rId8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0600" y="5105400"/>
            <a:ext cx="4394200" cy="393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9703" name="Picture 12" descr="tmp.bmp"/>
          <p:cNvPicPr>
            <a:picLocks/>
          </p:cNvPicPr>
          <p:nvPr>
            <p:custDataLst>
              <p:tags r:id="rId3"/>
            </p:custDataLst>
          </p:nvPr>
        </p:nvPicPr>
        <p:blipFill>
          <a:blip r:embed="rId9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15000" y="1295400"/>
            <a:ext cx="2628900" cy="292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9704" name="Picture 16" descr="tmp.bmp"/>
          <p:cNvPicPr>
            <a:picLocks/>
          </p:cNvPicPr>
          <p:nvPr>
            <p:custDataLst>
              <p:tags r:id="rId4"/>
            </p:custDataLst>
          </p:nvPr>
        </p:nvPicPr>
        <p:blipFill>
          <a:blip r:embed="rId10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0600" y="3848100"/>
            <a:ext cx="6642100" cy="571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9705" name="Picture 18" descr="tmp.bmp"/>
          <p:cNvPicPr>
            <a:picLocks/>
          </p:cNvPicPr>
          <p:nvPr>
            <p:custDataLst>
              <p:tags r:id="rId5"/>
            </p:custDataLst>
          </p:nvPr>
        </p:nvPicPr>
        <p:blipFill>
          <a:blip r:embed="rId11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0600" y="2819400"/>
            <a:ext cx="5016500" cy="393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5783508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22" name="Content Placeholder 1"/>
          <p:cNvSpPr>
            <a:spLocks noGrp="1"/>
          </p:cNvSpPr>
          <p:nvPr>
            <p:ph idx="1"/>
          </p:nvPr>
        </p:nvSpPr>
        <p:spPr>
          <a:xfrm>
            <a:off x="2743200" y="685800"/>
            <a:ext cx="6248400" cy="6096000"/>
          </a:xfrm>
        </p:spPr>
        <p:txBody>
          <a:bodyPr/>
          <a:lstStyle/>
          <a:p>
            <a:r>
              <a:rPr lang="en-US" altLang="en-US" dirty="0" smtClean="0"/>
              <a:t>Soft Margin (Non-separable case)</a:t>
            </a:r>
          </a:p>
          <a:p>
            <a:pPr lvl="1"/>
            <a:r>
              <a:rPr lang="en-US" altLang="en-US" dirty="0" smtClean="0">
                <a:sym typeface="Symbol" panose="05050102010706020507" pitchFamily="18" charset="2"/>
              </a:rPr>
              <a:t>Slack variables </a:t>
            </a:r>
            <a:r>
              <a:rPr lang="en-US" altLang="en-US" baseline="-25000" dirty="0" err="1" smtClean="0">
                <a:sym typeface="Symbol" panose="05050102010706020507" pitchFamily="18" charset="2"/>
              </a:rPr>
              <a:t>i</a:t>
            </a:r>
            <a:r>
              <a:rPr lang="en-US" altLang="en-US" dirty="0" smtClean="0">
                <a:sym typeface="Symbol" panose="05050102010706020507" pitchFamily="18" charset="2"/>
              </a:rPr>
              <a:t> &lt; C</a:t>
            </a:r>
            <a:endParaRPr lang="en-US" altLang="en-US" dirty="0" smtClean="0"/>
          </a:p>
          <a:p>
            <a:pPr lvl="1"/>
            <a:r>
              <a:rPr lang="en-US" altLang="en-US" dirty="0" smtClean="0"/>
              <a:t>Optimization with additional constraint</a:t>
            </a:r>
          </a:p>
          <a:p>
            <a:pPr lvl="1"/>
            <a:endParaRPr lang="en-US" altLang="en-US" dirty="0" smtClean="0"/>
          </a:p>
          <a:p>
            <a:pPr lvl="1"/>
            <a:endParaRPr lang="en-US" altLang="en-US" dirty="0" smtClean="0"/>
          </a:p>
          <a:p>
            <a:pPr lvl="1"/>
            <a:endParaRPr lang="en-US" altLang="en-US" dirty="0" smtClean="0"/>
          </a:p>
          <a:p>
            <a:pPr lvl="1"/>
            <a:endParaRPr lang="en-US" altLang="en-US" dirty="0" smtClean="0"/>
          </a:p>
          <a:p>
            <a:r>
              <a:rPr lang="en-US" altLang="en-US" dirty="0" smtClean="0"/>
              <a:t>Non-linear SVM</a:t>
            </a:r>
          </a:p>
          <a:p>
            <a:pPr lvl="1"/>
            <a:r>
              <a:rPr lang="en-US" altLang="en-US" dirty="0" smtClean="0"/>
              <a:t>Map non-linear input to feature space</a:t>
            </a:r>
          </a:p>
          <a:p>
            <a:pPr lvl="1"/>
            <a:r>
              <a:rPr lang="en-US" altLang="en-US" dirty="0" smtClean="0"/>
              <a:t>Kernel function k(</a:t>
            </a:r>
            <a:r>
              <a:rPr lang="en-US" altLang="en-US" b="1" i="1" dirty="0" err="1" smtClean="0"/>
              <a:t>x</a:t>
            </a:r>
            <a:r>
              <a:rPr lang="en-US" altLang="en-US" dirty="0" err="1" smtClean="0"/>
              <a:t>,</a:t>
            </a:r>
            <a:r>
              <a:rPr lang="en-US" altLang="en-US" b="1" i="1" dirty="0" err="1" smtClean="0"/>
              <a:t>y</a:t>
            </a:r>
            <a:r>
              <a:rPr lang="en-US" altLang="en-US" dirty="0" smtClean="0"/>
              <a:t>) = &lt;</a:t>
            </a:r>
            <a:r>
              <a:rPr lang="en-US" altLang="en-US" dirty="0" smtClean="0">
                <a:sym typeface="Symbol" panose="05050102010706020507" pitchFamily="18" charset="2"/>
              </a:rPr>
              <a:t></a:t>
            </a:r>
            <a:r>
              <a:rPr lang="en-US" altLang="en-US" dirty="0" smtClean="0"/>
              <a:t>(</a:t>
            </a:r>
            <a:r>
              <a:rPr lang="en-US" altLang="en-US" b="1" i="1" dirty="0" smtClean="0"/>
              <a:t>x</a:t>
            </a:r>
            <a:r>
              <a:rPr lang="en-US" altLang="en-US" dirty="0" smtClean="0"/>
              <a:t>), </a:t>
            </a:r>
            <a:r>
              <a:rPr lang="en-US" altLang="en-US" dirty="0" smtClean="0">
                <a:sym typeface="Symbol" panose="05050102010706020507" pitchFamily="18" charset="2"/>
              </a:rPr>
              <a:t></a:t>
            </a:r>
            <a:r>
              <a:rPr lang="en-US" altLang="en-US" dirty="0" smtClean="0"/>
              <a:t>(</a:t>
            </a:r>
            <a:r>
              <a:rPr lang="en-US" altLang="en-US" b="1" i="1" dirty="0" smtClean="0"/>
              <a:t>y</a:t>
            </a:r>
            <a:r>
              <a:rPr lang="en-US" altLang="en-US" dirty="0" smtClean="0"/>
              <a:t>)&gt; </a:t>
            </a:r>
          </a:p>
          <a:p>
            <a:pPr lvl="1"/>
            <a:r>
              <a:rPr lang="en-US" altLang="en-US" dirty="0" smtClean="0"/>
              <a:t>Kernel classifier with support vectors </a:t>
            </a:r>
            <a:r>
              <a:rPr lang="en-US" altLang="en-US" b="1" i="1" dirty="0" err="1" smtClean="0"/>
              <a:t>s</a:t>
            </a:r>
            <a:r>
              <a:rPr lang="en-US" altLang="en-US" baseline="-25000" dirty="0" err="1" smtClean="0"/>
              <a:t>i</a:t>
            </a:r>
            <a:endParaRPr lang="en-US" altLang="en-US" baseline="-25000" dirty="0" smtClean="0"/>
          </a:p>
          <a:p>
            <a:pPr lvl="2">
              <a:buFont typeface="Arial" panose="020B0604020202020204" pitchFamily="34" charset="0"/>
              <a:buNone/>
            </a:pPr>
            <a:endParaRPr lang="en-US" altLang="en-US" dirty="0" smtClean="0"/>
          </a:p>
          <a:p>
            <a:endParaRPr lang="en-US" altLang="en-US" dirty="0" smtClean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9pPr>
          </a:lstStyle>
          <a:p>
            <a:fld id="{82E22F15-4258-4F1D-9815-3FDAD1F5775D}" type="slidenum">
              <a:rPr lang="en-US" altLang="en-US">
                <a:solidFill>
                  <a:srgbClr val="3F3F3F"/>
                </a:solidFill>
              </a:rPr>
              <a:pPr/>
              <a:t>38</a:t>
            </a:fld>
            <a:endParaRPr lang="en-US" altLang="en-US">
              <a:solidFill>
                <a:srgbClr val="3F3F3F"/>
              </a:solidFill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pPr fontAlgn="auto">
              <a:spcAft>
                <a:spcPts val="0"/>
              </a:spcAft>
              <a:defRPr/>
            </a:pPr>
            <a:r>
              <a:rPr lang="en-US" dirty="0" smtClean="0">
                <a:solidFill>
                  <a:schemeClr val="accent1">
                    <a:satMod val="150000"/>
                  </a:schemeClr>
                </a:solidFill>
              </a:rPr>
              <a:t>Support Vector Machine</a:t>
            </a:r>
            <a:endParaRPr lang="en-US" dirty="0">
              <a:solidFill>
                <a:schemeClr val="accent1">
                  <a:satMod val="150000"/>
                </a:schemeClr>
              </a:solidFill>
            </a:endParaRPr>
          </a:p>
        </p:txBody>
      </p:sp>
      <p:cxnSp>
        <p:nvCxnSpPr>
          <p:cNvPr id="5" name="Straight Connector 4"/>
          <p:cNvCxnSpPr/>
          <p:nvPr/>
        </p:nvCxnSpPr>
        <p:spPr>
          <a:xfrm rot="5400000" flipH="1" flipV="1">
            <a:off x="-723899" y="1943100"/>
            <a:ext cx="2057400" cy="3175"/>
          </a:xfrm>
          <a:prstGeom prst="line">
            <a:avLst/>
          </a:prstGeom>
          <a:ln>
            <a:tailEnd type="arrow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" name="Straight Connector 5"/>
          <p:cNvCxnSpPr/>
          <p:nvPr/>
        </p:nvCxnSpPr>
        <p:spPr>
          <a:xfrm rot="10800000" flipH="1">
            <a:off x="304800" y="2971800"/>
            <a:ext cx="2592388" cy="1588"/>
          </a:xfrm>
          <a:prstGeom prst="line">
            <a:avLst/>
          </a:prstGeom>
          <a:ln>
            <a:tailEnd type="arrow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7" name="Oval 6"/>
          <p:cNvSpPr/>
          <p:nvPr/>
        </p:nvSpPr>
        <p:spPr>
          <a:xfrm>
            <a:off x="1219200" y="1219200"/>
            <a:ext cx="228600" cy="228600"/>
          </a:xfrm>
          <a:prstGeom prst="ellipse">
            <a:avLst/>
          </a:prstGeo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anchor="ctr"/>
          <a:lstStyle>
            <a:lvl1pPr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9pPr>
          </a:lstStyle>
          <a:p>
            <a:pPr algn="ctr" eaLnBrk="1" hangingPunct="1"/>
            <a:endParaRPr lang="en-US" altLang="en-US" sz="1800">
              <a:solidFill>
                <a:srgbClr val="000000"/>
              </a:solidFill>
            </a:endParaRPr>
          </a:p>
        </p:txBody>
      </p:sp>
      <p:sp>
        <p:nvSpPr>
          <p:cNvPr id="8" name="Oval 7"/>
          <p:cNvSpPr/>
          <p:nvPr/>
        </p:nvSpPr>
        <p:spPr>
          <a:xfrm>
            <a:off x="1981200" y="1905000"/>
            <a:ext cx="228600" cy="228600"/>
          </a:xfrm>
          <a:prstGeom prst="ellipse">
            <a:avLst/>
          </a:prstGeo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anchor="ctr"/>
          <a:lstStyle>
            <a:lvl1pPr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9pPr>
          </a:lstStyle>
          <a:p>
            <a:pPr algn="ctr" eaLnBrk="1" hangingPunct="1"/>
            <a:endParaRPr lang="en-US" altLang="en-US" sz="1800">
              <a:solidFill>
                <a:srgbClr val="000000"/>
              </a:solidFill>
            </a:endParaRPr>
          </a:p>
        </p:txBody>
      </p:sp>
      <p:sp>
        <p:nvSpPr>
          <p:cNvPr id="9" name="Oval 8"/>
          <p:cNvSpPr/>
          <p:nvPr/>
        </p:nvSpPr>
        <p:spPr>
          <a:xfrm>
            <a:off x="2057400" y="1295400"/>
            <a:ext cx="228600" cy="228600"/>
          </a:xfrm>
          <a:prstGeom prst="ellipse">
            <a:avLst/>
          </a:prstGeo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anchor="ctr"/>
          <a:lstStyle>
            <a:lvl1pPr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9pPr>
          </a:lstStyle>
          <a:p>
            <a:pPr algn="ctr" eaLnBrk="1" hangingPunct="1"/>
            <a:endParaRPr lang="en-US" altLang="en-US" sz="1800">
              <a:solidFill>
                <a:srgbClr val="000000"/>
              </a:solidFill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533400" y="1828800"/>
            <a:ext cx="228600" cy="228600"/>
          </a:xfrm>
          <a:prstGeom prst="rect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anchor="ctr"/>
          <a:lstStyle>
            <a:lvl1pPr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9pPr>
          </a:lstStyle>
          <a:p>
            <a:pPr algn="ctr" eaLnBrk="1" hangingPunct="1"/>
            <a:endParaRPr lang="en-US" altLang="en-US" sz="1800">
              <a:solidFill>
                <a:srgbClr val="000000"/>
              </a:solidFill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457200" y="2362200"/>
            <a:ext cx="228600" cy="228600"/>
          </a:xfrm>
          <a:prstGeom prst="rect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anchor="ctr"/>
          <a:lstStyle>
            <a:lvl1pPr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9pPr>
          </a:lstStyle>
          <a:p>
            <a:pPr algn="ctr" eaLnBrk="1" hangingPunct="1"/>
            <a:endParaRPr lang="en-US" altLang="en-US" sz="1800">
              <a:solidFill>
                <a:srgbClr val="000000"/>
              </a:solidFill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1219200" y="2438400"/>
            <a:ext cx="228600" cy="228600"/>
          </a:xfrm>
          <a:prstGeom prst="rect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anchor="ctr"/>
          <a:lstStyle>
            <a:lvl1pPr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9pPr>
          </a:lstStyle>
          <a:p>
            <a:pPr algn="ctr" eaLnBrk="1" hangingPunct="1"/>
            <a:endParaRPr lang="en-US" altLang="en-US" sz="1800">
              <a:solidFill>
                <a:srgbClr val="000000"/>
              </a:solidFill>
            </a:endParaRPr>
          </a:p>
        </p:txBody>
      </p:sp>
      <p:cxnSp>
        <p:nvCxnSpPr>
          <p:cNvPr id="13" name="Straight Connector 12"/>
          <p:cNvCxnSpPr/>
          <p:nvPr/>
        </p:nvCxnSpPr>
        <p:spPr>
          <a:xfrm>
            <a:off x="990600" y="1220788"/>
            <a:ext cx="1981200" cy="1752600"/>
          </a:xfrm>
          <a:prstGeom prst="line">
            <a:avLst/>
          </a:prstGeom>
          <a:ln>
            <a:prstDash val="sysDash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/>
        </p:nvCxnSpPr>
        <p:spPr>
          <a:xfrm>
            <a:off x="457200" y="1601788"/>
            <a:ext cx="1981200" cy="1752600"/>
          </a:xfrm>
          <a:prstGeom prst="line">
            <a:avLst/>
          </a:prstGeom>
          <a:ln>
            <a:prstDash val="sysDash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/>
        </p:nvCxnSpPr>
        <p:spPr>
          <a:xfrm>
            <a:off x="533400" y="1219200"/>
            <a:ext cx="1981200" cy="1752600"/>
          </a:xfrm>
          <a:prstGeom prst="line">
            <a:avLst/>
          </a:prstGeom>
          <a:ln w="25400">
            <a:prstDash val="sysDash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" name="Straight Connector 15"/>
          <p:cNvCxnSpPr/>
          <p:nvPr/>
        </p:nvCxnSpPr>
        <p:spPr>
          <a:xfrm rot="5400000" flipH="1" flipV="1">
            <a:off x="190500" y="1487488"/>
            <a:ext cx="1600200" cy="1371600"/>
          </a:xfrm>
          <a:prstGeom prst="line">
            <a:avLst/>
          </a:prstGeom>
          <a:ln>
            <a:tailEnd type="arrow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30737" name="Picture 22" descr="tmp.bmp"/>
          <p:cNvPicPr>
            <a:picLocks/>
          </p:cNvPicPr>
          <p:nvPr>
            <p:custDataLst>
              <p:tags r:id="rId1"/>
            </p:custDataLst>
          </p:nvPr>
        </p:nvPicPr>
        <p:blipFill>
          <a:blip r:embed="rId6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76400" y="1462088"/>
            <a:ext cx="241300" cy="139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5" name="Oval 24"/>
          <p:cNvSpPr/>
          <p:nvPr/>
        </p:nvSpPr>
        <p:spPr>
          <a:xfrm>
            <a:off x="1504950" y="2992438"/>
            <a:ext cx="228600" cy="228600"/>
          </a:xfrm>
          <a:prstGeom prst="ellipse">
            <a:avLst/>
          </a:prstGeo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anchor="ctr"/>
          <a:lstStyle>
            <a:lvl1pPr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9pPr>
          </a:lstStyle>
          <a:p>
            <a:pPr algn="ctr" eaLnBrk="1" hangingPunct="1"/>
            <a:endParaRPr lang="en-US" altLang="en-US" sz="1800">
              <a:solidFill>
                <a:srgbClr val="000000"/>
              </a:solidFill>
            </a:endParaRPr>
          </a:p>
        </p:txBody>
      </p:sp>
      <p:sp>
        <p:nvSpPr>
          <p:cNvPr id="26" name="Rectangle 25"/>
          <p:cNvSpPr/>
          <p:nvPr/>
        </p:nvSpPr>
        <p:spPr>
          <a:xfrm>
            <a:off x="1485900" y="1677988"/>
            <a:ext cx="228600" cy="228600"/>
          </a:xfrm>
          <a:prstGeom prst="rect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anchor="ctr"/>
          <a:lstStyle>
            <a:lvl1pPr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9pPr>
          </a:lstStyle>
          <a:p>
            <a:pPr algn="ctr" eaLnBrk="1" hangingPunct="1"/>
            <a:endParaRPr lang="en-US" altLang="en-US" sz="1800">
              <a:solidFill>
                <a:srgbClr val="000000"/>
              </a:solidFill>
            </a:endParaRPr>
          </a:p>
        </p:txBody>
      </p:sp>
      <p:cxnSp>
        <p:nvCxnSpPr>
          <p:cNvPr id="27" name="Straight Connector 26"/>
          <p:cNvCxnSpPr/>
          <p:nvPr/>
        </p:nvCxnSpPr>
        <p:spPr>
          <a:xfrm rot="5400000">
            <a:off x="1657350" y="2401888"/>
            <a:ext cx="657225" cy="581025"/>
          </a:xfrm>
          <a:prstGeom prst="line">
            <a:avLst/>
          </a:prstGeom>
          <a:ln w="25400">
            <a:tailEnd type="non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pic>
        <p:nvPicPr>
          <p:cNvPr id="30741" name="Picture 34" descr="tmp.bmp"/>
          <p:cNvPicPr>
            <a:picLocks/>
          </p:cNvPicPr>
          <p:nvPr>
            <p:custDataLst>
              <p:tags r:id="rId2"/>
            </p:custDataLst>
          </p:nvPr>
        </p:nvPicPr>
        <p:blipFill>
          <a:blip r:embed="rId7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14500" y="2973388"/>
            <a:ext cx="596900" cy="736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37" name="Straight Connector 36"/>
          <p:cNvCxnSpPr/>
          <p:nvPr/>
        </p:nvCxnSpPr>
        <p:spPr>
          <a:xfrm rot="5400000">
            <a:off x="1152525" y="1925638"/>
            <a:ext cx="333375" cy="295275"/>
          </a:xfrm>
          <a:prstGeom prst="line">
            <a:avLst/>
          </a:prstGeom>
          <a:ln w="25400">
            <a:tailEnd type="non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grpSp>
        <p:nvGrpSpPr>
          <p:cNvPr id="30743" name="Group 111"/>
          <p:cNvGrpSpPr>
            <a:grpSpLocks/>
          </p:cNvGrpSpPr>
          <p:nvPr/>
        </p:nvGrpSpPr>
        <p:grpSpPr bwMode="auto">
          <a:xfrm>
            <a:off x="1949450" y="4479925"/>
            <a:ext cx="1174750" cy="1235075"/>
            <a:chOff x="1873259" y="4480315"/>
            <a:chExt cx="1174741" cy="1234685"/>
          </a:xfrm>
        </p:grpSpPr>
        <p:cxnSp>
          <p:nvCxnSpPr>
            <p:cNvPr id="60" name="Straight Connector 59"/>
            <p:cNvCxnSpPr/>
            <p:nvPr/>
          </p:nvCxnSpPr>
          <p:spPr>
            <a:xfrm rot="5400000" flipH="1" flipV="1">
              <a:off x="1256710" y="5096864"/>
              <a:ext cx="1234685" cy="1588"/>
            </a:xfrm>
            <a:prstGeom prst="line">
              <a:avLst/>
            </a:prstGeom>
            <a:ln>
              <a:tailEnd type="arrow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61" name="Straight Connector 60"/>
            <p:cNvCxnSpPr/>
            <p:nvPr/>
          </p:nvCxnSpPr>
          <p:spPr>
            <a:xfrm>
              <a:off x="1873259" y="5715000"/>
              <a:ext cx="1174741" cy="0"/>
            </a:xfrm>
            <a:prstGeom prst="line">
              <a:avLst/>
            </a:prstGeom>
            <a:ln>
              <a:tailEnd type="arrow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sp>
          <p:nvSpPr>
            <p:cNvPr id="62" name="Oval 61"/>
            <p:cNvSpPr/>
            <p:nvPr/>
          </p:nvSpPr>
          <p:spPr>
            <a:xfrm>
              <a:off x="2422530" y="4662820"/>
              <a:ext cx="136524" cy="136482"/>
            </a:xfrm>
            <a:prstGeom prst="ellipse">
              <a:avLst/>
            </a:prstGeom>
          </p:spPr>
          <p:style>
            <a:lnRef idx="1">
              <a:schemeClr val="accent2"/>
            </a:lnRef>
            <a:fillRef idx="2">
              <a:schemeClr val="accent2"/>
            </a:fillRef>
            <a:effectRef idx="1">
              <a:schemeClr val="accent2"/>
            </a:effectRef>
            <a:fontRef idx="minor">
              <a:schemeClr val="dk1"/>
            </a:fontRef>
          </p:style>
          <p:txBody>
            <a:bodyPr anchor="ctr"/>
            <a:lstStyle>
              <a:lvl1pPr>
                <a:defRPr>
                  <a:solidFill>
                    <a:schemeClr val="tx1"/>
                  </a:solidFill>
                  <a:latin typeface="Corbel" panose="020B0503020204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orbel" panose="020B0503020204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orbel" panose="020B0503020204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orbel" panose="020B0503020204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orbel" panose="020B0503020204020204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orbel" panose="020B0503020204020204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orbel" panose="020B0503020204020204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orbel" panose="020B0503020204020204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orbel" panose="020B0503020204020204" pitchFamily="34" charset="0"/>
                </a:defRPr>
              </a:lvl9pPr>
            </a:lstStyle>
            <a:p>
              <a:pPr algn="ctr" eaLnBrk="1" hangingPunct="1"/>
              <a:endParaRPr lang="en-US" altLang="en-US" sz="1800">
                <a:solidFill>
                  <a:srgbClr val="000000"/>
                </a:solidFill>
              </a:endParaRPr>
            </a:p>
          </p:txBody>
        </p:sp>
        <p:sp>
          <p:nvSpPr>
            <p:cNvPr id="63" name="Oval 62"/>
            <p:cNvSpPr/>
            <p:nvPr/>
          </p:nvSpPr>
          <p:spPr>
            <a:xfrm>
              <a:off x="2879726" y="5073853"/>
              <a:ext cx="136524" cy="138069"/>
            </a:xfrm>
            <a:prstGeom prst="ellipse">
              <a:avLst/>
            </a:prstGeom>
          </p:spPr>
          <p:style>
            <a:lnRef idx="1">
              <a:schemeClr val="accent2"/>
            </a:lnRef>
            <a:fillRef idx="2">
              <a:schemeClr val="accent2"/>
            </a:fillRef>
            <a:effectRef idx="1">
              <a:schemeClr val="accent2"/>
            </a:effectRef>
            <a:fontRef idx="minor">
              <a:schemeClr val="dk1"/>
            </a:fontRef>
          </p:style>
          <p:txBody>
            <a:bodyPr anchor="ctr"/>
            <a:lstStyle>
              <a:lvl1pPr>
                <a:defRPr>
                  <a:solidFill>
                    <a:schemeClr val="tx1"/>
                  </a:solidFill>
                  <a:latin typeface="Corbel" panose="020B0503020204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orbel" panose="020B0503020204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orbel" panose="020B0503020204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orbel" panose="020B0503020204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orbel" panose="020B0503020204020204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orbel" panose="020B0503020204020204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orbel" panose="020B0503020204020204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orbel" panose="020B0503020204020204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orbel" panose="020B0503020204020204" pitchFamily="34" charset="0"/>
                </a:defRPr>
              </a:lvl9pPr>
            </a:lstStyle>
            <a:p>
              <a:pPr algn="ctr" eaLnBrk="1" hangingPunct="1"/>
              <a:endParaRPr lang="en-US" altLang="en-US" sz="1800">
                <a:solidFill>
                  <a:srgbClr val="000000"/>
                </a:solidFill>
              </a:endParaRPr>
            </a:p>
          </p:txBody>
        </p:sp>
        <p:sp>
          <p:nvSpPr>
            <p:cNvPr id="64" name="Oval 63"/>
            <p:cNvSpPr/>
            <p:nvPr/>
          </p:nvSpPr>
          <p:spPr>
            <a:xfrm>
              <a:off x="2667003" y="4724713"/>
              <a:ext cx="136524" cy="136482"/>
            </a:xfrm>
            <a:prstGeom prst="ellipse">
              <a:avLst/>
            </a:prstGeom>
          </p:spPr>
          <p:style>
            <a:lnRef idx="1">
              <a:schemeClr val="accent2"/>
            </a:lnRef>
            <a:fillRef idx="2">
              <a:schemeClr val="accent2"/>
            </a:fillRef>
            <a:effectRef idx="1">
              <a:schemeClr val="accent2"/>
            </a:effectRef>
            <a:fontRef idx="minor">
              <a:schemeClr val="dk1"/>
            </a:fontRef>
          </p:style>
          <p:txBody>
            <a:bodyPr anchor="ctr"/>
            <a:lstStyle>
              <a:lvl1pPr>
                <a:defRPr>
                  <a:solidFill>
                    <a:schemeClr val="tx1"/>
                  </a:solidFill>
                  <a:latin typeface="Corbel" panose="020B0503020204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orbel" panose="020B0503020204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orbel" panose="020B0503020204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orbel" panose="020B0503020204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orbel" panose="020B0503020204020204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orbel" panose="020B0503020204020204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orbel" panose="020B0503020204020204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orbel" panose="020B0503020204020204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orbel" panose="020B0503020204020204" pitchFamily="34" charset="0"/>
                </a:defRPr>
              </a:lvl9pPr>
            </a:lstStyle>
            <a:p>
              <a:pPr algn="ctr" eaLnBrk="1" hangingPunct="1"/>
              <a:endParaRPr lang="en-US" altLang="en-US" sz="1800">
                <a:solidFill>
                  <a:srgbClr val="000000"/>
                </a:solidFill>
              </a:endParaRPr>
            </a:p>
          </p:txBody>
        </p:sp>
        <p:sp>
          <p:nvSpPr>
            <p:cNvPr id="65" name="Rectangle 64"/>
            <p:cNvSpPr/>
            <p:nvPr/>
          </p:nvSpPr>
          <p:spPr>
            <a:xfrm>
              <a:off x="2011371" y="5027830"/>
              <a:ext cx="136524" cy="138068"/>
            </a:xfrm>
            <a:prstGeom prst="rect">
              <a:avLst/>
            </a:prstGeom>
          </p:spPr>
          <p:style>
            <a:lnRef idx="1">
              <a:schemeClr val="accent6"/>
            </a:lnRef>
            <a:fillRef idx="2">
              <a:schemeClr val="accent6"/>
            </a:fillRef>
            <a:effectRef idx="1">
              <a:schemeClr val="accent6"/>
            </a:effectRef>
            <a:fontRef idx="minor">
              <a:schemeClr val="dk1"/>
            </a:fontRef>
          </p:style>
          <p:txBody>
            <a:bodyPr anchor="ctr"/>
            <a:lstStyle>
              <a:lvl1pPr>
                <a:defRPr>
                  <a:solidFill>
                    <a:schemeClr val="tx1"/>
                  </a:solidFill>
                  <a:latin typeface="Corbel" panose="020B0503020204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orbel" panose="020B0503020204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orbel" panose="020B0503020204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orbel" panose="020B0503020204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orbel" panose="020B0503020204020204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orbel" panose="020B0503020204020204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orbel" panose="020B0503020204020204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orbel" panose="020B0503020204020204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orbel" panose="020B0503020204020204" pitchFamily="34" charset="0"/>
                </a:defRPr>
              </a:lvl9pPr>
            </a:lstStyle>
            <a:p>
              <a:pPr algn="ctr" eaLnBrk="1" hangingPunct="1"/>
              <a:endParaRPr lang="en-US" altLang="en-US" sz="1800">
                <a:solidFill>
                  <a:srgbClr val="000000"/>
                </a:solidFill>
              </a:endParaRPr>
            </a:p>
          </p:txBody>
        </p:sp>
        <p:sp>
          <p:nvSpPr>
            <p:cNvPr id="66" name="Rectangle 65"/>
            <p:cNvSpPr/>
            <p:nvPr/>
          </p:nvSpPr>
          <p:spPr>
            <a:xfrm>
              <a:off x="1965333" y="5348404"/>
              <a:ext cx="136524" cy="138068"/>
            </a:xfrm>
            <a:prstGeom prst="rect">
              <a:avLst/>
            </a:prstGeom>
          </p:spPr>
          <p:style>
            <a:lnRef idx="1">
              <a:schemeClr val="accent6"/>
            </a:lnRef>
            <a:fillRef idx="2">
              <a:schemeClr val="accent6"/>
            </a:fillRef>
            <a:effectRef idx="1">
              <a:schemeClr val="accent6"/>
            </a:effectRef>
            <a:fontRef idx="minor">
              <a:schemeClr val="dk1"/>
            </a:fontRef>
          </p:style>
          <p:txBody>
            <a:bodyPr anchor="ctr"/>
            <a:lstStyle>
              <a:lvl1pPr>
                <a:defRPr>
                  <a:solidFill>
                    <a:schemeClr val="tx1"/>
                  </a:solidFill>
                  <a:latin typeface="Corbel" panose="020B0503020204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orbel" panose="020B0503020204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orbel" panose="020B0503020204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orbel" panose="020B0503020204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orbel" panose="020B0503020204020204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orbel" panose="020B0503020204020204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orbel" panose="020B0503020204020204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orbel" panose="020B0503020204020204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orbel" panose="020B0503020204020204" pitchFamily="34" charset="0"/>
                </a:defRPr>
              </a:lvl9pPr>
            </a:lstStyle>
            <a:p>
              <a:pPr algn="ctr" eaLnBrk="1" hangingPunct="1"/>
              <a:endParaRPr lang="en-US" altLang="en-US" sz="1800">
                <a:solidFill>
                  <a:srgbClr val="000000"/>
                </a:solidFill>
              </a:endParaRPr>
            </a:p>
          </p:txBody>
        </p:sp>
        <p:sp>
          <p:nvSpPr>
            <p:cNvPr id="67" name="Rectangle 66"/>
            <p:cNvSpPr/>
            <p:nvPr/>
          </p:nvSpPr>
          <p:spPr>
            <a:xfrm>
              <a:off x="2422530" y="5394426"/>
              <a:ext cx="136524" cy="136482"/>
            </a:xfrm>
            <a:prstGeom prst="rect">
              <a:avLst/>
            </a:prstGeom>
          </p:spPr>
          <p:style>
            <a:lnRef idx="1">
              <a:schemeClr val="accent6"/>
            </a:lnRef>
            <a:fillRef idx="2">
              <a:schemeClr val="accent6"/>
            </a:fillRef>
            <a:effectRef idx="1">
              <a:schemeClr val="accent6"/>
            </a:effectRef>
            <a:fontRef idx="minor">
              <a:schemeClr val="dk1"/>
            </a:fontRef>
          </p:style>
          <p:txBody>
            <a:bodyPr anchor="ctr"/>
            <a:lstStyle>
              <a:lvl1pPr>
                <a:defRPr>
                  <a:solidFill>
                    <a:schemeClr val="tx1"/>
                  </a:solidFill>
                  <a:latin typeface="Corbel" panose="020B0503020204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orbel" panose="020B0503020204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orbel" panose="020B0503020204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orbel" panose="020B0503020204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orbel" panose="020B0503020204020204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orbel" panose="020B0503020204020204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orbel" panose="020B0503020204020204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orbel" panose="020B0503020204020204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orbel" panose="020B0503020204020204" pitchFamily="34" charset="0"/>
                </a:defRPr>
              </a:lvl9pPr>
            </a:lstStyle>
            <a:p>
              <a:pPr algn="ctr" eaLnBrk="1" hangingPunct="1"/>
              <a:endParaRPr lang="en-US" altLang="en-US" sz="1800">
                <a:solidFill>
                  <a:srgbClr val="000000"/>
                </a:solidFill>
              </a:endParaRPr>
            </a:p>
          </p:txBody>
        </p:sp>
        <p:cxnSp>
          <p:nvCxnSpPr>
            <p:cNvPr id="70" name="Straight Connector 69"/>
            <p:cNvCxnSpPr/>
            <p:nvPr/>
          </p:nvCxnSpPr>
          <p:spPr>
            <a:xfrm>
              <a:off x="2011371" y="4662820"/>
              <a:ext cx="865180" cy="776042"/>
            </a:xfrm>
            <a:prstGeom prst="line">
              <a:avLst/>
            </a:prstGeom>
            <a:ln w="25400">
              <a:prstDash val="sysDash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grpSp>
        <p:nvGrpSpPr>
          <p:cNvPr id="30744" name="Group 112"/>
          <p:cNvGrpSpPr>
            <a:grpSpLocks/>
          </p:cNvGrpSpPr>
          <p:nvPr/>
        </p:nvGrpSpPr>
        <p:grpSpPr bwMode="auto">
          <a:xfrm>
            <a:off x="304800" y="4479925"/>
            <a:ext cx="1143000" cy="1235075"/>
            <a:chOff x="304800" y="4480315"/>
            <a:chExt cx="1143000" cy="1234685"/>
          </a:xfrm>
        </p:grpSpPr>
        <p:cxnSp>
          <p:nvCxnSpPr>
            <p:cNvPr id="80" name="Straight Connector 79"/>
            <p:cNvCxnSpPr/>
            <p:nvPr/>
          </p:nvCxnSpPr>
          <p:spPr>
            <a:xfrm rot="5400000" flipH="1" flipV="1">
              <a:off x="-311749" y="5096864"/>
              <a:ext cx="1234685" cy="1588"/>
            </a:xfrm>
            <a:prstGeom prst="line">
              <a:avLst/>
            </a:prstGeom>
            <a:ln>
              <a:tailEnd type="arrow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81" name="Straight Connector 80"/>
            <p:cNvCxnSpPr/>
            <p:nvPr/>
          </p:nvCxnSpPr>
          <p:spPr>
            <a:xfrm>
              <a:off x="304800" y="5699130"/>
              <a:ext cx="1143000" cy="1587"/>
            </a:xfrm>
            <a:prstGeom prst="line">
              <a:avLst/>
            </a:prstGeom>
            <a:ln>
              <a:tailEnd type="arrow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sp>
          <p:nvSpPr>
            <p:cNvPr id="82" name="Oval 81"/>
            <p:cNvSpPr/>
            <p:nvPr/>
          </p:nvSpPr>
          <p:spPr>
            <a:xfrm>
              <a:off x="609600" y="4937371"/>
              <a:ext cx="136525" cy="138069"/>
            </a:xfrm>
            <a:prstGeom prst="ellipse">
              <a:avLst/>
            </a:prstGeom>
          </p:spPr>
          <p:style>
            <a:lnRef idx="1">
              <a:schemeClr val="accent2"/>
            </a:lnRef>
            <a:fillRef idx="2">
              <a:schemeClr val="accent2"/>
            </a:fillRef>
            <a:effectRef idx="1">
              <a:schemeClr val="accent2"/>
            </a:effectRef>
            <a:fontRef idx="minor">
              <a:schemeClr val="dk1"/>
            </a:fontRef>
          </p:style>
          <p:txBody>
            <a:bodyPr anchor="ctr"/>
            <a:lstStyle>
              <a:lvl1pPr>
                <a:defRPr>
                  <a:solidFill>
                    <a:schemeClr val="tx1"/>
                  </a:solidFill>
                  <a:latin typeface="Corbel" panose="020B0503020204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orbel" panose="020B0503020204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orbel" panose="020B0503020204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orbel" panose="020B0503020204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orbel" panose="020B0503020204020204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orbel" panose="020B0503020204020204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orbel" panose="020B0503020204020204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orbel" panose="020B0503020204020204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orbel" panose="020B0503020204020204" pitchFamily="34" charset="0"/>
                </a:defRPr>
              </a:lvl9pPr>
            </a:lstStyle>
            <a:p>
              <a:pPr algn="ctr" eaLnBrk="1" hangingPunct="1"/>
              <a:endParaRPr lang="en-US" altLang="en-US" sz="1800">
                <a:solidFill>
                  <a:srgbClr val="000000"/>
                </a:solidFill>
              </a:endParaRPr>
            </a:p>
          </p:txBody>
        </p:sp>
        <p:sp>
          <p:nvSpPr>
            <p:cNvPr id="83" name="Oval 82"/>
            <p:cNvSpPr/>
            <p:nvPr/>
          </p:nvSpPr>
          <p:spPr>
            <a:xfrm>
              <a:off x="990600" y="5165898"/>
              <a:ext cx="136525" cy="138069"/>
            </a:xfrm>
            <a:prstGeom prst="ellipse">
              <a:avLst/>
            </a:prstGeom>
          </p:spPr>
          <p:style>
            <a:lnRef idx="1">
              <a:schemeClr val="accent2"/>
            </a:lnRef>
            <a:fillRef idx="2">
              <a:schemeClr val="accent2"/>
            </a:fillRef>
            <a:effectRef idx="1">
              <a:schemeClr val="accent2"/>
            </a:effectRef>
            <a:fontRef idx="minor">
              <a:schemeClr val="dk1"/>
            </a:fontRef>
          </p:style>
          <p:txBody>
            <a:bodyPr anchor="ctr"/>
            <a:lstStyle>
              <a:lvl1pPr>
                <a:defRPr>
                  <a:solidFill>
                    <a:schemeClr val="tx1"/>
                  </a:solidFill>
                  <a:latin typeface="Corbel" panose="020B0503020204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orbel" panose="020B0503020204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orbel" panose="020B0503020204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orbel" panose="020B0503020204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orbel" panose="020B0503020204020204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orbel" panose="020B0503020204020204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orbel" panose="020B0503020204020204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orbel" panose="020B0503020204020204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orbel" panose="020B0503020204020204" pitchFamily="34" charset="0"/>
                </a:defRPr>
              </a:lvl9pPr>
            </a:lstStyle>
            <a:p>
              <a:pPr algn="ctr" eaLnBrk="1" hangingPunct="1"/>
              <a:endParaRPr lang="en-US" altLang="en-US" sz="1800">
                <a:solidFill>
                  <a:srgbClr val="000000"/>
                </a:solidFill>
              </a:endParaRPr>
            </a:p>
          </p:txBody>
        </p:sp>
        <p:sp>
          <p:nvSpPr>
            <p:cNvPr id="84" name="Oval 83"/>
            <p:cNvSpPr/>
            <p:nvPr/>
          </p:nvSpPr>
          <p:spPr>
            <a:xfrm>
              <a:off x="914400" y="4937371"/>
              <a:ext cx="136525" cy="138069"/>
            </a:xfrm>
            <a:prstGeom prst="ellipse">
              <a:avLst/>
            </a:prstGeom>
          </p:spPr>
          <p:style>
            <a:lnRef idx="1">
              <a:schemeClr val="accent2"/>
            </a:lnRef>
            <a:fillRef idx="2">
              <a:schemeClr val="accent2"/>
            </a:fillRef>
            <a:effectRef idx="1">
              <a:schemeClr val="accent2"/>
            </a:effectRef>
            <a:fontRef idx="minor">
              <a:schemeClr val="dk1"/>
            </a:fontRef>
          </p:style>
          <p:txBody>
            <a:bodyPr anchor="ctr"/>
            <a:lstStyle>
              <a:lvl1pPr>
                <a:defRPr>
                  <a:solidFill>
                    <a:schemeClr val="tx1"/>
                  </a:solidFill>
                  <a:latin typeface="Corbel" panose="020B0503020204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orbel" panose="020B0503020204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orbel" panose="020B0503020204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orbel" panose="020B0503020204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orbel" panose="020B0503020204020204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orbel" panose="020B0503020204020204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orbel" panose="020B0503020204020204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orbel" panose="020B0503020204020204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orbel" panose="020B0503020204020204" pitchFamily="34" charset="0"/>
                </a:defRPr>
              </a:lvl9pPr>
            </a:lstStyle>
            <a:p>
              <a:pPr algn="ctr" eaLnBrk="1" hangingPunct="1"/>
              <a:endParaRPr lang="en-US" altLang="en-US" sz="1800">
                <a:solidFill>
                  <a:srgbClr val="000000"/>
                </a:solidFill>
              </a:endParaRPr>
            </a:p>
          </p:txBody>
        </p:sp>
        <p:sp>
          <p:nvSpPr>
            <p:cNvPr id="85" name="Rectangle 84"/>
            <p:cNvSpPr/>
            <p:nvPr/>
          </p:nvSpPr>
          <p:spPr>
            <a:xfrm>
              <a:off x="381000" y="4556491"/>
              <a:ext cx="136525" cy="136482"/>
            </a:xfrm>
            <a:prstGeom prst="rect">
              <a:avLst/>
            </a:prstGeom>
          </p:spPr>
          <p:style>
            <a:lnRef idx="1">
              <a:schemeClr val="accent6"/>
            </a:lnRef>
            <a:fillRef idx="2">
              <a:schemeClr val="accent6"/>
            </a:fillRef>
            <a:effectRef idx="1">
              <a:schemeClr val="accent6"/>
            </a:effectRef>
            <a:fontRef idx="minor">
              <a:schemeClr val="dk1"/>
            </a:fontRef>
          </p:style>
          <p:txBody>
            <a:bodyPr anchor="ctr"/>
            <a:lstStyle>
              <a:lvl1pPr>
                <a:defRPr>
                  <a:solidFill>
                    <a:schemeClr val="tx1"/>
                  </a:solidFill>
                  <a:latin typeface="Corbel" panose="020B0503020204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orbel" panose="020B0503020204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orbel" panose="020B0503020204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orbel" panose="020B0503020204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orbel" panose="020B0503020204020204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orbel" panose="020B0503020204020204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orbel" panose="020B0503020204020204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orbel" panose="020B0503020204020204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orbel" panose="020B0503020204020204" pitchFamily="34" charset="0"/>
                </a:defRPr>
              </a:lvl9pPr>
            </a:lstStyle>
            <a:p>
              <a:pPr algn="ctr" eaLnBrk="1" hangingPunct="1"/>
              <a:endParaRPr lang="en-US" altLang="en-US" sz="1800">
                <a:solidFill>
                  <a:srgbClr val="000000"/>
                </a:solidFill>
              </a:endParaRPr>
            </a:p>
          </p:txBody>
        </p:sp>
        <p:sp>
          <p:nvSpPr>
            <p:cNvPr id="86" name="Rectangle 85"/>
            <p:cNvSpPr/>
            <p:nvPr/>
          </p:nvSpPr>
          <p:spPr>
            <a:xfrm>
              <a:off x="533400" y="5470602"/>
              <a:ext cx="136525" cy="138069"/>
            </a:xfrm>
            <a:prstGeom prst="rect">
              <a:avLst/>
            </a:prstGeom>
          </p:spPr>
          <p:style>
            <a:lnRef idx="1">
              <a:schemeClr val="accent6"/>
            </a:lnRef>
            <a:fillRef idx="2">
              <a:schemeClr val="accent6"/>
            </a:fillRef>
            <a:effectRef idx="1">
              <a:schemeClr val="accent6"/>
            </a:effectRef>
            <a:fontRef idx="minor">
              <a:schemeClr val="dk1"/>
            </a:fontRef>
          </p:style>
          <p:txBody>
            <a:bodyPr anchor="ctr"/>
            <a:lstStyle>
              <a:lvl1pPr>
                <a:defRPr>
                  <a:solidFill>
                    <a:schemeClr val="tx1"/>
                  </a:solidFill>
                  <a:latin typeface="Corbel" panose="020B0503020204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orbel" panose="020B0503020204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orbel" panose="020B0503020204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orbel" panose="020B0503020204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orbel" panose="020B0503020204020204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orbel" panose="020B0503020204020204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orbel" panose="020B0503020204020204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orbel" panose="020B0503020204020204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orbel" panose="020B0503020204020204" pitchFamily="34" charset="0"/>
                </a:defRPr>
              </a:lvl9pPr>
            </a:lstStyle>
            <a:p>
              <a:pPr algn="ctr" eaLnBrk="1" hangingPunct="1"/>
              <a:endParaRPr lang="en-US" altLang="en-US" sz="1800">
                <a:solidFill>
                  <a:srgbClr val="000000"/>
                </a:solidFill>
              </a:endParaRPr>
            </a:p>
          </p:txBody>
        </p:sp>
        <p:sp>
          <p:nvSpPr>
            <p:cNvPr id="87" name="Rectangle 86"/>
            <p:cNvSpPr/>
            <p:nvPr/>
          </p:nvSpPr>
          <p:spPr>
            <a:xfrm>
              <a:off x="1219200" y="4708843"/>
              <a:ext cx="136525" cy="136482"/>
            </a:xfrm>
            <a:prstGeom prst="rect">
              <a:avLst/>
            </a:prstGeom>
          </p:spPr>
          <p:style>
            <a:lnRef idx="1">
              <a:schemeClr val="accent6"/>
            </a:lnRef>
            <a:fillRef idx="2">
              <a:schemeClr val="accent6"/>
            </a:fillRef>
            <a:effectRef idx="1">
              <a:schemeClr val="accent6"/>
            </a:effectRef>
            <a:fontRef idx="minor">
              <a:schemeClr val="dk1"/>
            </a:fontRef>
          </p:style>
          <p:txBody>
            <a:bodyPr anchor="ctr"/>
            <a:lstStyle>
              <a:lvl1pPr>
                <a:defRPr>
                  <a:solidFill>
                    <a:schemeClr val="tx1"/>
                  </a:solidFill>
                  <a:latin typeface="Corbel" panose="020B0503020204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orbel" panose="020B0503020204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orbel" panose="020B0503020204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orbel" panose="020B0503020204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orbel" panose="020B0503020204020204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orbel" panose="020B0503020204020204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orbel" panose="020B0503020204020204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orbel" panose="020B0503020204020204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orbel" panose="020B0503020204020204" pitchFamily="34" charset="0"/>
                </a:defRPr>
              </a:lvl9pPr>
            </a:lstStyle>
            <a:p>
              <a:pPr algn="ctr" eaLnBrk="1" hangingPunct="1"/>
              <a:endParaRPr lang="en-US" altLang="en-US" sz="1800">
                <a:solidFill>
                  <a:srgbClr val="000000"/>
                </a:solidFill>
              </a:endParaRPr>
            </a:p>
          </p:txBody>
        </p:sp>
        <p:sp>
          <p:nvSpPr>
            <p:cNvPr id="93" name="Oval 92"/>
            <p:cNvSpPr/>
            <p:nvPr/>
          </p:nvSpPr>
          <p:spPr>
            <a:xfrm rot="900000">
              <a:off x="450850" y="4810411"/>
              <a:ext cx="874713" cy="533232"/>
            </a:xfrm>
            <a:prstGeom prst="ellipse">
              <a:avLst/>
            </a:prstGeom>
            <a:ln w="25400">
              <a:prstDash val="sysDash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  <p:txBody>
            <a:bodyPr anchor="ctr"/>
            <a:lstStyle>
              <a:lvl1pPr>
                <a:defRPr>
                  <a:solidFill>
                    <a:schemeClr val="tx1"/>
                  </a:solidFill>
                  <a:latin typeface="Corbel" panose="020B0503020204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orbel" panose="020B0503020204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orbel" panose="020B0503020204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orbel" panose="020B0503020204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orbel" panose="020B0503020204020204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orbel" panose="020B0503020204020204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orbel" panose="020B0503020204020204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orbel" panose="020B0503020204020204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orbel" panose="020B0503020204020204" pitchFamily="34" charset="0"/>
                </a:defRPr>
              </a:lvl9pPr>
            </a:lstStyle>
            <a:p>
              <a:pPr algn="ctr" eaLnBrk="1" hangingPunct="1"/>
              <a:endParaRPr lang="en-US" altLang="en-US" sz="1800">
                <a:solidFill>
                  <a:prstClr val="black"/>
                </a:solidFill>
              </a:endParaRPr>
            </a:p>
          </p:txBody>
        </p:sp>
      </p:grpSp>
      <p:sp>
        <p:nvSpPr>
          <p:cNvPr id="30745" name="TextBox 113"/>
          <p:cNvSpPr txBox="1">
            <a:spLocks noChangeArrowheads="1"/>
          </p:cNvSpPr>
          <p:nvPr/>
        </p:nvSpPr>
        <p:spPr bwMode="auto">
          <a:xfrm>
            <a:off x="304800" y="5715000"/>
            <a:ext cx="1371600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9pPr>
          </a:lstStyle>
          <a:p>
            <a:pPr eaLnBrk="1" hangingPunct="1"/>
            <a:r>
              <a:rPr lang="en-US" altLang="en-US" sz="1400">
                <a:solidFill>
                  <a:prstClr val="black"/>
                </a:solidFill>
                <a:cs typeface="Arial" panose="020B0604020202020204" pitchFamily="34" charset="0"/>
              </a:rPr>
              <a:t>Input Space</a:t>
            </a:r>
          </a:p>
        </p:txBody>
      </p:sp>
      <p:sp>
        <p:nvSpPr>
          <p:cNvPr id="30746" name="TextBox 114"/>
          <p:cNvSpPr txBox="1">
            <a:spLocks noChangeArrowheads="1"/>
          </p:cNvSpPr>
          <p:nvPr/>
        </p:nvSpPr>
        <p:spPr bwMode="auto">
          <a:xfrm>
            <a:off x="1981200" y="5715000"/>
            <a:ext cx="1371600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9pPr>
          </a:lstStyle>
          <a:p>
            <a:pPr eaLnBrk="1" hangingPunct="1"/>
            <a:r>
              <a:rPr lang="en-US" altLang="en-US" sz="1400">
                <a:solidFill>
                  <a:prstClr val="black"/>
                </a:solidFill>
                <a:cs typeface="Arial" panose="020B0604020202020204" pitchFamily="34" charset="0"/>
              </a:rPr>
              <a:t>Feature Space</a:t>
            </a:r>
          </a:p>
        </p:txBody>
      </p:sp>
      <p:sp>
        <p:nvSpPr>
          <p:cNvPr id="116" name="Right Arrow 115"/>
          <p:cNvSpPr/>
          <p:nvPr/>
        </p:nvSpPr>
        <p:spPr>
          <a:xfrm>
            <a:off x="1409700" y="5029200"/>
            <a:ext cx="533400" cy="228600"/>
          </a:xfrm>
          <a:prstGeom prst="rightArrow">
            <a:avLst/>
          </a:prstGeom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anchor="ctr"/>
          <a:lstStyle>
            <a:lvl1pPr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9pPr>
          </a:lstStyle>
          <a:p>
            <a:pPr algn="ctr" eaLnBrk="1" hangingPunct="1"/>
            <a:endParaRPr lang="en-US" altLang="en-US" sz="1800">
              <a:solidFill>
                <a:srgbClr val="000000"/>
              </a:solidFill>
            </a:endParaRPr>
          </a:p>
        </p:txBody>
      </p:sp>
      <p:pic>
        <p:nvPicPr>
          <p:cNvPr id="30748" name="Picture 118" descr="tmp.bmp"/>
          <p:cNvPicPr>
            <a:picLocks/>
          </p:cNvPicPr>
          <p:nvPr>
            <p:custDataLst>
              <p:tags r:id="rId3"/>
            </p:custDataLst>
          </p:nvPr>
        </p:nvPicPr>
        <p:blipFill>
          <a:blip r:embed="rId8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62100" y="5270500"/>
            <a:ext cx="190500" cy="215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0749" name="Picture 126" descr="tmp.bmp"/>
          <p:cNvPicPr>
            <a:picLocks/>
          </p:cNvPicPr>
          <p:nvPr>
            <p:custDataLst>
              <p:tags r:id="rId4"/>
            </p:custDataLst>
          </p:nvPr>
        </p:nvPicPr>
        <p:blipFill>
          <a:blip r:embed="rId9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86200" y="5867400"/>
            <a:ext cx="3949700" cy="482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9340404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42" name="Title 1"/>
          <p:cNvSpPr>
            <a:spLocks noGrp="1"/>
          </p:cNvSpPr>
          <p:nvPr>
            <p:ph type="title"/>
          </p:nvPr>
        </p:nvSpPr>
        <p:spPr>
          <a:xfrm>
            <a:off x="457200" y="76200"/>
            <a:ext cx="8229600" cy="868363"/>
          </a:xfrm>
        </p:spPr>
        <p:txBody>
          <a:bodyPr/>
          <a:lstStyle/>
          <a:p>
            <a:r>
              <a:rPr lang="en-US" altLang="en-US" smtClean="0"/>
              <a:t>Generalization</a:t>
            </a:r>
          </a:p>
        </p:txBody>
      </p:sp>
      <p:sp>
        <p:nvSpPr>
          <p:cNvPr id="61443" name="Content Placeholder 2"/>
          <p:cNvSpPr>
            <a:spLocks noGrp="1"/>
          </p:cNvSpPr>
          <p:nvPr>
            <p:ph idx="1"/>
          </p:nvPr>
        </p:nvSpPr>
        <p:spPr>
          <a:xfrm>
            <a:off x="381000" y="5486400"/>
            <a:ext cx="8458200" cy="914400"/>
          </a:xfrm>
        </p:spPr>
        <p:txBody>
          <a:bodyPr/>
          <a:lstStyle/>
          <a:p>
            <a:pPr eaLnBrk="1" hangingPunct="1"/>
            <a:r>
              <a:rPr lang="en-US" altLang="en-US" smtClean="0"/>
              <a:t>How well does a learned model generalize from the data it was trained on to a new test set?</a:t>
            </a:r>
          </a:p>
        </p:txBody>
      </p:sp>
      <p:pic>
        <p:nvPicPr>
          <p:cNvPr id="6144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81100" y="1066800"/>
            <a:ext cx="4229100" cy="3600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1445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10400" y="1066800"/>
            <a:ext cx="609600" cy="3619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1446" name="TextBox 6"/>
          <p:cNvSpPr txBox="1">
            <a:spLocks noChangeArrowheads="1"/>
          </p:cNvSpPr>
          <p:nvPr/>
        </p:nvSpPr>
        <p:spPr bwMode="auto">
          <a:xfrm>
            <a:off x="1828800" y="4724400"/>
            <a:ext cx="2933700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en-US" altLang="en-US" sz="1800">
                <a:solidFill>
                  <a:srgbClr val="000000"/>
                </a:solidFill>
                <a:cs typeface="Arial" panose="020B0604020202020204" pitchFamily="34" charset="0"/>
              </a:rPr>
              <a:t>Training set (labels known)</a:t>
            </a:r>
          </a:p>
        </p:txBody>
      </p:sp>
      <p:sp>
        <p:nvSpPr>
          <p:cNvPr id="61447" name="TextBox 7"/>
          <p:cNvSpPr txBox="1">
            <a:spLocks noChangeArrowheads="1"/>
          </p:cNvSpPr>
          <p:nvPr/>
        </p:nvSpPr>
        <p:spPr bwMode="auto">
          <a:xfrm>
            <a:off x="5945188" y="4724400"/>
            <a:ext cx="2665412" cy="646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n-US" altLang="en-US" sz="1800">
                <a:solidFill>
                  <a:srgbClr val="000000"/>
                </a:solidFill>
                <a:cs typeface="Arial" panose="020B0604020202020204" pitchFamily="34" charset="0"/>
              </a:rPr>
              <a:t>Test set (labels unknown)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7315200" y="6581775"/>
            <a:ext cx="1812925" cy="276225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eaLnBrk="1" hangingPunct="1">
              <a:defRPr/>
            </a:pPr>
            <a:r>
              <a:rPr lang="en-US" sz="1200" dirty="0">
                <a:solidFill>
                  <a:srgbClr val="FFFFFF">
                    <a:lumMod val="65000"/>
                  </a:srgbClr>
                </a:solidFill>
                <a:latin typeface="Arial" charset="0"/>
                <a:cs typeface="Arial" panose="020B0604020202020204" pitchFamily="34" charset="0"/>
              </a:rPr>
              <a:t>Slide credit: L. </a:t>
            </a:r>
            <a:r>
              <a:rPr lang="en-US" sz="1200" dirty="0" err="1">
                <a:solidFill>
                  <a:srgbClr val="FFFFFF">
                    <a:lumMod val="65000"/>
                  </a:srgbClr>
                </a:solidFill>
                <a:latin typeface="Arial" charset="0"/>
                <a:cs typeface="Arial" panose="020B0604020202020204" pitchFamily="34" charset="0"/>
              </a:rPr>
              <a:t>Lazebnik</a:t>
            </a:r>
            <a:endParaRPr lang="en-US" sz="1200" dirty="0">
              <a:solidFill>
                <a:srgbClr val="FFFFFF">
                  <a:lumMod val="65000"/>
                </a:srgbClr>
              </a:solidFill>
              <a:latin typeface="Arial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328274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2" name="Slide Number Placeholder 4"/>
          <p:cNvSpPr>
            <a:spLocks noGrp="1"/>
          </p:cNvSpPr>
          <p:nvPr>
            <p:ph type="sldNum" sz="quarter" idx="1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Clr>
                <a:schemeClr val="bg2"/>
              </a:buClr>
              <a:buSzPct val="75000"/>
              <a:buFont typeface="Wingdings" panose="05000000000000000000" pitchFamily="2" charset="2"/>
              <a:buChar char="n"/>
              <a:defRPr sz="2400">
                <a:solidFill>
                  <a:schemeClr val="tx1"/>
                </a:solidFill>
                <a:latin typeface="Lucida Bright" panose="02040602050505020304" pitchFamily="18" charset="0"/>
              </a:defRPr>
            </a:lvl1pPr>
            <a:lvl2pPr marL="742950" indent="-285750">
              <a:spcBef>
                <a:spcPct val="20000"/>
              </a:spcBef>
              <a:buClr>
                <a:schemeClr val="accent2"/>
              </a:buClr>
              <a:buSzPct val="80000"/>
              <a:buFont typeface="Wingdings" panose="05000000000000000000" pitchFamily="2" charset="2"/>
              <a:buChar char="¨"/>
              <a:defRPr sz="2000">
                <a:solidFill>
                  <a:schemeClr val="tx1"/>
                </a:solidFill>
                <a:latin typeface="Lucida Bright" panose="02040602050505020304" pitchFamily="18" charset="0"/>
              </a:defRPr>
            </a:lvl2pPr>
            <a:lvl3pPr marL="1143000" indent="-228600">
              <a:spcBef>
                <a:spcPct val="20000"/>
              </a:spcBef>
              <a:buClr>
                <a:schemeClr val="bg2"/>
              </a:buClr>
              <a:buSzPct val="65000"/>
              <a:buFont typeface="Wingdings" panose="05000000000000000000" pitchFamily="2" charset="2"/>
              <a:buChar char="n"/>
              <a:defRPr sz="2400">
                <a:solidFill>
                  <a:schemeClr val="tx1"/>
                </a:solidFill>
                <a:latin typeface="Lucida Bright" panose="02040602050505020304" pitchFamily="18" charset="0"/>
              </a:defRPr>
            </a:lvl3pPr>
            <a:lvl4pPr marL="1600200" indent="-228600">
              <a:spcBef>
                <a:spcPct val="20000"/>
              </a:spcBef>
              <a:buClr>
                <a:schemeClr val="accent2"/>
              </a:buClr>
              <a:buSzPct val="70000"/>
              <a:buFont typeface="Wingdings" panose="05000000000000000000" pitchFamily="2" charset="2"/>
              <a:buChar char="¨"/>
              <a:defRPr sz="2000">
                <a:solidFill>
                  <a:schemeClr val="tx1"/>
                </a:solidFill>
                <a:latin typeface="Lucida Bright" panose="02040602050505020304" pitchFamily="18" charset="0"/>
              </a:defRPr>
            </a:lvl4pPr>
            <a:lvl5pPr marL="2057400" indent="-228600">
              <a:spcBef>
                <a:spcPct val="2000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Lucida Bright" panose="02040602050505020304" pitchFamily="18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Lucida Bright" panose="02040602050505020304" pitchFamily="18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Lucida Bright" panose="02040602050505020304" pitchFamily="18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Lucida Bright" panose="02040602050505020304" pitchFamily="18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Lucida Bright" panose="02040602050505020304" pitchFamily="18" charset="0"/>
              </a:defRPr>
            </a:lvl9pPr>
          </a:lstStyle>
          <a:p>
            <a:pPr>
              <a:buClr>
                <a:schemeClr val="accent1"/>
              </a:buClr>
              <a:buSzPct val="65000"/>
            </a:pPr>
            <a:fld id="{412CC4EC-FF11-4564-BB7D-4215B44D152D}" type="slidenum">
              <a:rPr lang="tr-TR" altLang="en-US" sz="1400">
                <a:latin typeface="Arial" panose="020B0604020202020204" pitchFamily="34" charset="0"/>
              </a:rPr>
              <a:pPr>
                <a:buClr>
                  <a:schemeClr val="accent1"/>
                </a:buClr>
                <a:buSzPct val="65000"/>
              </a:pPr>
              <a:t>4</a:t>
            </a:fld>
            <a:endParaRPr lang="tr-TR" altLang="en-US" sz="1400">
              <a:latin typeface="Arial" panose="020B0604020202020204" pitchFamily="34" charset="0"/>
            </a:endParaRPr>
          </a:p>
        </p:txBody>
      </p:sp>
      <p:sp>
        <p:nvSpPr>
          <p:cNvPr id="20483" name="Rectangle 2"/>
          <p:cNvSpPr>
            <a:spLocks noGrp="1" noChangeArrowheads="1"/>
          </p:cNvSpPr>
          <p:nvPr>
            <p:ph type="title"/>
          </p:nvPr>
        </p:nvSpPr>
        <p:spPr>
          <a:xfrm>
            <a:off x="215900" y="260350"/>
            <a:ext cx="8229600" cy="776288"/>
          </a:xfrm>
        </p:spPr>
        <p:txBody>
          <a:bodyPr/>
          <a:lstStyle/>
          <a:p>
            <a:pPr eaLnBrk="1" hangingPunct="1"/>
            <a:r>
              <a:rPr lang="tr-TR" altLang="en-US" smtClean="0">
                <a:solidFill>
                  <a:schemeClr val="tx1"/>
                </a:solidFill>
              </a:rPr>
              <a:t>Why “Learn”?</a:t>
            </a:r>
          </a:p>
        </p:txBody>
      </p:sp>
      <p:sp>
        <p:nvSpPr>
          <p:cNvPr id="20484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492125" y="1232756"/>
            <a:ext cx="8229600" cy="3886200"/>
          </a:xfrm>
        </p:spPr>
        <p:txBody>
          <a:bodyPr/>
          <a:lstStyle/>
          <a:p>
            <a:pPr eaLnBrk="1" hangingPunct="1">
              <a:lnSpc>
                <a:spcPct val="90000"/>
              </a:lnSpc>
            </a:pPr>
            <a:r>
              <a:rPr lang="tr-TR" altLang="en-US" dirty="0" smtClean="0"/>
              <a:t>Machine learning is programming computers to </a:t>
            </a:r>
            <a:r>
              <a:rPr lang="tr-TR" altLang="en-US" b="1" dirty="0" smtClean="0">
                <a:solidFill>
                  <a:srgbClr val="C00000"/>
                </a:solidFill>
              </a:rPr>
              <a:t>optimize </a:t>
            </a:r>
            <a:r>
              <a:rPr lang="tr-TR" altLang="en-US" dirty="0" smtClean="0"/>
              <a:t>a performance criterion using example data </a:t>
            </a:r>
            <a:r>
              <a:rPr lang="en-US" altLang="en-US" dirty="0" smtClean="0"/>
              <a:t>which can act like</a:t>
            </a:r>
            <a:r>
              <a:rPr lang="tr-TR" altLang="en-US" dirty="0" smtClean="0"/>
              <a:t> </a:t>
            </a:r>
            <a:r>
              <a:rPr lang="tr-TR" altLang="en-US" b="1" dirty="0" smtClean="0">
                <a:solidFill>
                  <a:srgbClr val="FF0000"/>
                </a:solidFill>
              </a:rPr>
              <a:t>past experience</a:t>
            </a:r>
            <a:r>
              <a:rPr lang="tr-TR" altLang="en-US" dirty="0" smtClean="0"/>
              <a:t>.</a:t>
            </a:r>
            <a:endParaRPr lang="en-US" altLang="en-US" dirty="0" smtClean="0"/>
          </a:p>
          <a:p>
            <a:pPr marL="0" indent="0" eaLnBrk="1" hangingPunct="1">
              <a:lnSpc>
                <a:spcPct val="90000"/>
              </a:lnSpc>
              <a:buNone/>
            </a:pPr>
            <a:endParaRPr lang="tr-TR" altLang="en-US" dirty="0" smtClean="0"/>
          </a:p>
          <a:p>
            <a:pPr eaLnBrk="1" hangingPunct="1">
              <a:lnSpc>
                <a:spcPct val="90000"/>
              </a:lnSpc>
            </a:pPr>
            <a:r>
              <a:rPr lang="tr-TR" altLang="en-US" dirty="0" smtClean="0"/>
              <a:t>There is no need to “learn” to calculate payroll</a:t>
            </a:r>
            <a:endParaRPr lang="en-US" altLang="en-US" dirty="0" smtClean="0"/>
          </a:p>
          <a:p>
            <a:pPr marL="0" indent="0" eaLnBrk="1" hangingPunct="1">
              <a:lnSpc>
                <a:spcPct val="90000"/>
              </a:lnSpc>
              <a:buNone/>
            </a:pPr>
            <a:endParaRPr lang="tr-TR" altLang="en-US" dirty="0" smtClean="0"/>
          </a:p>
          <a:p>
            <a:pPr eaLnBrk="1" hangingPunct="1">
              <a:lnSpc>
                <a:spcPct val="90000"/>
              </a:lnSpc>
            </a:pPr>
            <a:r>
              <a:rPr lang="tr-TR" altLang="en-US" dirty="0" smtClean="0"/>
              <a:t>Learning is used when:</a:t>
            </a:r>
          </a:p>
          <a:p>
            <a:pPr lvl="1" eaLnBrk="1" hangingPunct="1">
              <a:lnSpc>
                <a:spcPct val="90000"/>
              </a:lnSpc>
            </a:pPr>
            <a:r>
              <a:rPr lang="tr-TR" altLang="en-US" dirty="0" smtClean="0"/>
              <a:t>Human expertise does not exist (navigating on Mars),</a:t>
            </a:r>
          </a:p>
          <a:p>
            <a:pPr lvl="1" eaLnBrk="1" hangingPunct="1">
              <a:lnSpc>
                <a:spcPct val="90000"/>
              </a:lnSpc>
            </a:pPr>
            <a:r>
              <a:rPr lang="tr-TR" altLang="en-US" dirty="0" smtClean="0"/>
              <a:t>Humans are unable to explain their expertise (speech recognition)</a:t>
            </a:r>
          </a:p>
          <a:p>
            <a:pPr lvl="1" eaLnBrk="1" hangingPunct="1">
              <a:lnSpc>
                <a:spcPct val="90000"/>
              </a:lnSpc>
            </a:pPr>
            <a:r>
              <a:rPr lang="tr-TR" altLang="en-US" dirty="0" smtClean="0"/>
              <a:t>Solution changes in time (routing on a computer network)</a:t>
            </a:r>
          </a:p>
          <a:p>
            <a:pPr lvl="1" eaLnBrk="1" hangingPunct="1">
              <a:lnSpc>
                <a:spcPct val="90000"/>
              </a:lnSpc>
            </a:pPr>
            <a:r>
              <a:rPr lang="tr-TR" altLang="en-US" dirty="0" smtClean="0"/>
              <a:t>Solution needs to be adapted to particular cases (user biometrics)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466" name="Title 4"/>
          <p:cNvSpPr>
            <a:spLocks noGrp="1"/>
          </p:cNvSpPr>
          <p:nvPr>
            <p:ph type="title"/>
          </p:nvPr>
        </p:nvSpPr>
        <p:spPr>
          <a:xfrm>
            <a:off x="457200" y="76200"/>
            <a:ext cx="8229600" cy="639763"/>
          </a:xfrm>
        </p:spPr>
        <p:txBody>
          <a:bodyPr/>
          <a:lstStyle/>
          <a:p>
            <a:pPr eaLnBrk="1" hangingPunct="1"/>
            <a:r>
              <a:rPr lang="en-US" altLang="en-US" smtClean="0"/>
              <a:t>Generalization</a:t>
            </a:r>
          </a:p>
        </p:txBody>
      </p:sp>
      <p:sp>
        <p:nvSpPr>
          <p:cNvPr id="13315" name="Content Placeholder 5"/>
          <p:cNvSpPr>
            <a:spLocks noGrp="1"/>
          </p:cNvSpPr>
          <p:nvPr>
            <p:ph idx="1"/>
          </p:nvPr>
        </p:nvSpPr>
        <p:spPr>
          <a:xfrm>
            <a:off x="457200" y="838200"/>
            <a:ext cx="8305800" cy="5287963"/>
          </a:xfrm>
        </p:spPr>
        <p:txBody>
          <a:bodyPr/>
          <a:lstStyle/>
          <a:p>
            <a:pPr eaLnBrk="1" hangingPunct="1"/>
            <a:r>
              <a:rPr lang="en-US" altLang="en-US" sz="2400" smtClean="0"/>
              <a:t>Components of generalization error </a:t>
            </a:r>
          </a:p>
          <a:p>
            <a:pPr lvl="1" eaLnBrk="1" hangingPunct="1"/>
            <a:r>
              <a:rPr lang="en-US" altLang="en-US" sz="2000" b="1" smtClean="0"/>
              <a:t>Bias:</a:t>
            </a:r>
            <a:r>
              <a:rPr lang="en-US" altLang="en-US" sz="2000" smtClean="0"/>
              <a:t> how much the average model over all training sets differ from the true model?</a:t>
            </a:r>
          </a:p>
          <a:p>
            <a:pPr lvl="2" eaLnBrk="1" hangingPunct="1"/>
            <a:r>
              <a:rPr lang="en-US" altLang="en-US" sz="2000" smtClean="0"/>
              <a:t>Error due to inaccurate assumptions/simplifications made by the model</a:t>
            </a:r>
          </a:p>
          <a:p>
            <a:pPr lvl="1" eaLnBrk="1" hangingPunct="1"/>
            <a:r>
              <a:rPr lang="en-US" altLang="en-US" sz="2000" b="1" smtClean="0"/>
              <a:t>Variance:</a:t>
            </a:r>
            <a:r>
              <a:rPr lang="en-US" altLang="en-US" sz="2000" smtClean="0"/>
              <a:t> how much models estimated from different training sets differ from each other</a:t>
            </a:r>
          </a:p>
          <a:p>
            <a:pPr eaLnBrk="1" hangingPunct="1"/>
            <a:r>
              <a:rPr lang="en-US" altLang="en-US" sz="2400" b="1" smtClean="0"/>
              <a:t>Underfitting:</a:t>
            </a:r>
            <a:r>
              <a:rPr lang="en-US" altLang="en-US" sz="2400" smtClean="0"/>
              <a:t> model is too “simple” to represent all the relevant class characteristics</a:t>
            </a:r>
          </a:p>
          <a:p>
            <a:pPr lvl="1" eaLnBrk="1" hangingPunct="1"/>
            <a:r>
              <a:rPr lang="en-US" altLang="en-US" sz="2000" smtClean="0"/>
              <a:t>High bias and low variance</a:t>
            </a:r>
          </a:p>
          <a:p>
            <a:pPr lvl="1" eaLnBrk="1" hangingPunct="1"/>
            <a:r>
              <a:rPr lang="en-US" altLang="en-US" sz="2000" smtClean="0"/>
              <a:t>High training error and high test error</a:t>
            </a:r>
          </a:p>
          <a:p>
            <a:pPr eaLnBrk="1" hangingPunct="1"/>
            <a:r>
              <a:rPr lang="en-US" altLang="en-US" sz="2400" b="1" smtClean="0"/>
              <a:t>Overfitting:</a:t>
            </a:r>
            <a:r>
              <a:rPr lang="en-US" altLang="en-US" sz="2400" smtClean="0"/>
              <a:t> model is too “complex” and fits irrelevant characteristics (noise) in the data</a:t>
            </a:r>
          </a:p>
          <a:p>
            <a:pPr lvl="1" eaLnBrk="1" hangingPunct="1"/>
            <a:r>
              <a:rPr lang="en-US" altLang="en-US" sz="2000" smtClean="0"/>
              <a:t>Low bias and high variance</a:t>
            </a:r>
          </a:p>
          <a:p>
            <a:pPr lvl="1" eaLnBrk="1" hangingPunct="1"/>
            <a:r>
              <a:rPr lang="en-US" altLang="en-US" sz="2000" smtClean="0"/>
              <a:t>Low training error and high test error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7315200" y="6581775"/>
            <a:ext cx="1812925" cy="276225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eaLnBrk="1" hangingPunct="1">
              <a:defRPr/>
            </a:pPr>
            <a:r>
              <a:rPr lang="en-US" sz="1200" dirty="0">
                <a:solidFill>
                  <a:srgbClr val="FFFFFF">
                    <a:lumMod val="65000"/>
                  </a:srgbClr>
                </a:solidFill>
                <a:latin typeface="Arial" charset="0"/>
                <a:cs typeface="Arial" panose="020B0604020202020204" pitchFamily="34" charset="0"/>
              </a:rPr>
              <a:t>Slide credit: L. </a:t>
            </a:r>
            <a:r>
              <a:rPr lang="en-US" sz="1200" dirty="0" err="1">
                <a:solidFill>
                  <a:srgbClr val="FFFFFF">
                    <a:lumMod val="65000"/>
                  </a:srgbClr>
                </a:solidFill>
                <a:latin typeface="Arial" charset="0"/>
                <a:cs typeface="Arial" panose="020B0604020202020204" pitchFamily="34" charset="0"/>
              </a:rPr>
              <a:t>Lazebnik</a:t>
            </a:r>
            <a:endParaRPr lang="en-US" sz="1200" dirty="0">
              <a:solidFill>
                <a:srgbClr val="FFFFFF">
                  <a:lumMod val="65000"/>
                </a:srgbClr>
              </a:solidFill>
              <a:latin typeface="Arial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136333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3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 nodeType="clickPar">
                      <p:stCondLst>
                        <p:cond delay="indefinite"/>
                      </p:stCondLst>
                      <p:childTnLst>
                        <p:par>
                          <p:cTn id="8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31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 nodeType="clickPar">
                      <p:stCondLst>
                        <p:cond delay="indefinite"/>
                      </p:stCondLst>
                      <p:childTnLst>
                        <p:par>
                          <p:cTn id="12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31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 nodeType="clickPar">
                      <p:stCondLst>
                        <p:cond delay="indefinite"/>
                      </p:stCondLst>
                      <p:childTnLst>
                        <p:par>
                          <p:cTn id="16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31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 nodeType="clickPar">
                      <p:stCondLst>
                        <p:cond delay="indefinite"/>
                      </p:stCondLst>
                      <p:childTnLst>
                        <p:par>
                          <p:cTn id="20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31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 nodeType="clickPar">
                      <p:stCondLst>
                        <p:cond delay="indefinite"/>
                      </p:stCondLst>
                      <p:childTnLst>
                        <p:par>
                          <p:cTn id="2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31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 nodeType="clickPar">
                      <p:stCondLst>
                        <p:cond delay="indefinite"/>
                      </p:stCondLst>
                      <p:childTnLst>
                        <p:par>
                          <p:cTn id="28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31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 nodeType="clickPar">
                      <p:stCondLst>
                        <p:cond delay="indefinite"/>
                      </p:stCondLst>
                      <p:childTnLst>
                        <p:par>
                          <p:cTn id="32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315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 nodeType="clickPar">
                      <p:stCondLst>
                        <p:cond delay="indefinite"/>
                      </p:stCondLst>
                      <p:childTnLst>
                        <p:par>
                          <p:cTn id="36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315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 nodeType="clickPar">
                      <p:stCondLst>
                        <p:cond delay="indefinite"/>
                      </p:stCondLst>
                      <p:childTnLst>
                        <p:par>
                          <p:cTn id="40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315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315" grpId="0" build="p"/>
    </p:bld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514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en-US" smtClean="0"/>
              <a:t>Bias-Variance Trade-off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191000" y="1524000"/>
            <a:ext cx="4572000" cy="4495800"/>
          </a:xfrm>
        </p:spPr>
        <p:txBody>
          <a:bodyPr>
            <a:normAutofit fontScale="92500" lnSpcReduction="20000"/>
          </a:bodyPr>
          <a:lstStyle/>
          <a:p>
            <a:pPr>
              <a:buFont typeface="Arial" charset="0"/>
              <a:buChar char="•"/>
              <a:defRPr/>
            </a:pPr>
            <a:r>
              <a:rPr lang="en-US" dirty="0" smtClean="0"/>
              <a:t>Models with too few parameters are inaccurate because of a large bias (not enough flexibility).</a:t>
            </a:r>
          </a:p>
          <a:p>
            <a:pPr>
              <a:buFont typeface="Arial" charset="0"/>
              <a:buChar char="•"/>
              <a:defRPr/>
            </a:pPr>
            <a:endParaRPr lang="en-US" dirty="0" smtClean="0"/>
          </a:p>
          <a:p>
            <a:pPr>
              <a:buFont typeface="Arial" charset="0"/>
              <a:buChar char="•"/>
              <a:defRPr/>
            </a:pPr>
            <a:r>
              <a:rPr lang="en-US" dirty="0" smtClean="0"/>
              <a:t>Models with too many parameters are inaccurate because of a large variance (too much sensitivity to the sample).</a:t>
            </a:r>
          </a:p>
        </p:txBody>
      </p:sp>
      <p:pic>
        <p:nvPicPr>
          <p:cNvPr id="64516" name="Picture 2" descr="C:\Users\hays\Desktop\143 Computer Vision\slides\09\bias_variance_bias_2.gif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7200" y="1485900"/>
            <a:ext cx="3571875" cy="2179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4517" name="Picture 3" descr="C:\Users\hays\Desktop\143 Computer Vision\slides\09\bias_variance_var_2.gif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7200" y="3840163"/>
            <a:ext cx="3571875" cy="21796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extBox 5"/>
          <p:cNvSpPr txBox="1"/>
          <p:nvPr/>
        </p:nvSpPr>
        <p:spPr>
          <a:xfrm>
            <a:off x="7315200" y="6581775"/>
            <a:ext cx="1668463" cy="276225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eaLnBrk="1" hangingPunct="1">
              <a:defRPr/>
            </a:pPr>
            <a:r>
              <a:rPr lang="en-US" sz="1200" dirty="0">
                <a:solidFill>
                  <a:prstClr val="white">
                    <a:lumMod val="65000"/>
                  </a:prstClr>
                </a:solidFill>
                <a:latin typeface="Arial" charset="0"/>
                <a:cs typeface="Arial" panose="020B0604020202020204" pitchFamily="34" charset="0"/>
              </a:rPr>
              <a:t>Slide credit: D. </a:t>
            </a:r>
            <a:r>
              <a:rPr lang="en-US" sz="1200" dirty="0" err="1">
                <a:solidFill>
                  <a:prstClr val="white">
                    <a:lumMod val="65000"/>
                  </a:prstClr>
                </a:solidFill>
                <a:latin typeface="Arial" charset="0"/>
                <a:cs typeface="Arial" panose="020B0604020202020204" pitchFamily="34" charset="0"/>
              </a:rPr>
              <a:t>Hoiem</a:t>
            </a:r>
            <a:endParaRPr lang="en-US" sz="1200" dirty="0">
              <a:solidFill>
                <a:prstClr val="white">
                  <a:lumMod val="65000"/>
                </a:prstClr>
              </a:solidFill>
              <a:latin typeface="Arial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499247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8098" name="Rectangle 2"/>
          <p:cNvSpPr>
            <a:spLocks noGrp="1" noChangeArrowheads="1"/>
          </p:cNvSpPr>
          <p:nvPr>
            <p:ph type="title"/>
          </p:nvPr>
        </p:nvSpPr>
        <p:spPr>
          <a:xfrm>
            <a:off x="1485900" y="68909"/>
            <a:ext cx="6172200" cy="628650"/>
          </a:xfrm>
        </p:spPr>
        <p:txBody>
          <a:bodyPr/>
          <a:lstStyle/>
          <a:p>
            <a:r>
              <a:rPr lang="en-US" altLang="zh-CN" sz="3000" b="1" dirty="0" smtClean="0">
                <a:solidFill>
                  <a:srgbClr val="0000FF"/>
                </a:solidFill>
                <a:latin typeface="Times New Roman" panose="02020603050405020304" pitchFamily="18" charset="0"/>
              </a:rPr>
              <a:t>Towards Ensemble Classifiers…</a:t>
            </a:r>
            <a:endParaRPr lang="en-US" altLang="zh-CN" sz="3000" b="1" dirty="0">
              <a:solidFill>
                <a:srgbClr val="0000FF"/>
              </a:solidFill>
              <a:latin typeface="Times New Roman" panose="02020603050405020304" pitchFamily="18" charset="0"/>
            </a:endParaRPr>
          </a:p>
        </p:txBody>
      </p:sp>
      <p:grpSp>
        <p:nvGrpSpPr>
          <p:cNvPr id="388101" name="Group 5"/>
          <p:cNvGrpSpPr>
            <a:grpSpLocks/>
          </p:cNvGrpSpPr>
          <p:nvPr/>
        </p:nvGrpSpPr>
        <p:grpSpPr bwMode="auto">
          <a:xfrm>
            <a:off x="715875" y="840220"/>
            <a:ext cx="7653846" cy="4900577"/>
            <a:chOff x="2971" y="2160"/>
            <a:chExt cx="4649" cy="2886"/>
          </a:xfrm>
        </p:grpSpPr>
        <p:grpSp>
          <p:nvGrpSpPr>
            <p:cNvPr id="388102" name="Group 6"/>
            <p:cNvGrpSpPr>
              <a:grpSpLocks/>
            </p:cNvGrpSpPr>
            <p:nvPr/>
          </p:nvGrpSpPr>
          <p:grpSpPr bwMode="auto">
            <a:xfrm>
              <a:off x="2971" y="2160"/>
              <a:ext cx="4649" cy="2886"/>
              <a:chOff x="521" y="890"/>
              <a:chExt cx="4649" cy="2886"/>
            </a:xfrm>
          </p:grpSpPr>
          <p:pic>
            <p:nvPicPr>
              <p:cNvPr id="388103" name="Picture 7"/>
              <p:cNvPicPr>
                <a:picLocks noChangeAspect="1" noChangeArrowheads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521" y="890"/>
                <a:ext cx="4649" cy="2886"/>
              </a:xfrm>
              <a:prstGeom prst="rect">
                <a:avLst/>
              </a:prstGeom>
              <a:noFill/>
              <a:ln w="9525">
                <a:solidFill>
                  <a:srgbClr val="0000FF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388104" name="Text Box 8"/>
              <p:cNvSpPr txBox="1">
                <a:spLocks noChangeArrowheads="1"/>
              </p:cNvSpPr>
              <p:nvPr/>
            </p:nvSpPr>
            <p:spPr bwMode="auto">
              <a:xfrm>
                <a:off x="612" y="1888"/>
                <a:ext cx="672" cy="252"/>
              </a:xfrm>
              <a:prstGeom prst="rect">
                <a:avLst/>
              </a:prstGeom>
              <a:solidFill>
                <a:schemeClr val="bg1"/>
              </a:solidFill>
              <a:ln w="9525">
                <a:solidFill>
                  <a:srgbClr val="FFCC00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>
                <a:spAutoFit/>
              </a:bodyPr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altLang="en-US" sz="1350">
                    <a:solidFill>
                      <a:srgbClr val="000000"/>
                    </a:solidFill>
                    <a:cs typeface="Times New Roman" panose="02020603050405020304" pitchFamily="18" charset="0"/>
                  </a:rPr>
                  <a:t>Model 1</a:t>
                </a:r>
              </a:p>
            </p:txBody>
          </p:sp>
          <p:sp>
            <p:nvSpPr>
              <p:cNvPr id="388105" name="Text Box 9"/>
              <p:cNvSpPr txBox="1">
                <a:spLocks noChangeArrowheads="1"/>
              </p:cNvSpPr>
              <p:nvPr/>
            </p:nvSpPr>
            <p:spPr bwMode="auto">
              <a:xfrm>
                <a:off x="1292" y="2115"/>
                <a:ext cx="672" cy="252"/>
              </a:xfrm>
              <a:prstGeom prst="rect">
                <a:avLst/>
              </a:prstGeom>
              <a:solidFill>
                <a:schemeClr val="bg1"/>
              </a:solidFill>
              <a:ln w="9525">
                <a:solidFill>
                  <a:srgbClr val="CCFFCC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>
                <a:spAutoFit/>
              </a:bodyPr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altLang="en-US" sz="1350">
                    <a:solidFill>
                      <a:srgbClr val="000000"/>
                    </a:solidFill>
                    <a:cs typeface="Times New Roman" panose="02020603050405020304" pitchFamily="18" charset="0"/>
                  </a:rPr>
                  <a:t>Model 2</a:t>
                </a:r>
              </a:p>
            </p:txBody>
          </p:sp>
          <p:sp>
            <p:nvSpPr>
              <p:cNvPr id="388106" name="Text Box 10"/>
              <p:cNvSpPr txBox="1">
                <a:spLocks noChangeArrowheads="1"/>
              </p:cNvSpPr>
              <p:nvPr/>
            </p:nvSpPr>
            <p:spPr bwMode="auto">
              <a:xfrm>
                <a:off x="1837" y="1933"/>
                <a:ext cx="672" cy="252"/>
              </a:xfrm>
              <a:prstGeom prst="rect">
                <a:avLst/>
              </a:prstGeom>
              <a:solidFill>
                <a:schemeClr val="bg1"/>
              </a:solidFill>
              <a:ln w="9525">
                <a:solidFill>
                  <a:srgbClr val="FF00FF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>
                <a:spAutoFit/>
              </a:bodyPr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altLang="en-US" sz="1350" dirty="0">
                    <a:solidFill>
                      <a:srgbClr val="000000"/>
                    </a:solidFill>
                    <a:cs typeface="Times New Roman" panose="02020603050405020304" pitchFamily="18" charset="0"/>
                  </a:rPr>
                  <a:t>Model 3</a:t>
                </a:r>
              </a:p>
            </p:txBody>
          </p:sp>
          <p:sp>
            <p:nvSpPr>
              <p:cNvPr id="388107" name="Text Box 11"/>
              <p:cNvSpPr txBox="1">
                <a:spLocks noChangeArrowheads="1"/>
              </p:cNvSpPr>
              <p:nvPr/>
            </p:nvSpPr>
            <p:spPr bwMode="auto">
              <a:xfrm>
                <a:off x="2653" y="2160"/>
                <a:ext cx="672" cy="252"/>
              </a:xfrm>
              <a:prstGeom prst="rect">
                <a:avLst/>
              </a:prstGeom>
              <a:solidFill>
                <a:schemeClr val="bg1"/>
              </a:solidFill>
              <a:ln w="9525">
                <a:solidFill>
                  <a:srgbClr val="800080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>
                <a:spAutoFit/>
              </a:bodyPr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altLang="en-US" sz="1350">
                    <a:solidFill>
                      <a:srgbClr val="000000"/>
                    </a:solidFill>
                    <a:cs typeface="Times New Roman" panose="02020603050405020304" pitchFamily="18" charset="0"/>
                  </a:rPr>
                  <a:t>Model 4</a:t>
                </a:r>
              </a:p>
            </p:txBody>
          </p:sp>
          <p:sp>
            <p:nvSpPr>
              <p:cNvPr id="388108" name="Text Box 12"/>
              <p:cNvSpPr txBox="1">
                <a:spLocks noChangeArrowheads="1"/>
              </p:cNvSpPr>
              <p:nvPr/>
            </p:nvSpPr>
            <p:spPr bwMode="auto">
              <a:xfrm>
                <a:off x="3334" y="1979"/>
                <a:ext cx="672" cy="252"/>
              </a:xfrm>
              <a:prstGeom prst="rect">
                <a:avLst/>
              </a:prstGeom>
              <a:solidFill>
                <a:schemeClr val="bg1"/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>
                <a:spAutoFit/>
              </a:bodyPr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altLang="en-US" sz="1350">
                    <a:solidFill>
                      <a:srgbClr val="000000"/>
                    </a:solidFill>
                    <a:cs typeface="Times New Roman" panose="02020603050405020304" pitchFamily="18" charset="0"/>
                  </a:rPr>
                  <a:t>Model 5</a:t>
                </a:r>
              </a:p>
            </p:txBody>
          </p:sp>
          <p:sp>
            <p:nvSpPr>
              <p:cNvPr id="388109" name="Text Box 13"/>
              <p:cNvSpPr txBox="1">
                <a:spLocks noChangeArrowheads="1"/>
              </p:cNvSpPr>
              <p:nvPr/>
            </p:nvSpPr>
            <p:spPr bwMode="auto">
              <a:xfrm>
                <a:off x="4468" y="1842"/>
                <a:ext cx="672" cy="252"/>
              </a:xfrm>
              <a:prstGeom prst="rect">
                <a:avLst/>
              </a:prstGeom>
              <a:solidFill>
                <a:schemeClr val="bg1"/>
              </a:solidFill>
              <a:ln w="9525">
                <a:solidFill>
                  <a:srgbClr val="008080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>
                <a:spAutoFit/>
              </a:bodyPr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altLang="en-US" sz="1350">
                    <a:solidFill>
                      <a:srgbClr val="000000"/>
                    </a:solidFill>
                    <a:cs typeface="Times New Roman" panose="02020603050405020304" pitchFamily="18" charset="0"/>
                  </a:rPr>
                  <a:t>Model 6</a:t>
                </a:r>
              </a:p>
            </p:txBody>
          </p:sp>
        </p:grpSp>
        <p:sp>
          <p:nvSpPr>
            <p:cNvPr id="388110" name="Text Box 14"/>
            <p:cNvSpPr txBox="1">
              <a:spLocks noChangeArrowheads="1"/>
            </p:cNvSpPr>
            <p:nvPr/>
          </p:nvSpPr>
          <p:spPr bwMode="auto">
            <a:xfrm>
              <a:off x="4649" y="2659"/>
              <a:ext cx="1900" cy="252"/>
            </a:xfrm>
            <a:prstGeom prst="rect">
              <a:avLst/>
            </a:prstGeom>
            <a:solidFill>
              <a:schemeClr val="bg1"/>
            </a:solidFill>
            <a:ln w="15875">
              <a:solidFill>
                <a:srgbClr val="0000FF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>
              <a:spAutoFit/>
            </a:bodyPr>
            <a:lstStyle/>
            <a:p>
              <a:pPr defTabSz="685800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altLang="en-US" sz="1350">
                  <a:solidFill>
                    <a:srgbClr val="000000"/>
                  </a:solidFill>
                  <a:cs typeface="Times New Roman" panose="02020603050405020304" pitchFamily="18" charset="0"/>
                </a:rPr>
                <a:t>Some unknown distribution</a:t>
              </a:r>
            </a:p>
          </p:txBody>
        </p:sp>
      </p:grpSp>
      <p:sp>
        <p:nvSpPr>
          <p:cNvPr id="388111" name="Text Box 15"/>
          <p:cNvSpPr txBox="1">
            <a:spLocks noChangeArrowheads="1"/>
          </p:cNvSpPr>
          <p:nvPr/>
        </p:nvSpPr>
        <p:spPr bwMode="auto">
          <a:xfrm>
            <a:off x="2213185" y="6071027"/>
            <a:ext cx="4972050" cy="41549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 algn="ctr" defTabSz="685800" fontAlgn="base">
              <a:spcBef>
                <a:spcPct val="50000"/>
              </a:spcBef>
              <a:spcAft>
                <a:spcPct val="0"/>
              </a:spcAft>
            </a:pPr>
            <a:r>
              <a:rPr lang="en-US" altLang="en-US" sz="2100" b="1" dirty="0">
                <a:solidFill>
                  <a:srgbClr val="FF0000"/>
                </a:solidFill>
                <a:latin typeface="Comic Sans MS" panose="030F0702030302020204" pitchFamily="66" charset="0"/>
              </a:rPr>
              <a:t>Ensemble gives the global picture!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4250816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81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88111" grpId="0"/>
    </p:bld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Slide Number Placeholder 30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5898FDC-802A-4C30-A34A-7DB38F9EE662}" type="slidenum">
              <a:rPr lang="en-US" altLang="zh-CN">
                <a:solidFill>
                  <a:srgbClr val="000000"/>
                </a:solidFill>
              </a:rPr>
              <a:pPr/>
              <a:t>43</a:t>
            </a:fld>
            <a:endParaRPr lang="en-US" altLang="zh-CN">
              <a:solidFill>
                <a:srgbClr val="000000"/>
              </a:solidFill>
            </a:endParaRPr>
          </a:p>
        </p:txBody>
      </p:sp>
      <p:sp>
        <p:nvSpPr>
          <p:cNvPr id="449538" name="Rectangle 2"/>
          <p:cNvSpPr>
            <a:spLocks noGrp="1" noChangeArrowheads="1"/>
          </p:cNvSpPr>
          <p:nvPr>
            <p:ph type="title"/>
          </p:nvPr>
        </p:nvSpPr>
        <p:spPr>
          <a:xfrm>
            <a:off x="1600201" y="285750"/>
            <a:ext cx="6172200" cy="628650"/>
          </a:xfrm>
        </p:spPr>
        <p:txBody>
          <a:bodyPr/>
          <a:lstStyle/>
          <a:p>
            <a:r>
              <a:rPr lang="en-US" altLang="zh-CN" sz="2400" b="1" dirty="0">
                <a:solidFill>
                  <a:srgbClr val="0000FF"/>
                </a:solidFill>
                <a:latin typeface="Times New Roman" panose="02020603050405020304" pitchFamily="18" charset="0"/>
              </a:rPr>
              <a:t>Ensemble of Classifiers—Learn to Combine</a:t>
            </a:r>
          </a:p>
        </p:txBody>
      </p:sp>
      <p:sp>
        <p:nvSpPr>
          <p:cNvPr id="449539" name="AutoShape 3"/>
          <p:cNvSpPr>
            <a:spLocks noChangeArrowheads="1"/>
          </p:cNvSpPr>
          <p:nvPr/>
        </p:nvSpPr>
        <p:spPr bwMode="auto">
          <a:xfrm>
            <a:off x="1485900" y="2800350"/>
            <a:ext cx="1257300" cy="571500"/>
          </a:xfrm>
          <a:prstGeom prst="flowChartOnlineStorage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 defTabSz="685800" fontAlgn="base">
              <a:spcBef>
                <a:spcPct val="0"/>
              </a:spcBef>
              <a:spcAft>
                <a:spcPct val="0"/>
              </a:spcAft>
            </a:pPr>
            <a:r>
              <a:rPr lang="en-US" altLang="en-US" sz="1350">
                <a:solidFill>
                  <a:srgbClr val="000000"/>
                </a:solidFill>
              </a:rPr>
              <a:t>labeled </a:t>
            </a:r>
          </a:p>
          <a:p>
            <a:pPr algn="ctr" defTabSz="685800" fontAlgn="base">
              <a:spcBef>
                <a:spcPct val="0"/>
              </a:spcBef>
              <a:spcAft>
                <a:spcPct val="0"/>
              </a:spcAft>
            </a:pPr>
            <a:r>
              <a:rPr lang="en-US" altLang="en-US" sz="1350">
                <a:solidFill>
                  <a:srgbClr val="000000"/>
                </a:solidFill>
              </a:rPr>
              <a:t>data</a:t>
            </a:r>
          </a:p>
        </p:txBody>
      </p:sp>
      <p:sp>
        <p:nvSpPr>
          <p:cNvPr id="449540" name="AutoShape 4"/>
          <p:cNvSpPr>
            <a:spLocks noChangeArrowheads="1"/>
          </p:cNvSpPr>
          <p:nvPr/>
        </p:nvSpPr>
        <p:spPr bwMode="auto">
          <a:xfrm>
            <a:off x="5715000" y="2743200"/>
            <a:ext cx="1257300" cy="571500"/>
          </a:xfrm>
          <a:prstGeom prst="flowChartOnlineStorage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 defTabSz="685800" fontAlgn="base">
              <a:spcBef>
                <a:spcPct val="0"/>
              </a:spcBef>
              <a:spcAft>
                <a:spcPct val="0"/>
              </a:spcAft>
            </a:pPr>
            <a:r>
              <a:rPr lang="en-US" altLang="en-US" sz="1350">
                <a:solidFill>
                  <a:srgbClr val="000000"/>
                </a:solidFill>
              </a:rPr>
              <a:t>unlabeled </a:t>
            </a:r>
          </a:p>
          <a:p>
            <a:pPr algn="ctr" defTabSz="685800" fontAlgn="base">
              <a:spcBef>
                <a:spcPct val="0"/>
              </a:spcBef>
              <a:spcAft>
                <a:spcPct val="0"/>
              </a:spcAft>
            </a:pPr>
            <a:r>
              <a:rPr lang="en-US" altLang="en-US" sz="1350">
                <a:solidFill>
                  <a:srgbClr val="000000"/>
                </a:solidFill>
              </a:rPr>
              <a:t>data</a:t>
            </a:r>
          </a:p>
        </p:txBody>
      </p:sp>
      <p:pic>
        <p:nvPicPr>
          <p:cNvPr id="449541" name="Picture 5" descr="MCj02379450000[1]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57551" y="1943100"/>
            <a:ext cx="540544" cy="4476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449542" name="AutoShape 6"/>
          <p:cNvCxnSpPr>
            <a:cxnSpLocks noChangeShapeType="1"/>
            <a:stCxn id="449539" idx="3"/>
            <a:endCxn id="449541" idx="1"/>
          </p:cNvCxnSpPr>
          <p:nvPr/>
        </p:nvCxnSpPr>
        <p:spPr bwMode="auto">
          <a:xfrm flipV="1">
            <a:off x="2533650" y="2166937"/>
            <a:ext cx="723900" cy="919163"/>
          </a:xfrm>
          <a:prstGeom prst="straightConnector1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pic>
        <p:nvPicPr>
          <p:cNvPr id="449543" name="Picture 7" descr="MCj02379450000[1]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57551" y="2695575"/>
            <a:ext cx="540544" cy="4476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49544" name="Picture 8" descr="MCj02379450000[1]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14701" y="4229100"/>
            <a:ext cx="540544" cy="4476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49545" name="Picture 9" descr="MCj03107460000[1]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86300" y="2686050"/>
            <a:ext cx="467916" cy="6869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449546" name="AutoShape 10"/>
          <p:cNvCxnSpPr>
            <a:cxnSpLocks noChangeShapeType="1"/>
            <a:stCxn id="449539" idx="3"/>
            <a:endCxn id="449543" idx="1"/>
          </p:cNvCxnSpPr>
          <p:nvPr/>
        </p:nvCxnSpPr>
        <p:spPr bwMode="auto">
          <a:xfrm flipV="1">
            <a:off x="2533650" y="2919412"/>
            <a:ext cx="723900" cy="166688"/>
          </a:xfrm>
          <a:prstGeom prst="straightConnector1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449547" name="Text Box 11"/>
          <p:cNvSpPr txBox="1">
            <a:spLocks noChangeArrowheads="1"/>
          </p:cNvSpPr>
          <p:nvPr/>
        </p:nvSpPr>
        <p:spPr bwMode="auto">
          <a:xfrm>
            <a:off x="3200400" y="3486151"/>
            <a:ext cx="628650" cy="30008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 algn="ctr" defTabSz="685800" fontAlgn="base">
              <a:spcBef>
                <a:spcPct val="50000"/>
              </a:spcBef>
              <a:spcAft>
                <a:spcPct val="0"/>
              </a:spcAft>
            </a:pPr>
            <a:r>
              <a:rPr lang="en-US" altLang="en-US" sz="1350">
                <a:solidFill>
                  <a:srgbClr val="000000"/>
                </a:solidFill>
              </a:rPr>
              <a:t>……</a:t>
            </a:r>
          </a:p>
        </p:txBody>
      </p:sp>
      <p:cxnSp>
        <p:nvCxnSpPr>
          <p:cNvPr id="449548" name="AutoShape 12"/>
          <p:cNvCxnSpPr>
            <a:cxnSpLocks noChangeShapeType="1"/>
            <a:stCxn id="449539" idx="3"/>
            <a:endCxn id="449547" idx="1"/>
          </p:cNvCxnSpPr>
          <p:nvPr/>
        </p:nvCxnSpPr>
        <p:spPr bwMode="auto">
          <a:xfrm>
            <a:off x="2533650" y="3086100"/>
            <a:ext cx="666750" cy="550092"/>
          </a:xfrm>
          <a:prstGeom prst="straightConnector1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449549" name="AutoShape 13"/>
          <p:cNvCxnSpPr>
            <a:cxnSpLocks noChangeShapeType="1"/>
            <a:stCxn id="449539" idx="3"/>
            <a:endCxn id="449544" idx="1"/>
          </p:cNvCxnSpPr>
          <p:nvPr/>
        </p:nvCxnSpPr>
        <p:spPr bwMode="auto">
          <a:xfrm>
            <a:off x="2533650" y="3086100"/>
            <a:ext cx="781050" cy="1366838"/>
          </a:xfrm>
          <a:prstGeom prst="straightConnector1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449550" name="AutoShape 14"/>
          <p:cNvCxnSpPr>
            <a:cxnSpLocks noChangeShapeType="1"/>
            <a:stCxn id="449541" idx="3"/>
            <a:endCxn id="449545" idx="1"/>
          </p:cNvCxnSpPr>
          <p:nvPr/>
        </p:nvCxnSpPr>
        <p:spPr bwMode="auto">
          <a:xfrm>
            <a:off x="3798095" y="2166937"/>
            <a:ext cx="888206" cy="863204"/>
          </a:xfrm>
          <a:prstGeom prst="straightConnector1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449551" name="AutoShape 15"/>
          <p:cNvCxnSpPr>
            <a:cxnSpLocks noChangeShapeType="1"/>
            <a:stCxn id="449543" idx="3"/>
            <a:endCxn id="449545" idx="1"/>
          </p:cNvCxnSpPr>
          <p:nvPr/>
        </p:nvCxnSpPr>
        <p:spPr bwMode="auto">
          <a:xfrm>
            <a:off x="3798095" y="2919412"/>
            <a:ext cx="888206" cy="110729"/>
          </a:xfrm>
          <a:prstGeom prst="straightConnector1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449552" name="AutoShape 16"/>
          <p:cNvCxnSpPr>
            <a:cxnSpLocks noChangeShapeType="1"/>
            <a:stCxn id="449547" idx="3"/>
            <a:endCxn id="449545" idx="1"/>
          </p:cNvCxnSpPr>
          <p:nvPr/>
        </p:nvCxnSpPr>
        <p:spPr bwMode="auto">
          <a:xfrm flipV="1">
            <a:off x="3829050" y="3029546"/>
            <a:ext cx="857250" cy="606646"/>
          </a:xfrm>
          <a:prstGeom prst="straightConnector1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449553" name="AutoShape 17"/>
          <p:cNvCxnSpPr>
            <a:cxnSpLocks noChangeShapeType="1"/>
            <a:stCxn id="449544" idx="3"/>
            <a:endCxn id="449545" idx="1"/>
          </p:cNvCxnSpPr>
          <p:nvPr/>
        </p:nvCxnSpPr>
        <p:spPr bwMode="auto">
          <a:xfrm flipV="1">
            <a:off x="3855245" y="3030141"/>
            <a:ext cx="831056" cy="1422797"/>
          </a:xfrm>
          <a:prstGeom prst="straightConnector1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449554" name="AutoShape 18"/>
          <p:cNvCxnSpPr>
            <a:cxnSpLocks noChangeShapeType="1"/>
            <a:stCxn id="449545" idx="3"/>
            <a:endCxn id="449540" idx="1"/>
          </p:cNvCxnSpPr>
          <p:nvPr/>
        </p:nvCxnSpPr>
        <p:spPr bwMode="auto">
          <a:xfrm flipV="1">
            <a:off x="5154216" y="3028950"/>
            <a:ext cx="560784" cy="1191"/>
          </a:xfrm>
          <a:prstGeom prst="straightConnector1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449555" name="Text Box 19"/>
          <p:cNvSpPr txBox="1">
            <a:spLocks noChangeArrowheads="1"/>
          </p:cNvSpPr>
          <p:nvPr/>
        </p:nvSpPr>
        <p:spPr bwMode="auto">
          <a:xfrm>
            <a:off x="5829300" y="4114801"/>
            <a:ext cx="1028700" cy="6117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 algn="ctr" defTabSz="685800" fontAlgn="base">
              <a:spcBef>
                <a:spcPct val="50000"/>
              </a:spcBef>
              <a:spcAft>
                <a:spcPct val="0"/>
              </a:spcAft>
            </a:pPr>
            <a:r>
              <a:rPr lang="en-US" altLang="en-US" sz="1350">
                <a:solidFill>
                  <a:srgbClr val="000000"/>
                </a:solidFill>
              </a:rPr>
              <a:t>final </a:t>
            </a:r>
          </a:p>
          <a:p>
            <a:pPr algn="ctr" defTabSz="685800" fontAlgn="base">
              <a:spcBef>
                <a:spcPct val="50000"/>
              </a:spcBef>
              <a:spcAft>
                <a:spcPct val="0"/>
              </a:spcAft>
            </a:pPr>
            <a:r>
              <a:rPr lang="en-US" altLang="en-US" sz="1350">
                <a:solidFill>
                  <a:srgbClr val="000000"/>
                </a:solidFill>
              </a:rPr>
              <a:t>predictions</a:t>
            </a:r>
          </a:p>
        </p:txBody>
      </p:sp>
      <p:cxnSp>
        <p:nvCxnSpPr>
          <p:cNvPr id="449556" name="AutoShape 20"/>
          <p:cNvCxnSpPr>
            <a:cxnSpLocks noChangeShapeType="1"/>
            <a:stCxn id="449540" idx="2"/>
            <a:endCxn id="449555" idx="0"/>
          </p:cNvCxnSpPr>
          <p:nvPr/>
        </p:nvCxnSpPr>
        <p:spPr bwMode="auto">
          <a:xfrm>
            <a:off x="6343650" y="3314700"/>
            <a:ext cx="0" cy="800101"/>
          </a:xfrm>
          <a:prstGeom prst="straightConnector1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449557" name="AutoShape 21"/>
          <p:cNvCxnSpPr>
            <a:cxnSpLocks noChangeShapeType="1"/>
            <a:stCxn id="449539" idx="2"/>
            <a:endCxn id="449545" idx="2"/>
          </p:cNvCxnSpPr>
          <p:nvPr/>
        </p:nvCxnSpPr>
        <p:spPr bwMode="auto">
          <a:xfrm rot="16200000" flipH="1">
            <a:off x="3517106" y="1969294"/>
            <a:ext cx="1191" cy="2806304"/>
          </a:xfrm>
          <a:prstGeom prst="curvedConnector3">
            <a:avLst>
              <a:gd name="adj1" fmla="val 128100000"/>
            </a:avLst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449558" name="Text Box 22"/>
          <p:cNvSpPr txBox="1">
            <a:spLocks noChangeArrowheads="1"/>
          </p:cNvSpPr>
          <p:nvPr/>
        </p:nvSpPr>
        <p:spPr bwMode="auto">
          <a:xfrm>
            <a:off x="1943100" y="4857751"/>
            <a:ext cx="3543300" cy="30008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 defTabSz="685800" fontAlgn="base">
              <a:spcBef>
                <a:spcPct val="50000"/>
              </a:spcBef>
              <a:spcAft>
                <a:spcPct val="0"/>
              </a:spcAft>
            </a:pPr>
            <a:r>
              <a:rPr lang="en-US" altLang="en-US" sz="1350" dirty="0">
                <a:solidFill>
                  <a:srgbClr val="000000"/>
                </a:solidFill>
              </a:rPr>
              <a:t>learn the combination from labeled data</a:t>
            </a:r>
          </a:p>
        </p:txBody>
      </p:sp>
      <p:sp>
        <p:nvSpPr>
          <p:cNvPr id="449559" name="Line 23"/>
          <p:cNvSpPr>
            <a:spLocks noChangeShapeType="1"/>
          </p:cNvSpPr>
          <p:nvPr/>
        </p:nvSpPr>
        <p:spPr bwMode="auto">
          <a:xfrm rot="5400000">
            <a:off x="3429596" y="3428405"/>
            <a:ext cx="4113610" cy="0"/>
          </a:xfrm>
          <a:prstGeom prst="line">
            <a:avLst/>
          </a:prstGeom>
          <a:noFill/>
          <a:ln w="25400">
            <a:solidFill>
              <a:schemeClr val="tx1"/>
            </a:solidFill>
            <a:prstDash val="dash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defTabSz="685800" fontAlgn="base">
              <a:spcBef>
                <a:spcPct val="0"/>
              </a:spcBef>
              <a:spcAft>
                <a:spcPct val="0"/>
              </a:spcAft>
            </a:pPr>
            <a:endParaRPr lang="en-US" sz="1350">
              <a:solidFill>
                <a:srgbClr val="000000"/>
              </a:solidFill>
            </a:endParaRPr>
          </a:p>
        </p:txBody>
      </p:sp>
      <p:sp>
        <p:nvSpPr>
          <p:cNvPr id="449560" name="Text Box 24"/>
          <p:cNvSpPr txBox="1">
            <a:spLocks noChangeArrowheads="1"/>
          </p:cNvSpPr>
          <p:nvPr/>
        </p:nvSpPr>
        <p:spPr bwMode="auto">
          <a:xfrm>
            <a:off x="2857500" y="1543051"/>
            <a:ext cx="1314450" cy="30008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 algn="ctr" defTabSz="685800" fontAlgn="base">
              <a:spcBef>
                <a:spcPct val="50000"/>
              </a:spcBef>
              <a:spcAft>
                <a:spcPct val="0"/>
              </a:spcAft>
            </a:pPr>
            <a:r>
              <a:rPr lang="en-US" altLang="en-US" sz="1350">
                <a:solidFill>
                  <a:srgbClr val="000000"/>
                </a:solidFill>
              </a:rPr>
              <a:t>training</a:t>
            </a:r>
          </a:p>
        </p:txBody>
      </p:sp>
      <p:sp>
        <p:nvSpPr>
          <p:cNvPr id="449561" name="Text Box 25"/>
          <p:cNvSpPr txBox="1">
            <a:spLocks noChangeArrowheads="1"/>
          </p:cNvSpPr>
          <p:nvPr/>
        </p:nvSpPr>
        <p:spPr bwMode="auto">
          <a:xfrm>
            <a:off x="5829300" y="1543051"/>
            <a:ext cx="1314450" cy="30008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 algn="ctr" defTabSz="685800" fontAlgn="base">
              <a:spcBef>
                <a:spcPct val="50000"/>
              </a:spcBef>
              <a:spcAft>
                <a:spcPct val="0"/>
              </a:spcAft>
            </a:pPr>
            <a:r>
              <a:rPr lang="en-US" altLang="en-US" sz="1350">
                <a:solidFill>
                  <a:srgbClr val="000000"/>
                </a:solidFill>
              </a:rPr>
              <a:t>test</a:t>
            </a:r>
          </a:p>
        </p:txBody>
      </p:sp>
      <p:sp>
        <p:nvSpPr>
          <p:cNvPr id="449562" name="Text Box 26"/>
          <p:cNvSpPr txBox="1">
            <a:spLocks noChangeArrowheads="1"/>
          </p:cNvSpPr>
          <p:nvPr/>
        </p:nvSpPr>
        <p:spPr bwMode="auto">
          <a:xfrm>
            <a:off x="2800350" y="2343151"/>
            <a:ext cx="1428750" cy="30008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 defTabSz="685800" fontAlgn="base">
              <a:spcBef>
                <a:spcPct val="50000"/>
              </a:spcBef>
              <a:spcAft>
                <a:spcPct val="0"/>
              </a:spcAft>
            </a:pPr>
            <a:r>
              <a:rPr lang="en-US" altLang="en-US" sz="1350">
                <a:solidFill>
                  <a:srgbClr val="000000"/>
                </a:solidFill>
              </a:rPr>
              <a:t>classifier 1</a:t>
            </a:r>
          </a:p>
        </p:txBody>
      </p:sp>
      <p:sp>
        <p:nvSpPr>
          <p:cNvPr id="449563" name="Text Box 27"/>
          <p:cNvSpPr txBox="1">
            <a:spLocks noChangeArrowheads="1"/>
          </p:cNvSpPr>
          <p:nvPr/>
        </p:nvSpPr>
        <p:spPr bwMode="auto">
          <a:xfrm>
            <a:off x="2800350" y="3039666"/>
            <a:ext cx="1428750" cy="30008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 defTabSz="685800" fontAlgn="base">
              <a:spcBef>
                <a:spcPct val="50000"/>
              </a:spcBef>
              <a:spcAft>
                <a:spcPct val="0"/>
              </a:spcAft>
            </a:pPr>
            <a:r>
              <a:rPr lang="en-US" altLang="en-US" sz="1350">
                <a:solidFill>
                  <a:srgbClr val="000000"/>
                </a:solidFill>
              </a:rPr>
              <a:t>classifier 2</a:t>
            </a:r>
          </a:p>
        </p:txBody>
      </p:sp>
      <p:sp>
        <p:nvSpPr>
          <p:cNvPr id="449564" name="Text Box 28"/>
          <p:cNvSpPr txBox="1">
            <a:spLocks noChangeArrowheads="1"/>
          </p:cNvSpPr>
          <p:nvPr/>
        </p:nvSpPr>
        <p:spPr bwMode="auto">
          <a:xfrm>
            <a:off x="2800350" y="4068366"/>
            <a:ext cx="1428750" cy="30008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 defTabSz="685800" fontAlgn="base">
              <a:spcBef>
                <a:spcPct val="50000"/>
              </a:spcBef>
              <a:spcAft>
                <a:spcPct val="0"/>
              </a:spcAft>
            </a:pPr>
            <a:r>
              <a:rPr lang="en-US" altLang="en-US" sz="1350" dirty="0">
                <a:solidFill>
                  <a:srgbClr val="000000"/>
                </a:solidFill>
              </a:rPr>
              <a:t>classifier k</a:t>
            </a:r>
          </a:p>
        </p:txBody>
      </p:sp>
      <p:sp>
        <p:nvSpPr>
          <p:cNvPr id="449565" name="Text Box 29"/>
          <p:cNvSpPr txBox="1">
            <a:spLocks noChangeArrowheads="1"/>
          </p:cNvSpPr>
          <p:nvPr/>
        </p:nvSpPr>
        <p:spPr bwMode="auto">
          <a:xfrm>
            <a:off x="4114800" y="2457451"/>
            <a:ext cx="1428750" cy="5078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 defTabSz="685800" fontAlgn="base">
              <a:spcBef>
                <a:spcPct val="50000"/>
              </a:spcBef>
              <a:spcAft>
                <a:spcPct val="0"/>
              </a:spcAft>
            </a:pPr>
            <a:r>
              <a:rPr lang="en-US" altLang="en-US" sz="1350">
                <a:solidFill>
                  <a:srgbClr val="000000"/>
                </a:solidFill>
              </a:rPr>
              <a:t>Ensemble model</a:t>
            </a:r>
          </a:p>
        </p:txBody>
      </p:sp>
      <p:sp>
        <p:nvSpPr>
          <p:cNvPr id="449566" name="Text Box 30"/>
          <p:cNvSpPr txBox="1">
            <a:spLocks noChangeArrowheads="1"/>
          </p:cNvSpPr>
          <p:nvPr/>
        </p:nvSpPr>
        <p:spPr bwMode="auto">
          <a:xfrm>
            <a:off x="1771650" y="5429251"/>
            <a:ext cx="5200650" cy="5078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 defTabSz="685800" fontAlgn="base">
              <a:spcBef>
                <a:spcPct val="50000"/>
              </a:spcBef>
              <a:spcAft>
                <a:spcPct val="0"/>
              </a:spcAft>
            </a:pPr>
            <a:r>
              <a:rPr lang="en-US" altLang="en-US" sz="1350">
                <a:solidFill>
                  <a:srgbClr val="000000"/>
                </a:solidFill>
              </a:rPr>
              <a:t>Algorithms: boosting, stacked generalization, rule ensemble, Bayesian model averaging……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1217167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95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95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95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95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 nodeType="clickPar">
                      <p:stCondLst>
                        <p:cond delay="indefinite"/>
                      </p:stCondLst>
                      <p:childTnLst>
                        <p:par>
                          <p:cTn id="1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95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95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95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95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95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95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 nodeType="clickPar">
                      <p:stCondLst>
                        <p:cond delay="indefinite"/>
                      </p:stCondLst>
                      <p:childTnLst>
                        <p:par>
                          <p:cTn id="28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95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49540" grpId="0" animBg="1"/>
      <p:bldP spid="449555" grpId="0"/>
      <p:bldP spid="449558" grpId="0"/>
      <p:bldP spid="449559" grpId="0" animBg="1"/>
      <p:bldP spid="449561" grpId="0"/>
      <p:bldP spid="449565" grpId="0"/>
      <p:bldP spid="449566" grpId="0"/>
    </p:bld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15394" name="Picture 2" descr="random forest classifier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469007" y="1052736"/>
            <a:ext cx="8063139" cy="4908472"/>
          </a:xfrm>
          <a:prstGeom prst="rect">
            <a:avLst/>
          </a:prstGeom>
          <a:noFill/>
        </p:spPr>
      </p:pic>
      <p:sp>
        <p:nvSpPr>
          <p:cNvPr id="4" name="TextBox 3"/>
          <p:cNvSpPr txBox="1"/>
          <p:nvPr/>
        </p:nvSpPr>
        <p:spPr>
          <a:xfrm>
            <a:off x="482147" y="424543"/>
            <a:ext cx="6516528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dirty="0" smtClean="0"/>
              <a:t>For example, the Random Forest Classifiers…</a:t>
            </a:r>
            <a:endParaRPr lang="en-US" sz="2400" dirty="0"/>
          </a:p>
        </p:txBody>
      </p:sp>
      <p:sp>
        <p:nvSpPr>
          <p:cNvPr id="6" name="Rectangle 5"/>
          <p:cNvSpPr/>
          <p:nvPr/>
        </p:nvSpPr>
        <p:spPr>
          <a:xfrm>
            <a:off x="1727684" y="6365054"/>
            <a:ext cx="7990114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457200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sz="1800" dirty="0" err="1">
                <a:solidFill>
                  <a:srgbClr val="404040"/>
                </a:solidFill>
                <a:ea typeface="Arial Unicode MS"/>
                <a:cs typeface="Arial Unicode MS"/>
              </a:rPr>
              <a:t>Breiman</a:t>
            </a:r>
            <a:r>
              <a:rPr lang="en-US" sz="1800" dirty="0">
                <a:solidFill>
                  <a:srgbClr val="404040"/>
                </a:solidFill>
                <a:ea typeface="Arial Unicode MS"/>
                <a:cs typeface="Arial Unicode MS"/>
              </a:rPr>
              <a:t>, L. Random Forests</a:t>
            </a:r>
            <a:r>
              <a:rPr lang="en-US" sz="1800" i="1" dirty="0">
                <a:solidFill>
                  <a:srgbClr val="404040"/>
                </a:solidFill>
                <a:ea typeface="Arial Unicode MS"/>
                <a:cs typeface="Arial Unicode MS"/>
              </a:rPr>
              <a:t>.</a:t>
            </a:r>
            <a:r>
              <a:rPr lang="en-US" sz="1800" dirty="0">
                <a:solidFill>
                  <a:srgbClr val="404040"/>
                </a:solidFill>
                <a:ea typeface="Arial Unicode MS"/>
                <a:cs typeface="Arial Unicode MS"/>
              </a:rPr>
              <a:t> </a:t>
            </a:r>
            <a:r>
              <a:rPr lang="en-US" sz="1800" i="1" dirty="0">
                <a:solidFill>
                  <a:srgbClr val="0000FF"/>
                </a:solidFill>
                <a:ea typeface="Arial Unicode MS"/>
                <a:cs typeface="Arial Unicode MS"/>
              </a:rPr>
              <a:t>Machine Learning </a:t>
            </a:r>
            <a:r>
              <a:rPr lang="en-US" sz="1800" dirty="0">
                <a:solidFill>
                  <a:srgbClr val="404040"/>
                </a:solidFill>
                <a:ea typeface="Arial Unicode MS"/>
                <a:cs typeface="Arial Unicode MS"/>
              </a:rPr>
              <a:t>45, pp. 5–32, 2001.</a:t>
            </a:r>
            <a:endParaRPr lang="en-US" sz="1800" dirty="0">
              <a:solidFill>
                <a:srgbClr val="000000"/>
              </a:solidFill>
              <a:latin typeface="Arial"/>
              <a:ea typeface="Arial Unicode MS"/>
              <a:cs typeface="Arial Unicode MS"/>
            </a:endParaRPr>
          </a:p>
        </p:txBody>
      </p:sp>
    </p:spTree>
    <p:extLst>
      <p:ext uri="{BB962C8B-B14F-4D97-AF65-F5344CB8AC3E}">
        <p14:creationId xmlns:p14="http://schemas.microsoft.com/office/powerpoint/2010/main" val="5523019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602" name="Picture 2" descr="C:\Users\hays\Desktop\143 Computer Vision\slides\07\machine_learning_spectrum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8313" y="368300"/>
            <a:ext cx="7951787" cy="5638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Frame 1"/>
          <p:cNvSpPr/>
          <p:nvPr/>
        </p:nvSpPr>
        <p:spPr>
          <a:xfrm>
            <a:off x="1403648" y="4149080"/>
            <a:ext cx="2851150" cy="1222375"/>
          </a:xfrm>
          <a:prstGeom prst="fram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spcBef>
                <a:spcPct val="20000"/>
              </a:spcBef>
              <a:buClr>
                <a:schemeClr val="accent1"/>
              </a:buClr>
              <a:buSzPct val="65000"/>
              <a:buFont typeface="Wingdings" panose="05000000000000000000" pitchFamily="2" charset="2"/>
              <a:buChar char="n"/>
              <a:defRPr/>
            </a:pPr>
            <a:endParaRPr lang="en-US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50350857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1" name="Slide Number Placeholder 5"/>
          <p:cNvSpPr>
            <a:spLocks noGrp="1"/>
          </p:cNvSpPr>
          <p:nvPr>
            <p:ph type="sldNum" sz="quarter" idx="12"/>
          </p:nvPr>
        </p:nvSpPr>
        <p:spPr>
          <a:noFill/>
        </p:spPr>
        <p:txBody>
          <a:bodyPr/>
          <a:lstStyle/>
          <a:p>
            <a:fld id="{2F49D903-22E4-BB4C-8959-8C59F6665CA3}" type="slidenum">
              <a:rPr lang="en-US" smtClean="0">
                <a:latin typeface="Times New Roman" pitchFamily="1" charset="0"/>
              </a:rPr>
              <a:pPr/>
              <a:t>46</a:t>
            </a:fld>
            <a:endParaRPr lang="en-US" smtClean="0">
              <a:latin typeface="Times New Roman" pitchFamily="1" charset="0"/>
            </a:endParaRPr>
          </a:p>
        </p:txBody>
      </p:sp>
      <p:sp>
        <p:nvSpPr>
          <p:cNvPr id="186370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>
              <a:defRPr/>
            </a:pPr>
            <a:r>
              <a:rPr lang="en-US" dirty="0" smtClean="0">
                <a:ea typeface="+mj-ea"/>
                <a:cs typeface="+mj-cs"/>
              </a:rPr>
              <a:t>Regression</a:t>
            </a:r>
            <a:endParaRPr lang="en-US" dirty="0">
              <a:ea typeface="+mj-ea"/>
              <a:cs typeface="+mj-cs"/>
            </a:endParaRPr>
          </a:p>
        </p:txBody>
      </p:sp>
      <p:sp>
        <p:nvSpPr>
          <p:cNvPr id="1741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85800" y="1066800"/>
            <a:ext cx="7772400" cy="2971800"/>
          </a:xfrm>
        </p:spPr>
        <p:txBody>
          <a:bodyPr>
            <a:normAutofit fontScale="92500" lnSpcReduction="20000"/>
          </a:bodyPr>
          <a:lstStyle/>
          <a:p>
            <a:pPr eaLnBrk="1" hangingPunct="1"/>
            <a:r>
              <a:rPr lang="en-US" dirty="0" smtClean="0">
                <a:ea typeface="ＭＳ Ｐゴシック" pitchFamily="1" charset="-128"/>
                <a:cs typeface="ＭＳ Ｐゴシック" pitchFamily="1" charset="-128"/>
              </a:rPr>
              <a:t>For classification the </a:t>
            </a:r>
            <a:r>
              <a:rPr lang="en-US" dirty="0" err="1" smtClean="0">
                <a:ea typeface="ＭＳ Ｐゴシック" pitchFamily="1" charset="-128"/>
                <a:cs typeface="ＭＳ Ｐゴシック" pitchFamily="1" charset="-128"/>
              </a:rPr>
              <a:t>output(s</a:t>
            </a:r>
            <a:r>
              <a:rPr lang="en-US" dirty="0" smtClean="0">
                <a:ea typeface="ＭＳ Ｐゴシック" pitchFamily="1" charset="-128"/>
                <a:cs typeface="ＭＳ Ｐゴシック" pitchFamily="1" charset="-128"/>
              </a:rPr>
              <a:t>) is nominal</a:t>
            </a:r>
          </a:p>
          <a:p>
            <a:pPr eaLnBrk="1" hangingPunct="1"/>
            <a:r>
              <a:rPr lang="en-US" dirty="0" smtClean="0">
                <a:ea typeface="ＭＳ Ｐゴシック" pitchFamily="1" charset="-128"/>
                <a:cs typeface="ＭＳ Ｐゴシック" pitchFamily="1" charset="-128"/>
              </a:rPr>
              <a:t>In regression the output is continuous</a:t>
            </a:r>
          </a:p>
          <a:p>
            <a:pPr lvl="1" eaLnBrk="1" hangingPunct="1"/>
            <a:r>
              <a:rPr lang="en-US" dirty="0" smtClean="0"/>
              <a:t>Function Approximation</a:t>
            </a:r>
          </a:p>
          <a:p>
            <a:pPr eaLnBrk="1" hangingPunct="1"/>
            <a:r>
              <a:rPr lang="en-US" dirty="0" smtClean="0">
                <a:ea typeface="ＭＳ Ｐゴシック" pitchFamily="1" charset="-128"/>
                <a:cs typeface="ＭＳ Ｐゴシック" pitchFamily="1" charset="-128"/>
              </a:rPr>
              <a:t>Many models could be used – Simplest is linear regression</a:t>
            </a:r>
          </a:p>
          <a:p>
            <a:pPr lvl="1" eaLnBrk="1" hangingPunct="1"/>
            <a:r>
              <a:rPr lang="en-US" dirty="0" smtClean="0"/>
              <a:t>Fit data with the best hyper-plane which "goes through" the points</a:t>
            </a:r>
          </a:p>
          <a:p>
            <a:pPr lvl="1" eaLnBrk="1" hangingPunct="1"/>
            <a:endParaRPr lang="en-US" dirty="0" smtClean="0"/>
          </a:p>
        </p:txBody>
      </p:sp>
      <p:sp>
        <p:nvSpPr>
          <p:cNvPr id="17414" name="Line 5"/>
          <p:cNvSpPr>
            <a:spLocks noChangeShapeType="1"/>
          </p:cNvSpPr>
          <p:nvPr/>
        </p:nvSpPr>
        <p:spPr bwMode="auto">
          <a:xfrm>
            <a:off x="3230563" y="4284663"/>
            <a:ext cx="0" cy="1547812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 wrap="none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7415" name="Line 6"/>
          <p:cNvSpPr>
            <a:spLocks noChangeShapeType="1"/>
          </p:cNvSpPr>
          <p:nvPr/>
        </p:nvSpPr>
        <p:spPr bwMode="auto">
          <a:xfrm>
            <a:off x="3230563" y="5832475"/>
            <a:ext cx="2971800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 wrap="none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7416" name="AutoShape 15"/>
          <p:cNvSpPr>
            <a:spLocks noChangeArrowheads="1"/>
          </p:cNvSpPr>
          <p:nvPr/>
        </p:nvSpPr>
        <p:spPr bwMode="auto">
          <a:xfrm>
            <a:off x="3611563" y="5399088"/>
            <a:ext cx="128587" cy="128587"/>
          </a:xfrm>
          <a:prstGeom prst="flowChartSummingJunction">
            <a:avLst/>
          </a:prstGeom>
          <a:solidFill>
            <a:schemeClr val="accent1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anchor="ctr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7417" name="AutoShape 17"/>
          <p:cNvSpPr>
            <a:spLocks noChangeArrowheads="1"/>
          </p:cNvSpPr>
          <p:nvPr/>
        </p:nvSpPr>
        <p:spPr bwMode="auto">
          <a:xfrm>
            <a:off x="4449763" y="4852988"/>
            <a:ext cx="128587" cy="130175"/>
          </a:xfrm>
          <a:prstGeom prst="flowChartSummingJunction">
            <a:avLst/>
          </a:prstGeom>
          <a:solidFill>
            <a:schemeClr val="accent1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anchor="ctr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7418" name="AutoShape 18"/>
          <p:cNvSpPr>
            <a:spLocks noChangeArrowheads="1"/>
          </p:cNvSpPr>
          <p:nvPr/>
        </p:nvSpPr>
        <p:spPr bwMode="auto">
          <a:xfrm>
            <a:off x="3740150" y="4983163"/>
            <a:ext cx="128588" cy="128587"/>
          </a:xfrm>
          <a:prstGeom prst="flowChartSummingJunction">
            <a:avLst/>
          </a:prstGeom>
          <a:solidFill>
            <a:schemeClr val="accent1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anchor="ctr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7419" name="AutoShape 19"/>
          <p:cNvSpPr>
            <a:spLocks noChangeArrowheads="1"/>
          </p:cNvSpPr>
          <p:nvPr/>
        </p:nvSpPr>
        <p:spPr bwMode="auto">
          <a:xfrm>
            <a:off x="4906963" y="4395788"/>
            <a:ext cx="128587" cy="130175"/>
          </a:xfrm>
          <a:prstGeom prst="flowChartSummingJunction">
            <a:avLst/>
          </a:prstGeom>
          <a:solidFill>
            <a:schemeClr val="accent1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anchor="ctr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7420" name="AutoShape 20"/>
          <p:cNvSpPr>
            <a:spLocks noChangeArrowheads="1"/>
          </p:cNvSpPr>
          <p:nvPr/>
        </p:nvSpPr>
        <p:spPr bwMode="auto">
          <a:xfrm>
            <a:off x="4321175" y="5375275"/>
            <a:ext cx="128588" cy="128588"/>
          </a:xfrm>
          <a:prstGeom prst="flowChartSummingJunction">
            <a:avLst/>
          </a:prstGeom>
          <a:solidFill>
            <a:schemeClr val="accent1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anchor="ctr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7421" name="AutoShape 21"/>
          <p:cNvSpPr>
            <a:spLocks noChangeArrowheads="1"/>
          </p:cNvSpPr>
          <p:nvPr/>
        </p:nvSpPr>
        <p:spPr bwMode="auto">
          <a:xfrm>
            <a:off x="4754563" y="5005388"/>
            <a:ext cx="128587" cy="130175"/>
          </a:xfrm>
          <a:prstGeom prst="flowChartSummingJunction">
            <a:avLst/>
          </a:prstGeom>
          <a:solidFill>
            <a:schemeClr val="accent1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anchor="ctr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7422" name="AutoShape 22"/>
          <p:cNvSpPr>
            <a:spLocks noChangeArrowheads="1"/>
          </p:cNvSpPr>
          <p:nvPr/>
        </p:nvSpPr>
        <p:spPr bwMode="auto">
          <a:xfrm>
            <a:off x="5364163" y="4776788"/>
            <a:ext cx="128587" cy="130175"/>
          </a:xfrm>
          <a:prstGeom prst="flowChartSummingJunction">
            <a:avLst/>
          </a:prstGeom>
          <a:solidFill>
            <a:schemeClr val="accent1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anchor="ctr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7423" name="AutoShape 23"/>
          <p:cNvSpPr>
            <a:spLocks noChangeArrowheads="1"/>
          </p:cNvSpPr>
          <p:nvPr/>
        </p:nvSpPr>
        <p:spPr bwMode="auto">
          <a:xfrm>
            <a:off x="5668963" y="4267200"/>
            <a:ext cx="128587" cy="128588"/>
          </a:xfrm>
          <a:prstGeom prst="flowChartSummingJunction">
            <a:avLst/>
          </a:prstGeom>
          <a:solidFill>
            <a:schemeClr val="accent1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anchor="ctr">
            <a:prstTxWarp prst="textNoShape">
              <a:avLst/>
            </a:prstTxWarp>
          </a:bodyPr>
          <a:lstStyle/>
          <a:p>
            <a:endParaRPr lang="en-US"/>
          </a:p>
        </p:txBody>
      </p:sp>
      <p:cxnSp>
        <p:nvCxnSpPr>
          <p:cNvPr id="17424" name="Straight Connector 20"/>
          <p:cNvCxnSpPr>
            <a:cxnSpLocks noChangeShapeType="1"/>
          </p:cNvCxnSpPr>
          <p:nvPr/>
        </p:nvCxnSpPr>
        <p:spPr bwMode="auto">
          <a:xfrm flipV="1">
            <a:off x="3382963" y="4191000"/>
            <a:ext cx="2743200" cy="1524000"/>
          </a:xfrm>
          <a:prstGeom prst="line">
            <a:avLst/>
          </a:prstGeom>
          <a:noFill/>
          <a:ln w="19050">
            <a:solidFill>
              <a:schemeClr val="tx1"/>
            </a:solidFill>
            <a:round/>
            <a:headEnd/>
            <a:tailEnd/>
          </a:ln>
        </p:spPr>
      </p:cxnSp>
      <p:sp>
        <p:nvSpPr>
          <p:cNvPr id="17425" name="TextBox 15"/>
          <p:cNvSpPr txBox="1">
            <a:spLocks noChangeArrowheads="1"/>
          </p:cNvSpPr>
          <p:nvPr/>
        </p:nvSpPr>
        <p:spPr bwMode="auto">
          <a:xfrm>
            <a:off x="2024063" y="4419600"/>
            <a:ext cx="1133475" cy="1200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prstTxWarp prst="textNoShape">
              <a:avLst/>
            </a:prstTxWarp>
            <a:spAutoFit/>
          </a:bodyPr>
          <a:lstStyle/>
          <a:p>
            <a:pPr algn="ctr"/>
            <a:r>
              <a:rPr lang="en-US" sz="1800" i="1" dirty="0"/>
              <a:t>y</a:t>
            </a:r>
          </a:p>
          <a:p>
            <a:pPr algn="ctr"/>
            <a:r>
              <a:rPr lang="en-US" sz="1800" dirty="0"/>
              <a:t>dependent</a:t>
            </a:r>
          </a:p>
          <a:p>
            <a:pPr algn="ctr"/>
            <a:r>
              <a:rPr lang="en-US" sz="1800" dirty="0"/>
              <a:t>variable</a:t>
            </a:r>
          </a:p>
          <a:p>
            <a:pPr algn="ctr"/>
            <a:r>
              <a:rPr lang="en-US" sz="1800" dirty="0"/>
              <a:t>(output)</a:t>
            </a:r>
          </a:p>
        </p:txBody>
      </p:sp>
      <p:sp>
        <p:nvSpPr>
          <p:cNvPr id="17426" name="TextBox 16"/>
          <p:cNvSpPr txBox="1">
            <a:spLocks noChangeArrowheads="1"/>
          </p:cNvSpPr>
          <p:nvPr/>
        </p:nvSpPr>
        <p:spPr bwMode="auto">
          <a:xfrm>
            <a:off x="2881313" y="5800725"/>
            <a:ext cx="3748087" cy="368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prstTxWarp prst="textNoShape">
              <a:avLst/>
            </a:prstTxWarp>
            <a:spAutoFit/>
          </a:bodyPr>
          <a:lstStyle/>
          <a:p>
            <a:pPr algn="ctr"/>
            <a:r>
              <a:rPr lang="en-US" sz="1800" i="1"/>
              <a:t>x – </a:t>
            </a:r>
            <a:r>
              <a:rPr lang="en-US" sz="1800"/>
              <a:t>independent variable (input)</a:t>
            </a:r>
          </a:p>
        </p:txBody>
      </p:sp>
    </p:spTree>
    <p:extLst>
      <p:ext uri="{BB962C8B-B14F-4D97-AF65-F5344CB8AC3E}">
        <p14:creationId xmlns:p14="http://schemas.microsoft.com/office/powerpoint/2010/main" val="35873178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ubrik 1"/>
          <p:cNvSpPr>
            <a:spLocks noGrp="1"/>
          </p:cNvSpPr>
          <p:nvPr>
            <p:ph type="title"/>
          </p:nvPr>
        </p:nvSpPr>
        <p:spPr>
          <a:xfrm>
            <a:off x="1887716" y="147586"/>
            <a:ext cx="6935788" cy="480226"/>
          </a:xfrm>
        </p:spPr>
        <p:txBody>
          <a:bodyPr/>
          <a:lstStyle/>
          <a:p>
            <a:pPr marL="342900" indent="-342900"/>
            <a:r>
              <a:rPr lang="sv-SE" sz="2800" dirty="0" smtClean="0"/>
              <a:t>R</a:t>
            </a:r>
            <a:r>
              <a:rPr lang="en-US" dirty="0" smtClean="0"/>
              <a:t>egression: Over/under fitting</a:t>
            </a:r>
            <a:endParaRPr lang="sv-SE" dirty="0"/>
          </a:p>
        </p:txBody>
      </p:sp>
      <p:sp>
        <p:nvSpPr>
          <p:cNvPr id="5" name="Platshållare för innehåll 2"/>
          <p:cNvSpPr>
            <a:spLocks noGrp="1"/>
          </p:cNvSpPr>
          <p:nvPr>
            <p:ph idx="1"/>
          </p:nvPr>
        </p:nvSpPr>
        <p:spPr>
          <a:xfrm>
            <a:off x="755576" y="5247354"/>
            <a:ext cx="6935788" cy="1038226"/>
          </a:xfrm>
        </p:spPr>
        <p:txBody>
          <a:bodyPr>
            <a:normAutofit fontScale="92500"/>
          </a:bodyPr>
          <a:lstStyle/>
          <a:p>
            <a:r>
              <a:rPr lang="sv-SE" dirty="0" smtClean="0"/>
              <a:t>- In overfitting, i</a:t>
            </a:r>
            <a:r>
              <a:rPr lang="en-US" dirty="0" smtClean="0"/>
              <a:t>f </a:t>
            </a:r>
            <a:r>
              <a:rPr lang="en-US" dirty="0"/>
              <a:t>we have too </a:t>
            </a:r>
            <a:r>
              <a:rPr lang="en-US" dirty="0" smtClean="0"/>
              <a:t>many </a:t>
            </a:r>
            <a:r>
              <a:rPr lang="en-US" dirty="0"/>
              <a:t>features, the learned hypothesis may fit the training set very </a:t>
            </a:r>
            <a:r>
              <a:rPr lang="en-US" dirty="0" smtClean="0"/>
              <a:t>well, </a:t>
            </a:r>
            <a:r>
              <a:rPr lang="en-US" dirty="0"/>
              <a:t>but fail to generalize to new examples (predict prices on new examples</a:t>
            </a:r>
            <a:r>
              <a:rPr lang="en-US" dirty="0" smtClean="0"/>
              <a:t>).</a:t>
            </a:r>
            <a:endParaRPr lang="sv-SE" dirty="0" smtClean="0"/>
          </a:p>
        </p:txBody>
      </p:sp>
      <p:pic>
        <p:nvPicPr>
          <p:cNvPr id="2051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1520" y="2652013"/>
            <a:ext cx="8562800" cy="22785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3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87724" y="948636"/>
            <a:ext cx="4589740" cy="13134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extruta 6"/>
          <p:cNvSpPr txBox="1"/>
          <p:nvPr/>
        </p:nvSpPr>
        <p:spPr>
          <a:xfrm>
            <a:off x="4793261" y="6441363"/>
            <a:ext cx="426565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sv-SE" sz="1400" b="1" i="1" dirty="0">
                <a:solidFill>
                  <a:srgbClr val="C00000"/>
                </a:solidFill>
                <a:latin typeface="Arial"/>
              </a:rPr>
              <a:t>Source: ”</a:t>
            </a:r>
            <a:r>
              <a:rPr lang="sv-SE" sz="1400" b="1" i="1" dirty="0" err="1">
                <a:solidFill>
                  <a:srgbClr val="C00000"/>
                </a:solidFill>
                <a:latin typeface="Arial"/>
              </a:rPr>
              <a:t>Machine</a:t>
            </a:r>
            <a:r>
              <a:rPr lang="sv-SE" sz="1400" b="1" i="1" dirty="0">
                <a:solidFill>
                  <a:srgbClr val="C00000"/>
                </a:solidFill>
                <a:latin typeface="Arial"/>
              </a:rPr>
              <a:t> </a:t>
            </a:r>
            <a:r>
              <a:rPr lang="sv-SE" sz="1400" b="1" i="1" dirty="0" err="1">
                <a:solidFill>
                  <a:srgbClr val="C00000"/>
                </a:solidFill>
                <a:latin typeface="Arial"/>
              </a:rPr>
              <a:t>learning</a:t>
            </a:r>
            <a:r>
              <a:rPr lang="sv-SE" sz="1400" b="1" i="1" dirty="0">
                <a:solidFill>
                  <a:srgbClr val="C00000"/>
                </a:solidFill>
                <a:latin typeface="Arial"/>
              </a:rPr>
              <a:t> ” </a:t>
            </a:r>
            <a:r>
              <a:rPr lang="sv-SE" sz="1400" b="1" i="1" dirty="0" err="1">
                <a:solidFill>
                  <a:srgbClr val="C00000"/>
                </a:solidFill>
                <a:latin typeface="Arial"/>
              </a:rPr>
              <a:t>course</a:t>
            </a:r>
            <a:r>
              <a:rPr lang="sv-SE" sz="1400" b="1" i="1" dirty="0">
                <a:solidFill>
                  <a:srgbClr val="C00000"/>
                </a:solidFill>
                <a:latin typeface="Arial"/>
              </a:rPr>
              <a:t>, Andrew </a:t>
            </a:r>
            <a:r>
              <a:rPr lang="sv-SE" sz="1400" b="1" i="1" dirty="0" err="1">
                <a:solidFill>
                  <a:srgbClr val="C00000"/>
                </a:solidFill>
                <a:latin typeface="Arial"/>
              </a:rPr>
              <a:t>Ng</a:t>
            </a:r>
            <a:endParaRPr lang="sv-SE" sz="1400" b="1" i="1" dirty="0">
              <a:solidFill>
                <a:srgbClr val="C00000"/>
              </a:solidFill>
              <a:latin typeface="Arial"/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0D72F4-1C41-4187-A4BC-492CF086CF40}" type="slidenum">
              <a:rPr lang="sv-SE" smtClean="0">
                <a:solidFill>
                  <a:prstClr val="white"/>
                </a:solidFill>
              </a:rPr>
              <a:pPr/>
              <a:t>47</a:t>
            </a:fld>
            <a:endParaRPr lang="sv-SE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464320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794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en-US"/>
              <a:t>Logistic Regression</a:t>
            </a:r>
          </a:p>
        </p:txBody>
      </p:sp>
      <p:sp>
        <p:nvSpPr>
          <p:cNvPr id="33796" name="Text Box 4"/>
          <p:cNvSpPr txBox="1">
            <a:spLocks noChangeArrowheads="1"/>
          </p:cNvSpPr>
          <p:nvPr/>
        </p:nvSpPr>
        <p:spPr bwMode="auto">
          <a:xfrm>
            <a:off x="682625" y="1711325"/>
            <a:ext cx="7305675" cy="9159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pPr eaLnBrk="1" hangingPunct="1">
              <a:buFontTx/>
              <a:buChar char="•"/>
            </a:pPr>
            <a:r>
              <a:rPr lang="en-US" altLang="en-US" sz="1800" dirty="0" smtClean="0">
                <a:solidFill>
                  <a:srgbClr val="000000"/>
                </a:solidFill>
              </a:rPr>
              <a:t> This is also regression but with targets Y=(0,1). </a:t>
            </a:r>
            <a:r>
              <a:rPr lang="en-US" altLang="en-US" sz="1800" dirty="0" smtClean="0">
                <a:solidFill>
                  <a:srgbClr val="000000"/>
                </a:solidFill>
              </a:rPr>
              <a:t>i.e</a:t>
            </a:r>
            <a:r>
              <a:rPr lang="en-US" altLang="en-US" sz="1800" dirty="0" smtClean="0">
                <a:solidFill>
                  <a:srgbClr val="000000"/>
                </a:solidFill>
              </a:rPr>
              <a:t>. it is classification!</a:t>
            </a:r>
          </a:p>
          <a:p>
            <a:pPr eaLnBrk="1" hangingPunct="1">
              <a:buFontTx/>
              <a:buChar char="•"/>
            </a:pPr>
            <a:endParaRPr lang="en-US" altLang="en-US" sz="1800" dirty="0" smtClean="0">
              <a:solidFill>
                <a:srgbClr val="000000"/>
              </a:solidFill>
            </a:endParaRPr>
          </a:p>
          <a:p>
            <a:pPr eaLnBrk="1" hangingPunct="1">
              <a:buFontTx/>
              <a:buChar char="•"/>
            </a:pPr>
            <a:r>
              <a:rPr lang="en-US" altLang="en-US" sz="1800" dirty="0" smtClean="0">
                <a:solidFill>
                  <a:srgbClr val="000000"/>
                </a:solidFill>
              </a:rPr>
              <a:t> We will fit a regression function on P(Y=1|X)</a:t>
            </a:r>
          </a:p>
        </p:txBody>
      </p:sp>
      <p:sp>
        <p:nvSpPr>
          <p:cNvPr id="33798" name="Oval 6"/>
          <p:cNvSpPr>
            <a:spLocks noChangeArrowheads="1"/>
          </p:cNvSpPr>
          <p:nvPr/>
        </p:nvSpPr>
        <p:spPr bwMode="auto">
          <a:xfrm>
            <a:off x="787400" y="3617913"/>
            <a:ext cx="290513" cy="290512"/>
          </a:xfrm>
          <a:prstGeom prst="ellips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eaLnBrk="1" hangingPunct="1"/>
            <a:endParaRPr lang="en-US" sz="1800" smtClean="0">
              <a:solidFill>
                <a:srgbClr val="000000"/>
              </a:solidFill>
            </a:endParaRPr>
          </a:p>
        </p:txBody>
      </p:sp>
      <p:sp>
        <p:nvSpPr>
          <p:cNvPr id="33799" name="Oval 7"/>
          <p:cNvSpPr>
            <a:spLocks noChangeArrowheads="1"/>
          </p:cNvSpPr>
          <p:nvPr/>
        </p:nvSpPr>
        <p:spPr bwMode="auto">
          <a:xfrm>
            <a:off x="1230313" y="3616325"/>
            <a:ext cx="290512" cy="290513"/>
          </a:xfrm>
          <a:prstGeom prst="ellips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eaLnBrk="1" hangingPunct="1"/>
            <a:endParaRPr lang="en-US" sz="1800" smtClean="0">
              <a:solidFill>
                <a:srgbClr val="000000"/>
              </a:solidFill>
            </a:endParaRPr>
          </a:p>
        </p:txBody>
      </p:sp>
      <p:sp>
        <p:nvSpPr>
          <p:cNvPr id="33800" name="Oval 8"/>
          <p:cNvSpPr>
            <a:spLocks noChangeArrowheads="1"/>
          </p:cNvSpPr>
          <p:nvPr/>
        </p:nvSpPr>
        <p:spPr bwMode="auto">
          <a:xfrm>
            <a:off x="1724025" y="3624263"/>
            <a:ext cx="290513" cy="290512"/>
          </a:xfrm>
          <a:prstGeom prst="ellips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eaLnBrk="1" hangingPunct="1"/>
            <a:endParaRPr lang="en-US" sz="1800" smtClean="0">
              <a:solidFill>
                <a:srgbClr val="000000"/>
              </a:solidFill>
            </a:endParaRPr>
          </a:p>
        </p:txBody>
      </p:sp>
      <p:sp>
        <p:nvSpPr>
          <p:cNvPr id="33801" name="Oval 9"/>
          <p:cNvSpPr>
            <a:spLocks noChangeArrowheads="1"/>
          </p:cNvSpPr>
          <p:nvPr/>
        </p:nvSpPr>
        <p:spPr bwMode="auto">
          <a:xfrm>
            <a:off x="346075" y="4410075"/>
            <a:ext cx="290513" cy="290513"/>
          </a:xfrm>
          <a:prstGeom prst="ellips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eaLnBrk="1" hangingPunct="1"/>
            <a:endParaRPr lang="en-US" sz="1800" smtClean="0">
              <a:solidFill>
                <a:srgbClr val="000000"/>
              </a:solidFill>
            </a:endParaRPr>
          </a:p>
        </p:txBody>
      </p:sp>
      <p:sp>
        <p:nvSpPr>
          <p:cNvPr id="33802" name="Oval 10"/>
          <p:cNvSpPr>
            <a:spLocks noChangeArrowheads="1"/>
          </p:cNvSpPr>
          <p:nvPr/>
        </p:nvSpPr>
        <p:spPr bwMode="auto">
          <a:xfrm>
            <a:off x="788988" y="4408488"/>
            <a:ext cx="290512" cy="290512"/>
          </a:xfrm>
          <a:prstGeom prst="ellips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eaLnBrk="1" hangingPunct="1"/>
            <a:endParaRPr lang="en-US" sz="1800" smtClean="0">
              <a:solidFill>
                <a:srgbClr val="000000"/>
              </a:solidFill>
            </a:endParaRPr>
          </a:p>
        </p:txBody>
      </p:sp>
      <p:sp>
        <p:nvSpPr>
          <p:cNvPr id="33803" name="Oval 11"/>
          <p:cNvSpPr>
            <a:spLocks noChangeArrowheads="1"/>
          </p:cNvSpPr>
          <p:nvPr/>
        </p:nvSpPr>
        <p:spPr bwMode="auto">
          <a:xfrm>
            <a:off x="1754188" y="4410075"/>
            <a:ext cx="290512" cy="290513"/>
          </a:xfrm>
          <a:prstGeom prst="ellips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eaLnBrk="1" hangingPunct="1"/>
            <a:endParaRPr lang="en-US" sz="1800" smtClean="0">
              <a:solidFill>
                <a:srgbClr val="000000"/>
              </a:solidFill>
            </a:endParaRPr>
          </a:p>
        </p:txBody>
      </p:sp>
      <p:sp>
        <p:nvSpPr>
          <p:cNvPr id="33804" name="Oval 12"/>
          <p:cNvSpPr>
            <a:spLocks noChangeArrowheads="1"/>
          </p:cNvSpPr>
          <p:nvPr/>
        </p:nvSpPr>
        <p:spPr bwMode="auto">
          <a:xfrm>
            <a:off x="1282700" y="4416425"/>
            <a:ext cx="290513" cy="290513"/>
          </a:xfrm>
          <a:prstGeom prst="ellips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eaLnBrk="1" hangingPunct="1"/>
            <a:endParaRPr lang="en-US" sz="1800" smtClean="0">
              <a:solidFill>
                <a:srgbClr val="000000"/>
              </a:solidFill>
            </a:endParaRPr>
          </a:p>
        </p:txBody>
      </p:sp>
      <p:sp>
        <p:nvSpPr>
          <p:cNvPr id="33805" name="Oval 13"/>
          <p:cNvSpPr>
            <a:spLocks noChangeArrowheads="1"/>
          </p:cNvSpPr>
          <p:nvPr/>
        </p:nvSpPr>
        <p:spPr bwMode="auto">
          <a:xfrm>
            <a:off x="2290763" y="4394200"/>
            <a:ext cx="290512" cy="290513"/>
          </a:xfrm>
          <a:prstGeom prst="ellips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eaLnBrk="1" hangingPunct="1"/>
            <a:endParaRPr lang="en-US" sz="1800" smtClean="0">
              <a:solidFill>
                <a:srgbClr val="000000"/>
              </a:solidFill>
            </a:endParaRPr>
          </a:p>
        </p:txBody>
      </p:sp>
      <p:sp>
        <p:nvSpPr>
          <p:cNvPr id="33806" name="Line 14"/>
          <p:cNvSpPr>
            <a:spLocks noChangeShapeType="1"/>
          </p:cNvSpPr>
          <p:nvPr/>
        </p:nvSpPr>
        <p:spPr bwMode="auto">
          <a:xfrm flipV="1">
            <a:off x="528638" y="3921125"/>
            <a:ext cx="319087" cy="477838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1" hangingPunct="1"/>
            <a:endParaRPr lang="en-US" sz="1800" smtClean="0">
              <a:solidFill>
                <a:srgbClr val="000000"/>
              </a:solidFill>
            </a:endParaRPr>
          </a:p>
        </p:txBody>
      </p:sp>
      <p:sp>
        <p:nvSpPr>
          <p:cNvPr id="33807" name="Line 15"/>
          <p:cNvSpPr>
            <a:spLocks noChangeShapeType="1"/>
          </p:cNvSpPr>
          <p:nvPr/>
        </p:nvSpPr>
        <p:spPr bwMode="auto">
          <a:xfrm flipV="1">
            <a:off x="557213" y="3876675"/>
            <a:ext cx="725487" cy="581025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1" hangingPunct="1"/>
            <a:endParaRPr lang="en-US" sz="1800" smtClean="0">
              <a:solidFill>
                <a:srgbClr val="000000"/>
              </a:solidFill>
            </a:endParaRPr>
          </a:p>
        </p:txBody>
      </p:sp>
      <p:sp>
        <p:nvSpPr>
          <p:cNvPr id="33808" name="Line 16"/>
          <p:cNvSpPr>
            <a:spLocks noChangeShapeType="1"/>
          </p:cNvSpPr>
          <p:nvPr/>
        </p:nvSpPr>
        <p:spPr bwMode="auto">
          <a:xfrm flipV="1">
            <a:off x="600075" y="3848100"/>
            <a:ext cx="1133475" cy="623888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1" hangingPunct="1"/>
            <a:endParaRPr lang="en-US" sz="1800" smtClean="0">
              <a:solidFill>
                <a:srgbClr val="000000"/>
              </a:solidFill>
            </a:endParaRPr>
          </a:p>
        </p:txBody>
      </p:sp>
      <p:sp>
        <p:nvSpPr>
          <p:cNvPr id="33809" name="Line 17"/>
          <p:cNvSpPr>
            <a:spLocks noChangeShapeType="1"/>
          </p:cNvSpPr>
          <p:nvPr/>
        </p:nvSpPr>
        <p:spPr bwMode="auto">
          <a:xfrm flipV="1">
            <a:off x="876300" y="3906838"/>
            <a:ext cx="28575" cy="492125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1" hangingPunct="1"/>
            <a:endParaRPr lang="en-US" sz="1800" smtClean="0">
              <a:solidFill>
                <a:srgbClr val="000000"/>
              </a:solidFill>
            </a:endParaRPr>
          </a:p>
        </p:txBody>
      </p:sp>
      <p:sp>
        <p:nvSpPr>
          <p:cNvPr id="33810" name="Line 18"/>
          <p:cNvSpPr>
            <a:spLocks noChangeShapeType="1"/>
          </p:cNvSpPr>
          <p:nvPr/>
        </p:nvSpPr>
        <p:spPr bwMode="auto">
          <a:xfrm flipV="1">
            <a:off x="949325" y="3921125"/>
            <a:ext cx="377825" cy="493713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1" hangingPunct="1"/>
            <a:endParaRPr lang="en-US" sz="1800" smtClean="0">
              <a:solidFill>
                <a:srgbClr val="000000"/>
              </a:solidFill>
            </a:endParaRPr>
          </a:p>
        </p:txBody>
      </p:sp>
      <p:sp>
        <p:nvSpPr>
          <p:cNvPr id="33811" name="Line 19"/>
          <p:cNvSpPr>
            <a:spLocks noChangeShapeType="1"/>
          </p:cNvSpPr>
          <p:nvPr/>
        </p:nvSpPr>
        <p:spPr bwMode="auto">
          <a:xfrm flipV="1">
            <a:off x="1022350" y="3890963"/>
            <a:ext cx="768350" cy="538162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1" hangingPunct="1"/>
            <a:endParaRPr lang="en-US" sz="1800" smtClean="0">
              <a:solidFill>
                <a:srgbClr val="000000"/>
              </a:solidFill>
            </a:endParaRPr>
          </a:p>
        </p:txBody>
      </p:sp>
      <p:sp>
        <p:nvSpPr>
          <p:cNvPr id="33812" name="Line 20"/>
          <p:cNvSpPr>
            <a:spLocks noChangeShapeType="1"/>
          </p:cNvSpPr>
          <p:nvPr/>
        </p:nvSpPr>
        <p:spPr bwMode="auto">
          <a:xfrm flipH="1" flipV="1">
            <a:off x="992188" y="3921125"/>
            <a:ext cx="377825" cy="522288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1" hangingPunct="1"/>
            <a:endParaRPr lang="en-US" sz="1800" smtClean="0">
              <a:solidFill>
                <a:srgbClr val="000000"/>
              </a:solidFill>
            </a:endParaRPr>
          </a:p>
        </p:txBody>
      </p:sp>
      <p:sp>
        <p:nvSpPr>
          <p:cNvPr id="33813" name="Line 21"/>
          <p:cNvSpPr>
            <a:spLocks noChangeShapeType="1"/>
          </p:cNvSpPr>
          <p:nvPr/>
        </p:nvSpPr>
        <p:spPr bwMode="auto">
          <a:xfrm flipH="1" flipV="1">
            <a:off x="1327150" y="3906838"/>
            <a:ext cx="130175" cy="492125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1" hangingPunct="1"/>
            <a:endParaRPr lang="en-US" sz="1800" smtClean="0">
              <a:solidFill>
                <a:srgbClr val="000000"/>
              </a:solidFill>
            </a:endParaRPr>
          </a:p>
        </p:txBody>
      </p:sp>
      <p:sp>
        <p:nvSpPr>
          <p:cNvPr id="33814" name="Line 22"/>
          <p:cNvSpPr>
            <a:spLocks noChangeShapeType="1"/>
          </p:cNvSpPr>
          <p:nvPr/>
        </p:nvSpPr>
        <p:spPr bwMode="auto">
          <a:xfrm flipV="1">
            <a:off x="1471613" y="3921125"/>
            <a:ext cx="347662" cy="46355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1" hangingPunct="1"/>
            <a:endParaRPr lang="en-US" sz="1800" smtClean="0">
              <a:solidFill>
                <a:srgbClr val="000000"/>
              </a:solidFill>
            </a:endParaRPr>
          </a:p>
        </p:txBody>
      </p:sp>
      <p:sp>
        <p:nvSpPr>
          <p:cNvPr id="33815" name="Line 23"/>
          <p:cNvSpPr>
            <a:spLocks noChangeShapeType="1"/>
          </p:cNvSpPr>
          <p:nvPr/>
        </p:nvSpPr>
        <p:spPr bwMode="auto">
          <a:xfrm flipH="1" flipV="1">
            <a:off x="1050925" y="3876675"/>
            <a:ext cx="711200" cy="566738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1" hangingPunct="1"/>
            <a:endParaRPr lang="en-US" sz="1800" smtClean="0">
              <a:solidFill>
                <a:srgbClr val="000000"/>
              </a:solidFill>
            </a:endParaRPr>
          </a:p>
        </p:txBody>
      </p:sp>
      <p:sp>
        <p:nvSpPr>
          <p:cNvPr id="33816" name="Line 24"/>
          <p:cNvSpPr>
            <a:spLocks noChangeShapeType="1"/>
          </p:cNvSpPr>
          <p:nvPr/>
        </p:nvSpPr>
        <p:spPr bwMode="auto">
          <a:xfrm flipH="1" flipV="1">
            <a:off x="1412875" y="3890963"/>
            <a:ext cx="406400" cy="523875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1" hangingPunct="1"/>
            <a:endParaRPr lang="en-US" sz="1800" smtClean="0">
              <a:solidFill>
                <a:srgbClr val="000000"/>
              </a:solidFill>
            </a:endParaRPr>
          </a:p>
        </p:txBody>
      </p:sp>
      <p:sp>
        <p:nvSpPr>
          <p:cNvPr id="33817" name="Line 25"/>
          <p:cNvSpPr>
            <a:spLocks noChangeShapeType="1"/>
          </p:cNvSpPr>
          <p:nvPr/>
        </p:nvSpPr>
        <p:spPr bwMode="auto">
          <a:xfrm flipH="1" flipV="1">
            <a:off x="1878013" y="3906838"/>
            <a:ext cx="14287" cy="50800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1" hangingPunct="1"/>
            <a:endParaRPr lang="en-US" sz="1800" smtClean="0">
              <a:solidFill>
                <a:srgbClr val="000000"/>
              </a:solidFill>
            </a:endParaRPr>
          </a:p>
        </p:txBody>
      </p:sp>
      <p:sp>
        <p:nvSpPr>
          <p:cNvPr id="33818" name="Line 26"/>
          <p:cNvSpPr>
            <a:spLocks noChangeShapeType="1"/>
          </p:cNvSpPr>
          <p:nvPr/>
        </p:nvSpPr>
        <p:spPr bwMode="auto">
          <a:xfrm flipH="1" flipV="1">
            <a:off x="1006475" y="3876675"/>
            <a:ext cx="1292225" cy="566738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1" hangingPunct="1"/>
            <a:endParaRPr lang="en-US" sz="1800" smtClean="0">
              <a:solidFill>
                <a:srgbClr val="000000"/>
              </a:solidFill>
            </a:endParaRPr>
          </a:p>
        </p:txBody>
      </p:sp>
      <p:sp>
        <p:nvSpPr>
          <p:cNvPr id="33819" name="Line 27"/>
          <p:cNvSpPr>
            <a:spLocks noChangeShapeType="1"/>
          </p:cNvSpPr>
          <p:nvPr/>
        </p:nvSpPr>
        <p:spPr bwMode="auto">
          <a:xfrm flipH="1" flipV="1">
            <a:off x="1485900" y="3862388"/>
            <a:ext cx="857250" cy="55245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1" hangingPunct="1"/>
            <a:endParaRPr lang="en-US" sz="1800" smtClean="0">
              <a:solidFill>
                <a:srgbClr val="000000"/>
              </a:solidFill>
            </a:endParaRPr>
          </a:p>
        </p:txBody>
      </p:sp>
      <p:sp>
        <p:nvSpPr>
          <p:cNvPr id="33820" name="Line 28"/>
          <p:cNvSpPr>
            <a:spLocks noChangeShapeType="1"/>
          </p:cNvSpPr>
          <p:nvPr/>
        </p:nvSpPr>
        <p:spPr bwMode="auto">
          <a:xfrm flipH="1" flipV="1">
            <a:off x="1951038" y="3876675"/>
            <a:ext cx="463550" cy="479425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1" hangingPunct="1"/>
            <a:endParaRPr lang="en-US" sz="1800" smtClean="0">
              <a:solidFill>
                <a:srgbClr val="000000"/>
              </a:solidFill>
            </a:endParaRPr>
          </a:p>
        </p:txBody>
      </p:sp>
      <p:graphicFrame>
        <p:nvGraphicFramePr>
          <p:cNvPr id="33822" name="Object 30"/>
          <p:cNvGraphicFramePr>
            <a:graphicFrameLocks noChangeAspect="1"/>
          </p:cNvGraphicFramePr>
          <p:nvPr/>
        </p:nvGraphicFramePr>
        <p:xfrm>
          <a:off x="2674938" y="4267200"/>
          <a:ext cx="458787" cy="54451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5945" name="Equation" r:id="rId4" imgW="203040" imgH="241200" progId="Equation.DSMT4">
                  <p:embed/>
                </p:oleObj>
              </mc:Choice>
              <mc:Fallback>
                <p:oleObj name="Equation" r:id="rId4" imgW="203040" imgH="241200" progId="Equation.DSMT4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674938" y="4267200"/>
                        <a:ext cx="458787" cy="544513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33823" name="Object 31"/>
          <p:cNvGraphicFramePr>
            <a:graphicFrameLocks noChangeAspect="1"/>
          </p:cNvGraphicFramePr>
          <p:nvPr/>
        </p:nvGraphicFramePr>
        <p:xfrm>
          <a:off x="2495550" y="3848100"/>
          <a:ext cx="434975" cy="5175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5946" name="Equation" r:id="rId6" imgW="203040" imgH="241200" progId="Equation.DSMT4">
                  <p:embed/>
                </p:oleObj>
              </mc:Choice>
              <mc:Fallback>
                <p:oleObj name="Equation" r:id="rId6" imgW="203040" imgH="241200" progId="Equation.DSMT4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495550" y="3848100"/>
                        <a:ext cx="434975" cy="51752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3825" name="Oval 33"/>
          <p:cNvSpPr>
            <a:spLocks noChangeArrowheads="1"/>
          </p:cNvSpPr>
          <p:nvPr/>
        </p:nvSpPr>
        <p:spPr bwMode="auto">
          <a:xfrm>
            <a:off x="6454775" y="4064000"/>
            <a:ext cx="290513" cy="290513"/>
          </a:xfrm>
          <a:prstGeom prst="ellips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eaLnBrk="1" hangingPunct="1"/>
            <a:endParaRPr lang="en-US" sz="1800" smtClean="0">
              <a:solidFill>
                <a:srgbClr val="000000"/>
              </a:solidFill>
            </a:endParaRPr>
          </a:p>
        </p:txBody>
      </p:sp>
      <p:sp>
        <p:nvSpPr>
          <p:cNvPr id="33826" name="Oval 34"/>
          <p:cNvSpPr>
            <a:spLocks noChangeArrowheads="1"/>
          </p:cNvSpPr>
          <p:nvPr/>
        </p:nvSpPr>
        <p:spPr bwMode="auto">
          <a:xfrm>
            <a:off x="6897688" y="4062413"/>
            <a:ext cx="290512" cy="290512"/>
          </a:xfrm>
          <a:prstGeom prst="ellips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eaLnBrk="1" hangingPunct="1"/>
            <a:endParaRPr lang="en-US" sz="1800" smtClean="0">
              <a:solidFill>
                <a:srgbClr val="000000"/>
              </a:solidFill>
            </a:endParaRPr>
          </a:p>
        </p:txBody>
      </p:sp>
      <p:sp>
        <p:nvSpPr>
          <p:cNvPr id="33827" name="Oval 35"/>
          <p:cNvSpPr>
            <a:spLocks noChangeArrowheads="1"/>
          </p:cNvSpPr>
          <p:nvPr/>
        </p:nvSpPr>
        <p:spPr bwMode="auto">
          <a:xfrm>
            <a:off x="7391400" y="4070350"/>
            <a:ext cx="290513" cy="290513"/>
          </a:xfrm>
          <a:prstGeom prst="ellips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eaLnBrk="1" hangingPunct="1"/>
            <a:endParaRPr lang="en-US" sz="1800" smtClean="0">
              <a:solidFill>
                <a:srgbClr val="000000"/>
              </a:solidFill>
            </a:endParaRPr>
          </a:p>
        </p:txBody>
      </p:sp>
      <p:sp>
        <p:nvSpPr>
          <p:cNvPr id="33828" name="Oval 36"/>
          <p:cNvSpPr>
            <a:spLocks noChangeArrowheads="1"/>
          </p:cNvSpPr>
          <p:nvPr/>
        </p:nvSpPr>
        <p:spPr bwMode="auto">
          <a:xfrm>
            <a:off x="6013450" y="4856163"/>
            <a:ext cx="290513" cy="290512"/>
          </a:xfrm>
          <a:prstGeom prst="ellips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eaLnBrk="1" hangingPunct="1"/>
            <a:endParaRPr lang="en-US" sz="1800" smtClean="0">
              <a:solidFill>
                <a:srgbClr val="000000"/>
              </a:solidFill>
            </a:endParaRPr>
          </a:p>
        </p:txBody>
      </p:sp>
      <p:sp>
        <p:nvSpPr>
          <p:cNvPr id="33829" name="Oval 37"/>
          <p:cNvSpPr>
            <a:spLocks noChangeArrowheads="1"/>
          </p:cNvSpPr>
          <p:nvPr/>
        </p:nvSpPr>
        <p:spPr bwMode="auto">
          <a:xfrm>
            <a:off x="6456363" y="4854575"/>
            <a:ext cx="290512" cy="290513"/>
          </a:xfrm>
          <a:prstGeom prst="ellips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eaLnBrk="1" hangingPunct="1"/>
            <a:endParaRPr lang="en-US" sz="1800" smtClean="0">
              <a:solidFill>
                <a:srgbClr val="000000"/>
              </a:solidFill>
            </a:endParaRPr>
          </a:p>
        </p:txBody>
      </p:sp>
      <p:sp>
        <p:nvSpPr>
          <p:cNvPr id="33830" name="Oval 38"/>
          <p:cNvSpPr>
            <a:spLocks noChangeArrowheads="1"/>
          </p:cNvSpPr>
          <p:nvPr/>
        </p:nvSpPr>
        <p:spPr bwMode="auto">
          <a:xfrm>
            <a:off x="7421563" y="4856163"/>
            <a:ext cx="290512" cy="290512"/>
          </a:xfrm>
          <a:prstGeom prst="ellips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eaLnBrk="1" hangingPunct="1"/>
            <a:endParaRPr lang="en-US" sz="1800" smtClean="0">
              <a:solidFill>
                <a:srgbClr val="000000"/>
              </a:solidFill>
            </a:endParaRPr>
          </a:p>
        </p:txBody>
      </p:sp>
      <p:sp>
        <p:nvSpPr>
          <p:cNvPr id="33831" name="Oval 39"/>
          <p:cNvSpPr>
            <a:spLocks noChangeArrowheads="1"/>
          </p:cNvSpPr>
          <p:nvPr/>
        </p:nvSpPr>
        <p:spPr bwMode="auto">
          <a:xfrm>
            <a:off x="6950075" y="4862513"/>
            <a:ext cx="290513" cy="290512"/>
          </a:xfrm>
          <a:prstGeom prst="ellips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eaLnBrk="1" hangingPunct="1"/>
            <a:endParaRPr lang="en-US" sz="1800" smtClean="0">
              <a:solidFill>
                <a:srgbClr val="000000"/>
              </a:solidFill>
            </a:endParaRPr>
          </a:p>
        </p:txBody>
      </p:sp>
      <p:sp>
        <p:nvSpPr>
          <p:cNvPr id="33832" name="Oval 40"/>
          <p:cNvSpPr>
            <a:spLocks noChangeArrowheads="1"/>
          </p:cNvSpPr>
          <p:nvPr/>
        </p:nvSpPr>
        <p:spPr bwMode="auto">
          <a:xfrm>
            <a:off x="7958138" y="4840288"/>
            <a:ext cx="290512" cy="290512"/>
          </a:xfrm>
          <a:prstGeom prst="ellips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eaLnBrk="1" hangingPunct="1"/>
            <a:endParaRPr lang="en-US" sz="1800" smtClean="0">
              <a:solidFill>
                <a:srgbClr val="000000"/>
              </a:solidFill>
            </a:endParaRPr>
          </a:p>
        </p:txBody>
      </p:sp>
      <p:sp>
        <p:nvSpPr>
          <p:cNvPr id="33833" name="Line 41"/>
          <p:cNvSpPr>
            <a:spLocks noChangeShapeType="1"/>
          </p:cNvSpPr>
          <p:nvPr/>
        </p:nvSpPr>
        <p:spPr bwMode="auto">
          <a:xfrm flipV="1">
            <a:off x="6196013" y="4367213"/>
            <a:ext cx="319087" cy="477837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1" hangingPunct="1"/>
            <a:endParaRPr lang="en-US" sz="1800" smtClean="0">
              <a:solidFill>
                <a:srgbClr val="000000"/>
              </a:solidFill>
            </a:endParaRPr>
          </a:p>
        </p:txBody>
      </p:sp>
      <p:sp>
        <p:nvSpPr>
          <p:cNvPr id="33834" name="Line 42"/>
          <p:cNvSpPr>
            <a:spLocks noChangeShapeType="1"/>
          </p:cNvSpPr>
          <p:nvPr/>
        </p:nvSpPr>
        <p:spPr bwMode="auto">
          <a:xfrm flipV="1">
            <a:off x="6224588" y="4322763"/>
            <a:ext cx="725487" cy="581025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1" hangingPunct="1"/>
            <a:endParaRPr lang="en-US" sz="1800" smtClean="0">
              <a:solidFill>
                <a:srgbClr val="000000"/>
              </a:solidFill>
            </a:endParaRPr>
          </a:p>
        </p:txBody>
      </p:sp>
      <p:sp>
        <p:nvSpPr>
          <p:cNvPr id="33835" name="Line 43"/>
          <p:cNvSpPr>
            <a:spLocks noChangeShapeType="1"/>
          </p:cNvSpPr>
          <p:nvPr/>
        </p:nvSpPr>
        <p:spPr bwMode="auto">
          <a:xfrm flipV="1">
            <a:off x="6267450" y="4294188"/>
            <a:ext cx="1133475" cy="623887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1" hangingPunct="1"/>
            <a:endParaRPr lang="en-US" sz="1800" smtClean="0">
              <a:solidFill>
                <a:srgbClr val="000000"/>
              </a:solidFill>
            </a:endParaRPr>
          </a:p>
        </p:txBody>
      </p:sp>
      <p:sp>
        <p:nvSpPr>
          <p:cNvPr id="33836" name="Line 44"/>
          <p:cNvSpPr>
            <a:spLocks noChangeShapeType="1"/>
          </p:cNvSpPr>
          <p:nvPr/>
        </p:nvSpPr>
        <p:spPr bwMode="auto">
          <a:xfrm flipV="1">
            <a:off x="6543675" y="4352925"/>
            <a:ext cx="28575" cy="492125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1" hangingPunct="1"/>
            <a:endParaRPr lang="en-US" sz="1800" smtClean="0">
              <a:solidFill>
                <a:srgbClr val="000000"/>
              </a:solidFill>
            </a:endParaRPr>
          </a:p>
        </p:txBody>
      </p:sp>
      <p:sp>
        <p:nvSpPr>
          <p:cNvPr id="33837" name="Line 45"/>
          <p:cNvSpPr>
            <a:spLocks noChangeShapeType="1"/>
          </p:cNvSpPr>
          <p:nvPr/>
        </p:nvSpPr>
        <p:spPr bwMode="auto">
          <a:xfrm flipV="1">
            <a:off x="6616700" y="4367213"/>
            <a:ext cx="377825" cy="493712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1" hangingPunct="1"/>
            <a:endParaRPr lang="en-US" sz="1800" smtClean="0">
              <a:solidFill>
                <a:srgbClr val="000000"/>
              </a:solidFill>
            </a:endParaRPr>
          </a:p>
        </p:txBody>
      </p:sp>
      <p:sp>
        <p:nvSpPr>
          <p:cNvPr id="33838" name="Line 46"/>
          <p:cNvSpPr>
            <a:spLocks noChangeShapeType="1"/>
          </p:cNvSpPr>
          <p:nvPr/>
        </p:nvSpPr>
        <p:spPr bwMode="auto">
          <a:xfrm flipV="1">
            <a:off x="6689725" y="4337050"/>
            <a:ext cx="768350" cy="538163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1" hangingPunct="1"/>
            <a:endParaRPr lang="en-US" sz="1800" smtClean="0">
              <a:solidFill>
                <a:srgbClr val="000000"/>
              </a:solidFill>
            </a:endParaRPr>
          </a:p>
        </p:txBody>
      </p:sp>
      <p:sp>
        <p:nvSpPr>
          <p:cNvPr id="33839" name="Line 47"/>
          <p:cNvSpPr>
            <a:spLocks noChangeShapeType="1"/>
          </p:cNvSpPr>
          <p:nvPr/>
        </p:nvSpPr>
        <p:spPr bwMode="auto">
          <a:xfrm flipH="1" flipV="1">
            <a:off x="6659563" y="4367213"/>
            <a:ext cx="377825" cy="522287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1" hangingPunct="1"/>
            <a:endParaRPr lang="en-US" sz="1800" smtClean="0">
              <a:solidFill>
                <a:srgbClr val="000000"/>
              </a:solidFill>
            </a:endParaRPr>
          </a:p>
        </p:txBody>
      </p:sp>
      <p:sp>
        <p:nvSpPr>
          <p:cNvPr id="33840" name="Line 48"/>
          <p:cNvSpPr>
            <a:spLocks noChangeShapeType="1"/>
          </p:cNvSpPr>
          <p:nvPr/>
        </p:nvSpPr>
        <p:spPr bwMode="auto">
          <a:xfrm flipH="1" flipV="1">
            <a:off x="6994525" y="4352925"/>
            <a:ext cx="130175" cy="492125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1" hangingPunct="1"/>
            <a:endParaRPr lang="en-US" sz="1800" smtClean="0">
              <a:solidFill>
                <a:srgbClr val="000000"/>
              </a:solidFill>
            </a:endParaRPr>
          </a:p>
        </p:txBody>
      </p:sp>
      <p:sp>
        <p:nvSpPr>
          <p:cNvPr id="33841" name="Line 49"/>
          <p:cNvSpPr>
            <a:spLocks noChangeShapeType="1"/>
          </p:cNvSpPr>
          <p:nvPr/>
        </p:nvSpPr>
        <p:spPr bwMode="auto">
          <a:xfrm flipV="1">
            <a:off x="7138988" y="4367213"/>
            <a:ext cx="347662" cy="46355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1" hangingPunct="1"/>
            <a:endParaRPr lang="en-US" sz="1800" smtClean="0">
              <a:solidFill>
                <a:srgbClr val="000000"/>
              </a:solidFill>
            </a:endParaRPr>
          </a:p>
        </p:txBody>
      </p:sp>
      <p:sp>
        <p:nvSpPr>
          <p:cNvPr id="33842" name="Line 50"/>
          <p:cNvSpPr>
            <a:spLocks noChangeShapeType="1"/>
          </p:cNvSpPr>
          <p:nvPr/>
        </p:nvSpPr>
        <p:spPr bwMode="auto">
          <a:xfrm flipH="1" flipV="1">
            <a:off x="6718300" y="4322763"/>
            <a:ext cx="711200" cy="566737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1" hangingPunct="1"/>
            <a:endParaRPr lang="en-US" sz="1800" smtClean="0">
              <a:solidFill>
                <a:srgbClr val="000000"/>
              </a:solidFill>
            </a:endParaRPr>
          </a:p>
        </p:txBody>
      </p:sp>
      <p:sp>
        <p:nvSpPr>
          <p:cNvPr id="33843" name="Line 51"/>
          <p:cNvSpPr>
            <a:spLocks noChangeShapeType="1"/>
          </p:cNvSpPr>
          <p:nvPr/>
        </p:nvSpPr>
        <p:spPr bwMode="auto">
          <a:xfrm flipH="1" flipV="1">
            <a:off x="7080250" y="4337050"/>
            <a:ext cx="406400" cy="523875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1" hangingPunct="1"/>
            <a:endParaRPr lang="en-US" sz="1800" smtClean="0">
              <a:solidFill>
                <a:srgbClr val="000000"/>
              </a:solidFill>
            </a:endParaRPr>
          </a:p>
        </p:txBody>
      </p:sp>
      <p:sp>
        <p:nvSpPr>
          <p:cNvPr id="33844" name="Line 52"/>
          <p:cNvSpPr>
            <a:spLocks noChangeShapeType="1"/>
          </p:cNvSpPr>
          <p:nvPr/>
        </p:nvSpPr>
        <p:spPr bwMode="auto">
          <a:xfrm flipH="1" flipV="1">
            <a:off x="7545388" y="4352925"/>
            <a:ext cx="14287" cy="50800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1" hangingPunct="1"/>
            <a:endParaRPr lang="en-US" sz="1800" smtClean="0">
              <a:solidFill>
                <a:srgbClr val="000000"/>
              </a:solidFill>
            </a:endParaRPr>
          </a:p>
        </p:txBody>
      </p:sp>
      <p:sp>
        <p:nvSpPr>
          <p:cNvPr id="33845" name="Line 53"/>
          <p:cNvSpPr>
            <a:spLocks noChangeShapeType="1"/>
          </p:cNvSpPr>
          <p:nvPr/>
        </p:nvSpPr>
        <p:spPr bwMode="auto">
          <a:xfrm flipH="1" flipV="1">
            <a:off x="6673850" y="4322763"/>
            <a:ext cx="1292225" cy="566737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1" hangingPunct="1"/>
            <a:endParaRPr lang="en-US" sz="1800" smtClean="0">
              <a:solidFill>
                <a:srgbClr val="000000"/>
              </a:solidFill>
            </a:endParaRPr>
          </a:p>
        </p:txBody>
      </p:sp>
      <p:sp>
        <p:nvSpPr>
          <p:cNvPr id="33846" name="Line 54"/>
          <p:cNvSpPr>
            <a:spLocks noChangeShapeType="1"/>
          </p:cNvSpPr>
          <p:nvPr/>
        </p:nvSpPr>
        <p:spPr bwMode="auto">
          <a:xfrm flipH="1" flipV="1">
            <a:off x="7153275" y="4308475"/>
            <a:ext cx="857250" cy="55245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1" hangingPunct="1"/>
            <a:endParaRPr lang="en-US" sz="1800" smtClean="0">
              <a:solidFill>
                <a:srgbClr val="000000"/>
              </a:solidFill>
            </a:endParaRPr>
          </a:p>
        </p:txBody>
      </p:sp>
      <p:sp>
        <p:nvSpPr>
          <p:cNvPr id="33847" name="Line 55"/>
          <p:cNvSpPr>
            <a:spLocks noChangeShapeType="1"/>
          </p:cNvSpPr>
          <p:nvPr/>
        </p:nvSpPr>
        <p:spPr bwMode="auto">
          <a:xfrm flipH="1" flipV="1">
            <a:off x="7618413" y="4322763"/>
            <a:ext cx="463550" cy="479425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1" hangingPunct="1"/>
            <a:endParaRPr lang="en-US" sz="1800" smtClean="0">
              <a:solidFill>
                <a:srgbClr val="000000"/>
              </a:solidFill>
            </a:endParaRPr>
          </a:p>
        </p:txBody>
      </p:sp>
      <p:graphicFrame>
        <p:nvGraphicFramePr>
          <p:cNvPr id="33848" name="Object 56"/>
          <p:cNvGraphicFramePr>
            <a:graphicFrameLocks noChangeAspect="1"/>
          </p:cNvGraphicFramePr>
          <p:nvPr/>
        </p:nvGraphicFramePr>
        <p:xfrm>
          <a:off x="7777163" y="3424238"/>
          <a:ext cx="852487" cy="50006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5947" name="Equation" r:id="rId8" imgW="368280" imgH="215640" progId="Equation.DSMT4">
                  <p:embed/>
                </p:oleObj>
              </mc:Choice>
              <mc:Fallback>
                <p:oleObj name="Equation" r:id="rId8" imgW="368280" imgH="215640" progId="Equation.DSMT4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7777163" y="3424238"/>
                        <a:ext cx="852487" cy="500062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33849" name="Object 57"/>
          <p:cNvGraphicFramePr>
            <a:graphicFrameLocks noChangeAspect="1"/>
          </p:cNvGraphicFramePr>
          <p:nvPr/>
        </p:nvGraphicFramePr>
        <p:xfrm>
          <a:off x="8342313" y="4713288"/>
          <a:ext cx="458787" cy="54451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5948" name="Equation" r:id="rId10" imgW="203040" imgH="241200" progId="Equation.DSMT4">
                  <p:embed/>
                </p:oleObj>
              </mc:Choice>
              <mc:Fallback>
                <p:oleObj name="Equation" r:id="rId10" imgW="203040" imgH="241200" progId="Equation.DSMT4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8342313" y="4713288"/>
                        <a:ext cx="458787" cy="544512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33850" name="Object 58"/>
          <p:cNvGraphicFramePr>
            <a:graphicFrameLocks noChangeAspect="1"/>
          </p:cNvGraphicFramePr>
          <p:nvPr/>
        </p:nvGraphicFramePr>
        <p:xfrm>
          <a:off x="8162925" y="4294188"/>
          <a:ext cx="434975" cy="5175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5949" name="Equation" r:id="rId11" imgW="203040" imgH="241200" progId="Equation.DSMT4">
                  <p:embed/>
                </p:oleObj>
              </mc:Choice>
              <mc:Fallback>
                <p:oleObj name="Equation" r:id="rId11" imgW="203040" imgH="241200" progId="Equation.DSMT4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8162925" y="4294188"/>
                        <a:ext cx="434975" cy="51752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3852" name="Rectangle 60"/>
          <p:cNvSpPr>
            <a:spLocks noChangeArrowheads="1"/>
          </p:cNvSpPr>
          <p:nvPr/>
        </p:nvSpPr>
        <p:spPr bwMode="auto">
          <a:xfrm>
            <a:off x="6429375" y="3527425"/>
            <a:ext cx="304800" cy="349250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eaLnBrk="1" hangingPunct="1"/>
            <a:endParaRPr lang="en-US" sz="1800" smtClean="0">
              <a:solidFill>
                <a:srgbClr val="000000"/>
              </a:solidFill>
            </a:endParaRPr>
          </a:p>
        </p:txBody>
      </p:sp>
      <p:sp>
        <p:nvSpPr>
          <p:cNvPr id="33853" name="Freeform 61"/>
          <p:cNvSpPr>
            <a:spLocks/>
          </p:cNvSpPr>
          <p:nvPr/>
        </p:nvSpPr>
        <p:spPr bwMode="auto">
          <a:xfrm>
            <a:off x="6418263" y="3529013"/>
            <a:ext cx="293687" cy="336550"/>
          </a:xfrm>
          <a:custGeom>
            <a:avLst/>
            <a:gdLst>
              <a:gd name="T0" fmla="*/ 0 w 185"/>
              <a:gd name="T1" fmla="*/ 212 h 212"/>
              <a:gd name="T2" fmla="*/ 92 w 185"/>
              <a:gd name="T3" fmla="*/ 191 h 212"/>
              <a:gd name="T4" fmla="*/ 114 w 185"/>
              <a:gd name="T5" fmla="*/ 84 h 212"/>
              <a:gd name="T6" fmla="*/ 142 w 185"/>
              <a:gd name="T7" fmla="*/ 13 h 212"/>
              <a:gd name="T8" fmla="*/ 185 w 185"/>
              <a:gd name="T9" fmla="*/ 6 h 2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85" h="212">
                <a:moveTo>
                  <a:pt x="0" y="212"/>
                </a:moveTo>
                <a:cubicBezTo>
                  <a:pt x="36" y="212"/>
                  <a:pt x="73" y="212"/>
                  <a:pt x="92" y="191"/>
                </a:cubicBezTo>
                <a:cubicBezTo>
                  <a:pt x="111" y="170"/>
                  <a:pt x="106" y="114"/>
                  <a:pt x="114" y="84"/>
                </a:cubicBezTo>
                <a:cubicBezTo>
                  <a:pt x="122" y="54"/>
                  <a:pt x="130" y="26"/>
                  <a:pt x="142" y="13"/>
                </a:cubicBezTo>
                <a:cubicBezTo>
                  <a:pt x="154" y="0"/>
                  <a:pt x="169" y="3"/>
                  <a:pt x="185" y="6"/>
                </a:cubicBezTo>
              </a:path>
            </a:pathLst>
          </a:cu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1" hangingPunct="1"/>
            <a:endParaRPr lang="en-US" sz="1800" smtClean="0">
              <a:solidFill>
                <a:srgbClr val="000000"/>
              </a:solidFill>
            </a:endParaRPr>
          </a:p>
        </p:txBody>
      </p:sp>
      <p:grpSp>
        <p:nvGrpSpPr>
          <p:cNvPr id="33854" name="Group 62"/>
          <p:cNvGrpSpPr>
            <a:grpSpLocks/>
          </p:cNvGrpSpPr>
          <p:nvPr/>
        </p:nvGrpSpPr>
        <p:grpSpPr bwMode="auto">
          <a:xfrm>
            <a:off x="6873875" y="3509963"/>
            <a:ext cx="315913" cy="349250"/>
            <a:chOff x="320" y="448"/>
            <a:chExt cx="199" cy="220"/>
          </a:xfrm>
        </p:grpSpPr>
        <p:sp>
          <p:nvSpPr>
            <p:cNvPr id="33855" name="Rectangle 63"/>
            <p:cNvSpPr>
              <a:spLocks noChangeArrowheads="1"/>
            </p:cNvSpPr>
            <p:nvPr/>
          </p:nvSpPr>
          <p:spPr bwMode="auto">
            <a:xfrm>
              <a:off x="327" y="448"/>
              <a:ext cx="192" cy="220"/>
            </a:xfrm>
            <a:prstGeom prst="rect">
              <a:avLst/>
            </a:prstGeom>
            <a:noFill/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1" hangingPunct="1"/>
              <a:endParaRPr lang="en-US" sz="1800" smtClean="0">
                <a:solidFill>
                  <a:srgbClr val="000000"/>
                </a:solidFill>
              </a:endParaRPr>
            </a:p>
          </p:txBody>
        </p:sp>
        <p:sp>
          <p:nvSpPr>
            <p:cNvPr id="33856" name="Freeform 64"/>
            <p:cNvSpPr>
              <a:spLocks/>
            </p:cNvSpPr>
            <p:nvPr/>
          </p:nvSpPr>
          <p:spPr bwMode="auto">
            <a:xfrm>
              <a:off x="320" y="449"/>
              <a:ext cx="185" cy="212"/>
            </a:xfrm>
            <a:custGeom>
              <a:avLst/>
              <a:gdLst>
                <a:gd name="T0" fmla="*/ 0 w 185"/>
                <a:gd name="T1" fmla="*/ 212 h 212"/>
                <a:gd name="T2" fmla="*/ 92 w 185"/>
                <a:gd name="T3" fmla="*/ 191 h 212"/>
                <a:gd name="T4" fmla="*/ 114 w 185"/>
                <a:gd name="T5" fmla="*/ 84 h 212"/>
                <a:gd name="T6" fmla="*/ 142 w 185"/>
                <a:gd name="T7" fmla="*/ 13 h 212"/>
                <a:gd name="T8" fmla="*/ 185 w 185"/>
                <a:gd name="T9" fmla="*/ 6 h 2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5" h="212">
                  <a:moveTo>
                    <a:pt x="0" y="212"/>
                  </a:moveTo>
                  <a:cubicBezTo>
                    <a:pt x="36" y="212"/>
                    <a:pt x="73" y="212"/>
                    <a:pt x="92" y="191"/>
                  </a:cubicBezTo>
                  <a:cubicBezTo>
                    <a:pt x="111" y="170"/>
                    <a:pt x="106" y="114"/>
                    <a:pt x="114" y="84"/>
                  </a:cubicBezTo>
                  <a:cubicBezTo>
                    <a:pt x="122" y="54"/>
                    <a:pt x="130" y="26"/>
                    <a:pt x="142" y="13"/>
                  </a:cubicBezTo>
                  <a:cubicBezTo>
                    <a:pt x="154" y="0"/>
                    <a:pt x="169" y="3"/>
                    <a:pt x="185" y="6"/>
                  </a:cubicBezTo>
                </a:path>
              </a:pathLst>
            </a:custGeom>
            <a:noFill/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eaLnBrk="1" hangingPunct="1"/>
              <a:endParaRPr lang="en-US" sz="1800" smtClean="0">
                <a:solidFill>
                  <a:srgbClr val="000000"/>
                </a:solidFill>
              </a:endParaRPr>
            </a:p>
          </p:txBody>
        </p:sp>
      </p:grpSp>
      <p:grpSp>
        <p:nvGrpSpPr>
          <p:cNvPr id="33857" name="Group 65"/>
          <p:cNvGrpSpPr>
            <a:grpSpLocks/>
          </p:cNvGrpSpPr>
          <p:nvPr/>
        </p:nvGrpSpPr>
        <p:grpSpPr bwMode="auto">
          <a:xfrm>
            <a:off x="7388225" y="3516313"/>
            <a:ext cx="315913" cy="349250"/>
            <a:chOff x="320" y="448"/>
            <a:chExt cx="199" cy="220"/>
          </a:xfrm>
        </p:grpSpPr>
        <p:sp>
          <p:nvSpPr>
            <p:cNvPr id="33858" name="Rectangle 66"/>
            <p:cNvSpPr>
              <a:spLocks noChangeArrowheads="1"/>
            </p:cNvSpPr>
            <p:nvPr/>
          </p:nvSpPr>
          <p:spPr bwMode="auto">
            <a:xfrm>
              <a:off x="327" y="448"/>
              <a:ext cx="192" cy="220"/>
            </a:xfrm>
            <a:prstGeom prst="rect">
              <a:avLst/>
            </a:prstGeom>
            <a:noFill/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1" hangingPunct="1"/>
              <a:endParaRPr lang="en-US" sz="1800" smtClean="0">
                <a:solidFill>
                  <a:srgbClr val="000000"/>
                </a:solidFill>
              </a:endParaRPr>
            </a:p>
          </p:txBody>
        </p:sp>
        <p:sp>
          <p:nvSpPr>
            <p:cNvPr id="33859" name="Freeform 67"/>
            <p:cNvSpPr>
              <a:spLocks/>
            </p:cNvSpPr>
            <p:nvPr/>
          </p:nvSpPr>
          <p:spPr bwMode="auto">
            <a:xfrm>
              <a:off x="320" y="449"/>
              <a:ext cx="185" cy="212"/>
            </a:xfrm>
            <a:custGeom>
              <a:avLst/>
              <a:gdLst>
                <a:gd name="T0" fmla="*/ 0 w 185"/>
                <a:gd name="T1" fmla="*/ 212 h 212"/>
                <a:gd name="T2" fmla="*/ 92 w 185"/>
                <a:gd name="T3" fmla="*/ 191 h 212"/>
                <a:gd name="T4" fmla="*/ 114 w 185"/>
                <a:gd name="T5" fmla="*/ 84 h 212"/>
                <a:gd name="T6" fmla="*/ 142 w 185"/>
                <a:gd name="T7" fmla="*/ 13 h 212"/>
                <a:gd name="T8" fmla="*/ 185 w 185"/>
                <a:gd name="T9" fmla="*/ 6 h 2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5" h="212">
                  <a:moveTo>
                    <a:pt x="0" y="212"/>
                  </a:moveTo>
                  <a:cubicBezTo>
                    <a:pt x="36" y="212"/>
                    <a:pt x="73" y="212"/>
                    <a:pt x="92" y="191"/>
                  </a:cubicBezTo>
                  <a:cubicBezTo>
                    <a:pt x="111" y="170"/>
                    <a:pt x="106" y="114"/>
                    <a:pt x="114" y="84"/>
                  </a:cubicBezTo>
                  <a:cubicBezTo>
                    <a:pt x="122" y="54"/>
                    <a:pt x="130" y="26"/>
                    <a:pt x="142" y="13"/>
                  </a:cubicBezTo>
                  <a:cubicBezTo>
                    <a:pt x="154" y="0"/>
                    <a:pt x="169" y="3"/>
                    <a:pt x="185" y="6"/>
                  </a:cubicBezTo>
                </a:path>
              </a:pathLst>
            </a:custGeom>
            <a:noFill/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eaLnBrk="1" hangingPunct="1"/>
              <a:endParaRPr lang="en-US" sz="1800" smtClean="0">
                <a:solidFill>
                  <a:srgbClr val="000000"/>
                </a:solidFill>
              </a:endParaRPr>
            </a:p>
          </p:txBody>
        </p:sp>
      </p:grpSp>
      <p:sp>
        <p:nvSpPr>
          <p:cNvPr id="33860" name="Line 68"/>
          <p:cNvSpPr>
            <a:spLocks noChangeShapeType="1"/>
          </p:cNvSpPr>
          <p:nvPr/>
        </p:nvSpPr>
        <p:spPr bwMode="auto">
          <a:xfrm flipV="1">
            <a:off x="6586538" y="3854450"/>
            <a:ext cx="0" cy="20320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1" hangingPunct="1"/>
            <a:endParaRPr lang="en-US" sz="1800" smtClean="0">
              <a:solidFill>
                <a:srgbClr val="000000"/>
              </a:solidFill>
            </a:endParaRPr>
          </a:p>
        </p:txBody>
      </p:sp>
      <p:sp>
        <p:nvSpPr>
          <p:cNvPr id="33861" name="Line 69"/>
          <p:cNvSpPr>
            <a:spLocks noChangeShapeType="1"/>
          </p:cNvSpPr>
          <p:nvPr/>
        </p:nvSpPr>
        <p:spPr bwMode="auto">
          <a:xfrm flipV="1">
            <a:off x="7043738" y="3838575"/>
            <a:ext cx="0" cy="20320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1" hangingPunct="1"/>
            <a:endParaRPr lang="en-US" sz="1800" smtClean="0">
              <a:solidFill>
                <a:srgbClr val="000000"/>
              </a:solidFill>
            </a:endParaRPr>
          </a:p>
        </p:txBody>
      </p:sp>
      <p:sp>
        <p:nvSpPr>
          <p:cNvPr id="33862" name="Line 70"/>
          <p:cNvSpPr>
            <a:spLocks noChangeShapeType="1"/>
          </p:cNvSpPr>
          <p:nvPr/>
        </p:nvSpPr>
        <p:spPr bwMode="auto">
          <a:xfrm flipV="1">
            <a:off x="7556500" y="3843338"/>
            <a:ext cx="0" cy="20320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1" hangingPunct="1"/>
            <a:endParaRPr lang="en-US" sz="1800" smtClean="0">
              <a:solidFill>
                <a:srgbClr val="000000"/>
              </a:solidFill>
            </a:endParaRPr>
          </a:p>
        </p:txBody>
      </p:sp>
      <p:graphicFrame>
        <p:nvGraphicFramePr>
          <p:cNvPr id="33864" name="Object 72"/>
          <p:cNvGraphicFramePr>
            <a:graphicFrameLocks noChangeAspect="1"/>
          </p:cNvGraphicFramePr>
          <p:nvPr/>
        </p:nvGraphicFramePr>
        <p:xfrm>
          <a:off x="695325" y="5045075"/>
          <a:ext cx="1562100" cy="4016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5950" name="Equation" r:id="rId13" imgW="888840" imgH="228600" progId="Equation.DSMT4">
                  <p:embed/>
                </p:oleObj>
              </mc:Choice>
              <mc:Fallback>
                <p:oleObj name="Equation" r:id="rId13" imgW="888840" imgH="228600" progId="Equation.DSMT4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695325" y="5045075"/>
                        <a:ext cx="1562100" cy="40163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33865" name="Object 73"/>
          <p:cNvGraphicFramePr>
            <a:graphicFrameLocks noChangeAspect="1"/>
          </p:cNvGraphicFramePr>
          <p:nvPr/>
        </p:nvGraphicFramePr>
        <p:xfrm>
          <a:off x="5659438" y="5478463"/>
          <a:ext cx="3190875" cy="42386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5951" name="Equation" r:id="rId15" imgW="1815840" imgH="241200" progId="Equation.DSMT4">
                  <p:embed/>
                </p:oleObj>
              </mc:Choice>
              <mc:Fallback>
                <p:oleObj name="Equation" r:id="rId15" imgW="1815840" imgH="241200" progId="Equation.DSMT4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5659438" y="5478463"/>
                        <a:ext cx="3190875" cy="423862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33866" name="Object 74"/>
          <p:cNvGraphicFramePr>
            <a:graphicFrameLocks noChangeAspect="1"/>
          </p:cNvGraphicFramePr>
          <p:nvPr/>
        </p:nvGraphicFramePr>
        <p:xfrm>
          <a:off x="6027738" y="6011863"/>
          <a:ext cx="2649537" cy="6111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5952" name="Equation" r:id="rId17" imgW="1866600" imgH="431640" progId="Equation.DSMT4">
                  <p:embed/>
                </p:oleObj>
              </mc:Choice>
              <mc:Fallback>
                <p:oleObj name="Equation" r:id="rId17" imgW="1866600" imgH="431640" progId="Equation.DSMT4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6027738" y="6011863"/>
                        <a:ext cx="2649537" cy="6111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3867" name="Text Box 75"/>
          <p:cNvSpPr txBox="1">
            <a:spLocks noChangeArrowheads="1"/>
          </p:cNvSpPr>
          <p:nvPr/>
        </p:nvSpPr>
        <p:spPr bwMode="auto">
          <a:xfrm>
            <a:off x="738188" y="2955925"/>
            <a:ext cx="1873250" cy="3667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pPr eaLnBrk="1" hangingPunct="1"/>
            <a:r>
              <a:rPr lang="en-US" altLang="en-US" sz="1800" i="1" smtClean="0">
                <a:solidFill>
                  <a:srgbClr val="FF0000"/>
                </a:solidFill>
              </a:rPr>
              <a:t>linear regression</a:t>
            </a:r>
          </a:p>
        </p:txBody>
      </p:sp>
      <p:sp>
        <p:nvSpPr>
          <p:cNvPr id="33868" name="Line 76"/>
          <p:cNvSpPr>
            <a:spLocks noChangeShapeType="1"/>
          </p:cNvSpPr>
          <p:nvPr/>
        </p:nvSpPr>
        <p:spPr bwMode="auto">
          <a:xfrm>
            <a:off x="3154363" y="3132138"/>
            <a:ext cx="1455737" cy="0"/>
          </a:xfrm>
          <a:prstGeom prst="line">
            <a:avLst/>
          </a:prstGeom>
          <a:noFill/>
          <a:ln w="9525">
            <a:solidFill>
              <a:srgbClr val="FF0000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1" hangingPunct="1"/>
            <a:endParaRPr lang="en-US" sz="1800" smtClean="0">
              <a:solidFill>
                <a:srgbClr val="000000"/>
              </a:solidFill>
            </a:endParaRPr>
          </a:p>
        </p:txBody>
      </p:sp>
      <p:sp>
        <p:nvSpPr>
          <p:cNvPr id="33869" name="Text Box 77"/>
          <p:cNvSpPr txBox="1">
            <a:spLocks noChangeArrowheads="1"/>
          </p:cNvSpPr>
          <p:nvPr/>
        </p:nvSpPr>
        <p:spPr bwMode="auto">
          <a:xfrm>
            <a:off x="6188075" y="3016250"/>
            <a:ext cx="2012950" cy="3667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pPr eaLnBrk="1" hangingPunct="1"/>
            <a:r>
              <a:rPr lang="en-US" altLang="en-US" sz="1800" i="1" smtClean="0">
                <a:solidFill>
                  <a:srgbClr val="FF0000"/>
                </a:solidFill>
              </a:rPr>
              <a:t>logistic regression</a:t>
            </a:r>
          </a:p>
        </p:txBody>
      </p:sp>
      <p:sp>
        <p:nvSpPr>
          <p:cNvPr id="33870" name="Line 78"/>
          <p:cNvSpPr>
            <a:spLocks noChangeShapeType="1"/>
          </p:cNvSpPr>
          <p:nvPr/>
        </p:nvSpPr>
        <p:spPr bwMode="auto">
          <a:xfrm>
            <a:off x="936625" y="5654675"/>
            <a:ext cx="0" cy="88265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1" hangingPunct="1"/>
            <a:endParaRPr lang="en-US" sz="1800" smtClean="0">
              <a:solidFill>
                <a:srgbClr val="000000"/>
              </a:solidFill>
            </a:endParaRPr>
          </a:p>
        </p:txBody>
      </p:sp>
      <p:sp>
        <p:nvSpPr>
          <p:cNvPr id="33871" name="Line 79"/>
          <p:cNvSpPr>
            <a:spLocks noChangeShapeType="1"/>
          </p:cNvSpPr>
          <p:nvPr/>
        </p:nvSpPr>
        <p:spPr bwMode="auto">
          <a:xfrm>
            <a:off x="930275" y="6530975"/>
            <a:ext cx="1630363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1" hangingPunct="1"/>
            <a:endParaRPr lang="en-US" sz="1800" smtClean="0">
              <a:solidFill>
                <a:srgbClr val="000000"/>
              </a:solidFill>
            </a:endParaRPr>
          </a:p>
        </p:txBody>
      </p:sp>
      <p:sp>
        <p:nvSpPr>
          <p:cNvPr id="33872" name="Line 80"/>
          <p:cNvSpPr>
            <a:spLocks noChangeShapeType="1"/>
          </p:cNvSpPr>
          <p:nvPr/>
        </p:nvSpPr>
        <p:spPr bwMode="auto">
          <a:xfrm flipV="1">
            <a:off x="1074738" y="5897563"/>
            <a:ext cx="1287462" cy="34290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1" hangingPunct="1"/>
            <a:endParaRPr lang="en-US" sz="1800" smtClean="0">
              <a:solidFill>
                <a:srgbClr val="000000"/>
              </a:solidFill>
            </a:endParaRPr>
          </a:p>
        </p:txBody>
      </p:sp>
      <p:sp>
        <p:nvSpPr>
          <p:cNvPr id="33874" name="Line 82"/>
          <p:cNvSpPr>
            <a:spLocks noChangeShapeType="1"/>
          </p:cNvSpPr>
          <p:nvPr/>
        </p:nvSpPr>
        <p:spPr bwMode="auto">
          <a:xfrm>
            <a:off x="4297363" y="5586413"/>
            <a:ext cx="0" cy="88265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1" hangingPunct="1"/>
            <a:endParaRPr lang="en-US" sz="1800" smtClean="0">
              <a:solidFill>
                <a:srgbClr val="000000"/>
              </a:solidFill>
            </a:endParaRPr>
          </a:p>
        </p:txBody>
      </p:sp>
      <p:sp>
        <p:nvSpPr>
          <p:cNvPr id="33875" name="Line 83"/>
          <p:cNvSpPr>
            <a:spLocks noChangeShapeType="1"/>
          </p:cNvSpPr>
          <p:nvPr/>
        </p:nvSpPr>
        <p:spPr bwMode="auto">
          <a:xfrm>
            <a:off x="4291013" y="6462713"/>
            <a:ext cx="1630362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1" hangingPunct="1"/>
            <a:endParaRPr lang="en-US" sz="1800" smtClean="0">
              <a:solidFill>
                <a:srgbClr val="000000"/>
              </a:solidFill>
            </a:endParaRPr>
          </a:p>
        </p:txBody>
      </p:sp>
      <p:sp>
        <p:nvSpPr>
          <p:cNvPr id="33878" name="Freeform 86"/>
          <p:cNvSpPr>
            <a:spLocks/>
          </p:cNvSpPr>
          <p:nvPr/>
        </p:nvSpPr>
        <p:spPr bwMode="auto">
          <a:xfrm>
            <a:off x="4457700" y="5535613"/>
            <a:ext cx="903288" cy="862012"/>
          </a:xfrm>
          <a:custGeom>
            <a:avLst/>
            <a:gdLst>
              <a:gd name="T0" fmla="*/ 0 w 185"/>
              <a:gd name="T1" fmla="*/ 212 h 212"/>
              <a:gd name="T2" fmla="*/ 92 w 185"/>
              <a:gd name="T3" fmla="*/ 191 h 212"/>
              <a:gd name="T4" fmla="*/ 114 w 185"/>
              <a:gd name="T5" fmla="*/ 84 h 212"/>
              <a:gd name="T6" fmla="*/ 142 w 185"/>
              <a:gd name="T7" fmla="*/ 13 h 212"/>
              <a:gd name="T8" fmla="*/ 185 w 185"/>
              <a:gd name="T9" fmla="*/ 6 h 2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85" h="212">
                <a:moveTo>
                  <a:pt x="0" y="212"/>
                </a:moveTo>
                <a:cubicBezTo>
                  <a:pt x="36" y="212"/>
                  <a:pt x="73" y="212"/>
                  <a:pt x="92" y="191"/>
                </a:cubicBezTo>
                <a:cubicBezTo>
                  <a:pt x="111" y="170"/>
                  <a:pt x="106" y="114"/>
                  <a:pt x="114" y="84"/>
                </a:cubicBezTo>
                <a:cubicBezTo>
                  <a:pt x="122" y="54"/>
                  <a:pt x="130" y="26"/>
                  <a:pt x="142" y="13"/>
                </a:cubicBezTo>
                <a:cubicBezTo>
                  <a:pt x="154" y="0"/>
                  <a:pt x="169" y="3"/>
                  <a:pt x="185" y="6"/>
                </a:cubicBezTo>
              </a:path>
            </a:pathLst>
          </a:cu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1" hangingPunct="1"/>
            <a:endParaRPr lang="en-US" sz="1800" smtClean="0">
              <a:solidFill>
                <a:srgbClr val="000000"/>
              </a:solidFill>
            </a:endParaRPr>
          </a:p>
        </p:txBody>
      </p:sp>
      <p:sp>
        <p:nvSpPr>
          <p:cNvPr id="33879" name="Line 87"/>
          <p:cNvSpPr>
            <a:spLocks noChangeShapeType="1"/>
          </p:cNvSpPr>
          <p:nvPr/>
        </p:nvSpPr>
        <p:spPr bwMode="auto">
          <a:xfrm>
            <a:off x="2598738" y="6157913"/>
            <a:ext cx="1455737" cy="0"/>
          </a:xfrm>
          <a:prstGeom prst="line">
            <a:avLst/>
          </a:prstGeom>
          <a:noFill/>
          <a:ln w="9525">
            <a:solidFill>
              <a:srgbClr val="FF0000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1" hangingPunct="1"/>
            <a:endParaRPr lang="en-US" sz="1800" smtClean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922594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908" name="Rectangle 44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en-US"/>
              <a:t>Sigmoid function f(x)</a:t>
            </a:r>
          </a:p>
        </p:txBody>
      </p:sp>
      <p:sp>
        <p:nvSpPr>
          <p:cNvPr id="36868" name="Oval 4"/>
          <p:cNvSpPr>
            <a:spLocks noChangeArrowheads="1"/>
          </p:cNvSpPr>
          <p:nvPr/>
        </p:nvSpPr>
        <p:spPr bwMode="auto">
          <a:xfrm>
            <a:off x="1463675" y="2201863"/>
            <a:ext cx="290513" cy="290512"/>
          </a:xfrm>
          <a:prstGeom prst="ellips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eaLnBrk="1" hangingPunct="1"/>
            <a:endParaRPr lang="en-US" sz="1800" smtClean="0">
              <a:solidFill>
                <a:srgbClr val="000000"/>
              </a:solidFill>
            </a:endParaRPr>
          </a:p>
        </p:txBody>
      </p:sp>
      <p:sp>
        <p:nvSpPr>
          <p:cNvPr id="36869" name="Oval 5"/>
          <p:cNvSpPr>
            <a:spLocks noChangeArrowheads="1"/>
          </p:cNvSpPr>
          <p:nvPr/>
        </p:nvSpPr>
        <p:spPr bwMode="auto">
          <a:xfrm>
            <a:off x="1906588" y="2200275"/>
            <a:ext cx="290512" cy="290513"/>
          </a:xfrm>
          <a:prstGeom prst="ellips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eaLnBrk="1" hangingPunct="1"/>
            <a:endParaRPr lang="en-US" sz="1800" smtClean="0">
              <a:solidFill>
                <a:srgbClr val="000000"/>
              </a:solidFill>
            </a:endParaRPr>
          </a:p>
        </p:txBody>
      </p:sp>
      <p:sp>
        <p:nvSpPr>
          <p:cNvPr id="36870" name="Oval 6"/>
          <p:cNvSpPr>
            <a:spLocks noChangeArrowheads="1"/>
          </p:cNvSpPr>
          <p:nvPr/>
        </p:nvSpPr>
        <p:spPr bwMode="auto">
          <a:xfrm>
            <a:off x="2400300" y="2208213"/>
            <a:ext cx="290513" cy="290512"/>
          </a:xfrm>
          <a:prstGeom prst="ellips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eaLnBrk="1" hangingPunct="1"/>
            <a:endParaRPr lang="en-US" sz="1800" smtClean="0">
              <a:solidFill>
                <a:srgbClr val="000000"/>
              </a:solidFill>
            </a:endParaRPr>
          </a:p>
        </p:txBody>
      </p:sp>
      <p:sp>
        <p:nvSpPr>
          <p:cNvPr id="36871" name="Oval 7"/>
          <p:cNvSpPr>
            <a:spLocks noChangeArrowheads="1"/>
          </p:cNvSpPr>
          <p:nvPr/>
        </p:nvSpPr>
        <p:spPr bwMode="auto">
          <a:xfrm>
            <a:off x="1022350" y="2994025"/>
            <a:ext cx="290513" cy="290513"/>
          </a:xfrm>
          <a:prstGeom prst="ellips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eaLnBrk="1" hangingPunct="1"/>
            <a:endParaRPr lang="en-US" sz="1800" smtClean="0">
              <a:solidFill>
                <a:srgbClr val="000000"/>
              </a:solidFill>
            </a:endParaRPr>
          </a:p>
        </p:txBody>
      </p:sp>
      <p:sp>
        <p:nvSpPr>
          <p:cNvPr id="36872" name="Oval 8"/>
          <p:cNvSpPr>
            <a:spLocks noChangeArrowheads="1"/>
          </p:cNvSpPr>
          <p:nvPr/>
        </p:nvSpPr>
        <p:spPr bwMode="auto">
          <a:xfrm>
            <a:off x="1465263" y="2992438"/>
            <a:ext cx="290512" cy="290512"/>
          </a:xfrm>
          <a:prstGeom prst="ellips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eaLnBrk="1" hangingPunct="1"/>
            <a:endParaRPr lang="en-US" sz="1800" smtClean="0">
              <a:solidFill>
                <a:srgbClr val="000000"/>
              </a:solidFill>
            </a:endParaRPr>
          </a:p>
        </p:txBody>
      </p:sp>
      <p:sp>
        <p:nvSpPr>
          <p:cNvPr id="36873" name="Oval 9"/>
          <p:cNvSpPr>
            <a:spLocks noChangeArrowheads="1"/>
          </p:cNvSpPr>
          <p:nvPr/>
        </p:nvSpPr>
        <p:spPr bwMode="auto">
          <a:xfrm>
            <a:off x="2430463" y="2994025"/>
            <a:ext cx="290512" cy="290513"/>
          </a:xfrm>
          <a:prstGeom prst="ellips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eaLnBrk="1" hangingPunct="1"/>
            <a:endParaRPr lang="en-US" sz="1800" smtClean="0">
              <a:solidFill>
                <a:srgbClr val="000000"/>
              </a:solidFill>
            </a:endParaRPr>
          </a:p>
        </p:txBody>
      </p:sp>
      <p:sp>
        <p:nvSpPr>
          <p:cNvPr id="36874" name="Oval 10"/>
          <p:cNvSpPr>
            <a:spLocks noChangeArrowheads="1"/>
          </p:cNvSpPr>
          <p:nvPr/>
        </p:nvSpPr>
        <p:spPr bwMode="auto">
          <a:xfrm>
            <a:off x="1958975" y="3000375"/>
            <a:ext cx="290513" cy="290513"/>
          </a:xfrm>
          <a:prstGeom prst="ellips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eaLnBrk="1" hangingPunct="1"/>
            <a:endParaRPr lang="en-US" sz="1800" smtClean="0">
              <a:solidFill>
                <a:srgbClr val="000000"/>
              </a:solidFill>
            </a:endParaRPr>
          </a:p>
        </p:txBody>
      </p:sp>
      <p:sp>
        <p:nvSpPr>
          <p:cNvPr id="36875" name="Oval 11"/>
          <p:cNvSpPr>
            <a:spLocks noChangeArrowheads="1"/>
          </p:cNvSpPr>
          <p:nvPr/>
        </p:nvSpPr>
        <p:spPr bwMode="auto">
          <a:xfrm>
            <a:off x="2967038" y="2978150"/>
            <a:ext cx="290512" cy="290513"/>
          </a:xfrm>
          <a:prstGeom prst="ellips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eaLnBrk="1" hangingPunct="1"/>
            <a:endParaRPr lang="en-US" sz="1800" smtClean="0">
              <a:solidFill>
                <a:srgbClr val="000000"/>
              </a:solidFill>
            </a:endParaRPr>
          </a:p>
        </p:txBody>
      </p:sp>
      <p:sp>
        <p:nvSpPr>
          <p:cNvPr id="36876" name="Line 12"/>
          <p:cNvSpPr>
            <a:spLocks noChangeShapeType="1"/>
          </p:cNvSpPr>
          <p:nvPr/>
        </p:nvSpPr>
        <p:spPr bwMode="auto">
          <a:xfrm flipV="1">
            <a:off x="1204913" y="2505075"/>
            <a:ext cx="319087" cy="477838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1" hangingPunct="1"/>
            <a:endParaRPr lang="en-US" sz="1800" smtClean="0">
              <a:solidFill>
                <a:srgbClr val="000000"/>
              </a:solidFill>
            </a:endParaRPr>
          </a:p>
        </p:txBody>
      </p:sp>
      <p:sp>
        <p:nvSpPr>
          <p:cNvPr id="36877" name="Line 13"/>
          <p:cNvSpPr>
            <a:spLocks noChangeShapeType="1"/>
          </p:cNvSpPr>
          <p:nvPr/>
        </p:nvSpPr>
        <p:spPr bwMode="auto">
          <a:xfrm flipV="1">
            <a:off x="1233488" y="2460625"/>
            <a:ext cx="725487" cy="581025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1" hangingPunct="1"/>
            <a:endParaRPr lang="en-US" sz="1800" smtClean="0">
              <a:solidFill>
                <a:srgbClr val="000000"/>
              </a:solidFill>
            </a:endParaRPr>
          </a:p>
        </p:txBody>
      </p:sp>
      <p:sp>
        <p:nvSpPr>
          <p:cNvPr id="36878" name="Line 14"/>
          <p:cNvSpPr>
            <a:spLocks noChangeShapeType="1"/>
          </p:cNvSpPr>
          <p:nvPr/>
        </p:nvSpPr>
        <p:spPr bwMode="auto">
          <a:xfrm flipV="1">
            <a:off x="1276350" y="2432050"/>
            <a:ext cx="1133475" cy="623888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1" hangingPunct="1"/>
            <a:endParaRPr lang="en-US" sz="1800" smtClean="0">
              <a:solidFill>
                <a:srgbClr val="000000"/>
              </a:solidFill>
            </a:endParaRPr>
          </a:p>
        </p:txBody>
      </p:sp>
      <p:sp>
        <p:nvSpPr>
          <p:cNvPr id="36879" name="Line 15"/>
          <p:cNvSpPr>
            <a:spLocks noChangeShapeType="1"/>
          </p:cNvSpPr>
          <p:nvPr/>
        </p:nvSpPr>
        <p:spPr bwMode="auto">
          <a:xfrm flipV="1">
            <a:off x="1552575" y="2490788"/>
            <a:ext cx="28575" cy="492125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1" hangingPunct="1"/>
            <a:endParaRPr lang="en-US" sz="1800" smtClean="0">
              <a:solidFill>
                <a:srgbClr val="000000"/>
              </a:solidFill>
            </a:endParaRPr>
          </a:p>
        </p:txBody>
      </p:sp>
      <p:sp>
        <p:nvSpPr>
          <p:cNvPr id="36880" name="Line 16"/>
          <p:cNvSpPr>
            <a:spLocks noChangeShapeType="1"/>
          </p:cNvSpPr>
          <p:nvPr/>
        </p:nvSpPr>
        <p:spPr bwMode="auto">
          <a:xfrm flipV="1">
            <a:off x="1625600" y="2505075"/>
            <a:ext cx="377825" cy="493713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1" hangingPunct="1"/>
            <a:endParaRPr lang="en-US" sz="1800" smtClean="0">
              <a:solidFill>
                <a:srgbClr val="000000"/>
              </a:solidFill>
            </a:endParaRPr>
          </a:p>
        </p:txBody>
      </p:sp>
      <p:sp>
        <p:nvSpPr>
          <p:cNvPr id="36881" name="Line 17"/>
          <p:cNvSpPr>
            <a:spLocks noChangeShapeType="1"/>
          </p:cNvSpPr>
          <p:nvPr/>
        </p:nvSpPr>
        <p:spPr bwMode="auto">
          <a:xfrm flipV="1">
            <a:off x="1698625" y="2474913"/>
            <a:ext cx="768350" cy="538162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1" hangingPunct="1"/>
            <a:endParaRPr lang="en-US" sz="1800" smtClean="0">
              <a:solidFill>
                <a:srgbClr val="000000"/>
              </a:solidFill>
            </a:endParaRPr>
          </a:p>
        </p:txBody>
      </p:sp>
      <p:sp>
        <p:nvSpPr>
          <p:cNvPr id="36882" name="Line 18"/>
          <p:cNvSpPr>
            <a:spLocks noChangeShapeType="1"/>
          </p:cNvSpPr>
          <p:nvPr/>
        </p:nvSpPr>
        <p:spPr bwMode="auto">
          <a:xfrm flipH="1" flipV="1">
            <a:off x="1668463" y="2505075"/>
            <a:ext cx="377825" cy="522288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1" hangingPunct="1"/>
            <a:endParaRPr lang="en-US" sz="1800" smtClean="0">
              <a:solidFill>
                <a:srgbClr val="000000"/>
              </a:solidFill>
            </a:endParaRPr>
          </a:p>
        </p:txBody>
      </p:sp>
      <p:sp>
        <p:nvSpPr>
          <p:cNvPr id="36883" name="Line 19"/>
          <p:cNvSpPr>
            <a:spLocks noChangeShapeType="1"/>
          </p:cNvSpPr>
          <p:nvPr/>
        </p:nvSpPr>
        <p:spPr bwMode="auto">
          <a:xfrm flipH="1" flipV="1">
            <a:off x="2003425" y="2490788"/>
            <a:ext cx="130175" cy="492125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1" hangingPunct="1"/>
            <a:endParaRPr lang="en-US" sz="1800" smtClean="0">
              <a:solidFill>
                <a:srgbClr val="000000"/>
              </a:solidFill>
            </a:endParaRPr>
          </a:p>
        </p:txBody>
      </p:sp>
      <p:sp>
        <p:nvSpPr>
          <p:cNvPr id="36884" name="Line 20"/>
          <p:cNvSpPr>
            <a:spLocks noChangeShapeType="1"/>
          </p:cNvSpPr>
          <p:nvPr/>
        </p:nvSpPr>
        <p:spPr bwMode="auto">
          <a:xfrm flipV="1">
            <a:off x="2147888" y="2505075"/>
            <a:ext cx="347662" cy="46355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1" hangingPunct="1"/>
            <a:endParaRPr lang="en-US" sz="1800" smtClean="0">
              <a:solidFill>
                <a:srgbClr val="000000"/>
              </a:solidFill>
            </a:endParaRPr>
          </a:p>
        </p:txBody>
      </p:sp>
      <p:sp>
        <p:nvSpPr>
          <p:cNvPr id="36885" name="Line 21"/>
          <p:cNvSpPr>
            <a:spLocks noChangeShapeType="1"/>
          </p:cNvSpPr>
          <p:nvPr/>
        </p:nvSpPr>
        <p:spPr bwMode="auto">
          <a:xfrm flipH="1" flipV="1">
            <a:off x="1727200" y="2460625"/>
            <a:ext cx="711200" cy="566738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1" hangingPunct="1"/>
            <a:endParaRPr lang="en-US" sz="1800" smtClean="0">
              <a:solidFill>
                <a:srgbClr val="000000"/>
              </a:solidFill>
            </a:endParaRPr>
          </a:p>
        </p:txBody>
      </p:sp>
      <p:sp>
        <p:nvSpPr>
          <p:cNvPr id="36886" name="Line 22"/>
          <p:cNvSpPr>
            <a:spLocks noChangeShapeType="1"/>
          </p:cNvSpPr>
          <p:nvPr/>
        </p:nvSpPr>
        <p:spPr bwMode="auto">
          <a:xfrm flipH="1" flipV="1">
            <a:off x="2089150" y="2474913"/>
            <a:ext cx="406400" cy="523875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1" hangingPunct="1"/>
            <a:endParaRPr lang="en-US" sz="1800" smtClean="0">
              <a:solidFill>
                <a:srgbClr val="000000"/>
              </a:solidFill>
            </a:endParaRPr>
          </a:p>
        </p:txBody>
      </p:sp>
      <p:sp>
        <p:nvSpPr>
          <p:cNvPr id="36887" name="Line 23"/>
          <p:cNvSpPr>
            <a:spLocks noChangeShapeType="1"/>
          </p:cNvSpPr>
          <p:nvPr/>
        </p:nvSpPr>
        <p:spPr bwMode="auto">
          <a:xfrm flipH="1" flipV="1">
            <a:off x="2554288" y="2490788"/>
            <a:ext cx="14287" cy="50800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1" hangingPunct="1"/>
            <a:endParaRPr lang="en-US" sz="1800" smtClean="0">
              <a:solidFill>
                <a:srgbClr val="000000"/>
              </a:solidFill>
            </a:endParaRPr>
          </a:p>
        </p:txBody>
      </p:sp>
      <p:sp>
        <p:nvSpPr>
          <p:cNvPr id="36888" name="Line 24"/>
          <p:cNvSpPr>
            <a:spLocks noChangeShapeType="1"/>
          </p:cNvSpPr>
          <p:nvPr/>
        </p:nvSpPr>
        <p:spPr bwMode="auto">
          <a:xfrm flipH="1" flipV="1">
            <a:off x="1682750" y="2460625"/>
            <a:ext cx="1292225" cy="566738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1" hangingPunct="1"/>
            <a:endParaRPr lang="en-US" sz="1800" smtClean="0">
              <a:solidFill>
                <a:srgbClr val="000000"/>
              </a:solidFill>
            </a:endParaRPr>
          </a:p>
        </p:txBody>
      </p:sp>
      <p:sp>
        <p:nvSpPr>
          <p:cNvPr id="36889" name="Line 25"/>
          <p:cNvSpPr>
            <a:spLocks noChangeShapeType="1"/>
          </p:cNvSpPr>
          <p:nvPr/>
        </p:nvSpPr>
        <p:spPr bwMode="auto">
          <a:xfrm flipH="1" flipV="1">
            <a:off x="2162175" y="2446338"/>
            <a:ext cx="857250" cy="55245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1" hangingPunct="1"/>
            <a:endParaRPr lang="en-US" sz="1800" smtClean="0">
              <a:solidFill>
                <a:srgbClr val="000000"/>
              </a:solidFill>
            </a:endParaRPr>
          </a:p>
        </p:txBody>
      </p:sp>
      <p:sp>
        <p:nvSpPr>
          <p:cNvPr id="36890" name="Line 26"/>
          <p:cNvSpPr>
            <a:spLocks noChangeShapeType="1"/>
          </p:cNvSpPr>
          <p:nvPr/>
        </p:nvSpPr>
        <p:spPr bwMode="auto">
          <a:xfrm flipH="1" flipV="1">
            <a:off x="2627313" y="2460625"/>
            <a:ext cx="463550" cy="479425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1" hangingPunct="1"/>
            <a:endParaRPr lang="en-US" sz="1800" smtClean="0">
              <a:solidFill>
                <a:srgbClr val="000000"/>
              </a:solidFill>
            </a:endParaRPr>
          </a:p>
        </p:txBody>
      </p:sp>
      <p:graphicFrame>
        <p:nvGraphicFramePr>
          <p:cNvPr id="36891" name="Object 27"/>
          <p:cNvGraphicFramePr>
            <a:graphicFrameLocks noChangeAspect="1"/>
          </p:cNvGraphicFramePr>
          <p:nvPr/>
        </p:nvGraphicFramePr>
        <p:xfrm>
          <a:off x="2786063" y="1562100"/>
          <a:ext cx="852487" cy="5000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876" name="Equation" r:id="rId4" imgW="368280" imgH="215640" progId="Equation.DSMT4">
                  <p:embed/>
                </p:oleObj>
              </mc:Choice>
              <mc:Fallback>
                <p:oleObj name="Equation" r:id="rId4" imgW="368280" imgH="215640" progId="Equation.DSMT4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786063" y="1562100"/>
                        <a:ext cx="852487" cy="500063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36892" name="Object 28"/>
          <p:cNvGraphicFramePr>
            <a:graphicFrameLocks noChangeAspect="1"/>
          </p:cNvGraphicFramePr>
          <p:nvPr/>
        </p:nvGraphicFramePr>
        <p:xfrm>
          <a:off x="3351213" y="2851150"/>
          <a:ext cx="458787" cy="54451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877" name="Equation" r:id="rId6" imgW="203040" imgH="241200" progId="Equation.DSMT4">
                  <p:embed/>
                </p:oleObj>
              </mc:Choice>
              <mc:Fallback>
                <p:oleObj name="Equation" r:id="rId6" imgW="203040" imgH="241200" progId="Equation.DSMT4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351213" y="2851150"/>
                        <a:ext cx="458787" cy="544513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36893" name="Object 29"/>
          <p:cNvGraphicFramePr>
            <a:graphicFrameLocks noChangeAspect="1"/>
          </p:cNvGraphicFramePr>
          <p:nvPr/>
        </p:nvGraphicFramePr>
        <p:xfrm>
          <a:off x="3171825" y="2432050"/>
          <a:ext cx="434975" cy="5175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878" name="Equation" r:id="rId8" imgW="203040" imgH="241200" progId="Equation.DSMT4">
                  <p:embed/>
                </p:oleObj>
              </mc:Choice>
              <mc:Fallback>
                <p:oleObj name="Equation" r:id="rId8" imgW="203040" imgH="241200" progId="Equation.DSMT4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171825" y="2432050"/>
                        <a:ext cx="434975" cy="51752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36894" name="Group 30"/>
          <p:cNvGrpSpPr>
            <a:grpSpLocks/>
          </p:cNvGrpSpPr>
          <p:nvPr/>
        </p:nvGrpSpPr>
        <p:grpSpPr bwMode="auto">
          <a:xfrm>
            <a:off x="1427163" y="1665288"/>
            <a:ext cx="315912" cy="349250"/>
            <a:chOff x="320" y="448"/>
            <a:chExt cx="199" cy="220"/>
          </a:xfrm>
        </p:grpSpPr>
        <p:sp>
          <p:nvSpPr>
            <p:cNvPr id="36895" name="Rectangle 31"/>
            <p:cNvSpPr>
              <a:spLocks noChangeArrowheads="1"/>
            </p:cNvSpPr>
            <p:nvPr/>
          </p:nvSpPr>
          <p:spPr bwMode="auto">
            <a:xfrm>
              <a:off x="327" y="448"/>
              <a:ext cx="192" cy="220"/>
            </a:xfrm>
            <a:prstGeom prst="rect">
              <a:avLst/>
            </a:prstGeom>
            <a:noFill/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1" hangingPunct="1"/>
              <a:endParaRPr lang="en-US" sz="1800" smtClean="0">
                <a:solidFill>
                  <a:srgbClr val="000000"/>
                </a:solidFill>
              </a:endParaRPr>
            </a:p>
          </p:txBody>
        </p:sp>
        <p:sp>
          <p:nvSpPr>
            <p:cNvPr id="36896" name="Freeform 32"/>
            <p:cNvSpPr>
              <a:spLocks/>
            </p:cNvSpPr>
            <p:nvPr/>
          </p:nvSpPr>
          <p:spPr bwMode="auto">
            <a:xfrm>
              <a:off x="320" y="449"/>
              <a:ext cx="185" cy="212"/>
            </a:xfrm>
            <a:custGeom>
              <a:avLst/>
              <a:gdLst>
                <a:gd name="T0" fmla="*/ 0 w 185"/>
                <a:gd name="T1" fmla="*/ 212 h 212"/>
                <a:gd name="T2" fmla="*/ 92 w 185"/>
                <a:gd name="T3" fmla="*/ 191 h 212"/>
                <a:gd name="T4" fmla="*/ 114 w 185"/>
                <a:gd name="T5" fmla="*/ 84 h 212"/>
                <a:gd name="T6" fmla="*/ 142 w 185"/>
                <a:gd name="T7" fmla="*/ 13 h 212"/>
                <a:gd name="T8" fmla="*/ 185 w 185"/>
                <a:gd name="T9" fmla="*/ 6 h 2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5" h="212">
                  <a:moveTo>
                    <a:pt x="0" y="212"/>
                  </a:moveTo>
                  <a:cubicBezTo>
                    <a:pt x="36" y="212"/>
                    <a:pt x="73" y="212"/>
                    <a:pt x="92" y="191"/>
                  </a:cubicBezTo>
                  <a:cubicBezTo>
                    <a:pt x="111" y="170"/>
                    <a:pt x="106" y="114"/>
                    <a:pt x="114" y="84"/>
                  </a:cubicBezTo>
                  <a:cubicBezTo>
                    <a:pt x="122" y="54"/>
                    <a:pt x="130" y="26"/>
                    <a:pt x="142" y="13"/>
                  </a:cubicBezTo>
                  <a:cubicBezTo>
                    <a:pt x="154" y="0"/>
                    <a:pt x="169" y="3"/>
                    <a:pt x="185" y="6"/>
                  </a:cubicBezTo>
                </a:path>
              </a:pathLst>
            </a:custGeom>
            <a:noFill/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eaLnBrk="1" hangingPunct="1"/>
              <a:endParaRPr lang="en-US" sz="1800" smtClean="0">
                <a:solidFill>
                  <a:srgbClr val="000000"/>
                </a:solidFill>
              </a:endParaRPr>
            </a:p>
          </p:txBody>
        </p:sp>
      </p:grpSp>
      <p:grpSp>
        <p:nvGrpSpPr>
          <p:cNvPr id="36897" name="Group 33"/>
          <p:cNvGrpSpPr>
            <a:grpSpLocks/>
          </p:cNvGrpSpPr>
          <p:nvPr/>
        </p:nvGrpSpPr>
        <p:grpSpPr bwMode="auto">
          <a:xfrm>
            <a:off x="1882775" y="1647825"/>
            <a:ext cx="315913" cy="349250"/>
            <a:chOff x="320" y="448"/>
            <a:chExt cx="199" cy="220"/>
          </a:xfrm>
        </p:grpSpPr>
        <p:sp>
          <p:nvSpPr>
            <p:cNvPr id="36898" name="Rectangle 34"/>
            <p:cNvSpPr>
              <a:spLocks noChangeArrowheads="1"/>
            </p:cNvSpPr>
            <p:nvPr/>
          </p:nvSpPr>
          <p:spPr bwMode="auto">
            <a:xfrm>
              <a:off x="327" y="448"/>
              <a:ext cx="192" cy="220"/>
            </a:xfrm>
            <a:prstGeom prst="rect">
              <a:avLst/>
            </a:prstGeom>
            <a:noFill/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1" hangingPunct="1"/>
              <a:endParaRPr lang="en-US" sz="1800" smtClean="0">
                <a:solidFill>
                  <a:srgbClr val="000000"/>
                </a:solidFill>
              </a:endParaRPr>
            </a:p>
          </p:txBody>
        </p:sp>
        <p:sp>
          <p:nvSpPr>
            <p:cNvPr id="36899" name="Freeform 35"/>
            <p:cNvSpPr>
              <a:spLocks/>
            </p:cNvSpPr>
            <p:nvPr/>
          </p:nvSpPr>
          <p:spPr bwMode="auto">
            <a:xfrm>
              <a:off x="320" y="449"/>
              <a:ext cx="185" cy="212"/>
            </a:xfrm>
            <a:custGeom>
              <a:avLst/>
              <a:gdLst>
                <a:gd name="T0" fmla="*/ 0 w 185"/>
                <a:gd name="T1" fmla="*/ 212 h 212"/>
                <a:gd name="T2" fmla="*/ 92 w 185"/>
                <a:gd name="T3" fmla="*/ 191 h 212"/>
                <a:gd name="T4" fmla="*/ 114 w 185"/>
                <a:gd name="T5" fmla="*/ 84 h 212"/>
                <a:gd name="T6" fmla="*/ 142 w 185"/>
                <a:gd name="T7" fmla="*/ 13 h 212"/>
                <a:gd name="T8" fmla="*/ 185 w 185"/>
                <a:gd name="T9" fmla="*/ 6 h 2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5" h="212">
                  <a:moveTo>
                    <a:pt x="0" y="212"/>
                  </a:moveTo>
                  <a:cubicBezTo>
                    <a:pt x="36" y="212"/>
                    <a:pt x="73" y="212"/>
                    <a:pt x="92" y="191"/>
                  </a:cubicBezTo>
                  <a:cubicBezTo>
                    <a:pt x="111" y="170"/>
                    <a:pt x="106" y="114"/>
                    <a:pt x="114" y="84"/>
                  </a:cubicBezTo>
                  <a:cubicBezTo>
                    <a:pt x="122" y="54"/>
                    <a:pt x="130" y="26"/>
                    <a:pt x="142" y="13"/>
                  </a:cubicBezTo>
                  <a:cubicBezTo>
                    <a:pt x="154" y="0"/>
                    <a:pt x="169" y="3"/>
                    <a:pt x="185" y="6"/>
                  </a:cubicBezTo>
                </a:path>
              </a:pathLst>
            </a:custGeom>
            <a:noFill/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eaLnBrk="1" hangingPunct="1"/>
              <a:endParaRPr lang="en-US" sz="1800" smtClean="0">
                <a:solidFill>
                  <a:srgbClr val="000000"/>
                </a:solidFill>
              </a:endParaRPr>
            </a:p>
          </p:txBody>
        </p:sp>
      </p:grpSp>
      <p:grpSp>
        <p:nvGrpSpPr>
          <p:cNvPr id="36900" name="Group 36"/>
          <p:cNvGrpSpPr>
            <a:grpSpLocks/>
          </p:cNvGrpSpPr>
          <p:nvPr/>
        </p:nvGrpSpPr>
        <p:grpSpPr bwMode="auto">
          <a:xfrm>
            <a:off x="2397125" y="1654175"/>
            <a:ext cx="315913" cy="349250"/>
            <a:chOff x="320" y="448"/>
            <a:chExt cx="199" cy="220"/>
          </a:xfrm>
        </p:grpSpPr>
        <p:sp>
          <p:nvSpPr>
            <p:cNvPr id="36901" name="Rectangle 37"/>
            <p:cNvSpPr>
              <a:spLocks noChangeArrowheads="1"/>
            </p:cNvSpPr>
            <p:nvPr/>
          </p:nvSpPr>
          <p:spPr bwMode="auto">
            <a:xfrm>
              <a:off x="327" y="448"/>
              <a:ext cx="192" cy="220"/>
            </a:xfrm>
            <a:prstGeom prst="rect">
              <a:avLst/>
            </a:prstGeom>
            <a:noFill/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1" hangingPunct="1"/>
              <a:endParaRPr lang="en-US" sz="1800" smtClean="0">
                <a:solidFill>
                  <a:srgbClr val="000000"/>
                </a:solidFill>
              </a:endParaRPr>
            </a:p>
          </p:txBody>
        </p:sp>
        <p:sp>
          <p:nvSpPr>
            <p:cNvPr id="36902" name="Freeform 38"/>
            <p:cNvSpPr>
              <a:spLocks/>
            </p:cNvSpPr>
            <p:nvPr/>
          </p:nvSpPr>
          <p:spPr bwMode="auto">
            <a:xfrm>
              <a:off x="320" y="449"/>
              <a:ext cx="185" cy="212"/>
            </a:xfrm>
            <a:custGeom>
              <a:avLst/>
              <a:gdLst>
                <a:gd name="T0" fmla="*/ 0 w 185"/>
                <a:gd name="T1" fmla="*/ 212 h 212"/>
                <a:gd name="T2" fmla="*/ 92 w 185"/>
                <a:gd name="T3" fmla="*/ 191 h 212"/>
                <a:gd name="T4" fmla="*/ 114 w 185"/>
                <a:gd name="T5" fmla="*/ 84 h 212"/>
                <a:gd name="T6" fmla="*/ 142 w 185"/>
                <a:gd name="T7" fmla="*/ 13 h 212"/>
                <a:gd name="T8" fmla="*/ 185 w 185"/>
                <a:gd name="T9" fmla="*/ 6 h 2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5" h="212">
                  <a:moveTo>
                    <a:pt x="0" y="212"/>
                  </a:moveTo>
                  <a:cubicBezTo>
                    <a:pt x="36" y="212"/>
                    <a:pt x="73" y="212"/>
                    <a:pt x="92" y="191"/>
                  </a:cubicBezTo>
                  <a:cubicBezTo>
                    <a:pt x="111" y="170"/>
                    <a:pt x="106" y="114"/>
                    <a:pt x="114" y="84"/>
                  </a:cubicBezTo>
                  <a:cubicBezTo>
                    <a:pt x="122" y="54"/>
                    <a:pt x="130" y="26"/>
                    <a:pt x="142" y="13"/>
                  </a:cubicBezTo>
                  <a:cubicBezTo>
                    <a:pt x="154" y="0"/>
                    <a:pt x="169" y="3"/>
                    <a:pt x="185" y="6"/>
                  </a:cubicBezTo>
                </a:path>
              </a:pathLst>
            </a:custGeom>
            <a:noFill/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eaLnBrk="1" hangingPunct="1"/>
              <a:endParaRPr lang="en-US" sz="1800" smtClean="0">
                <a:solidFill>
                  <a:srgbClr val="000000"/>
                </a:solidFill>
              </a:endParaRPr>
            </a:p>
          </p:txBody>
        </p:sp>
      </p:grpSp>
      <p:sp>
        <p:nvSpPr>
          <p:cNvPr id="36903" name="Line 39"/>
          <p:cNvSpPr>
            <a:spLocks noChangeShapeType="1"/>
          </p:cNvSpPr>
          <p:nvPr/>
        </p:nvSpPr>
        <p:spPr bwMode="auto">
          <a:xfrm flipV="1">
            <a:off x="1595438" y="1992313"/>
            <a:ext cx="0" cy="20320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1" hangingPunct="1"/>
            <a:endParaRPr lang="en-US" sz="1800" smtClean="0">
              <a:solidFill>
                <a:srgbClr val="000000"/>
              </a:solidFill>
            </a:endParaRPr>
          </a:p>
        </p:txBody>
      </p:sp>
      <p:sp>
        <p:nvSpPr>
          <p:cNvPr id="36904" name="Line 40"/>
          <p:cNvSpPr>
            <a:spLocks noChangeShapeType="1"/>
          </p:cNvSpPr>
          <p:nvPr/>
        </p:nvSpPr>
        <p:spPr bwMode="auto">
          <a:xfrm flipV="1">
            <a:off x="2052638" y="1976438"/>
            <a:ext cx="0" cy="20320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1" hangingPunct="1"/>
            <a:endParaRPr lang="en-US" sz="1800" smtClean="0">
              <a:solidFill>
                <a:srgbClr val="000000"/>
              </a:solidFill>
            </a:endParaRPr>
          </a:p>
        </p:txBody>
      </p:sp>
      <p:sp>
        <p:nvSpPr>
          <p:cNvPr id="36905" name="Line 41"/>
          <p:cNvSpPr>
            <a:spLocks noChangeShapeType="1"/>
          </p:cNvSpPr>
          <p:nvPr/>
        </p:nvSpPr>
        <p:spPr bwMode="auto">
          <a:xfrm flipV="1">
            <a:off x="2565400" y="1981200"/>
            <a:ext cx="0" cy="20320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1" hangingPunct="1"/>
            <a:endParaRPr lang="en-US" sz="1800" smtClean="0">
              <a:solidFill>
                <a:srgbClr val="000000"/>
              </a:solidFill>
            </a:endParaRPr>
          </a:p>
        </p:txBody>
      </p:sp>
      <p:graphicFrame>
        <p:nvGraphicFramePr>
          <p:cNvPr id="36906" name="Object 42"/>
          <p:cNvGraphicFramePr>
            <a:graphicFrameLocks noChangeAspect="1"/>
          </p:cNvGraphicFramePr>
          <p:nvPr/>
        </p:nvGraphicFramePr>
        <p:xfrm>
          <a:off x="677863" y="3960813"/>
          <a:ext cx="3190875" cy="42386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879" name="Equation" r:id="rId10" imgW="1815840" imgH="241200" progId="Equation.DSMT4">
                  <p:embed/>
                </p:oleObj>
              </mc:Choice>
              <mc:Fallback>
                <p:oleObj name="Equation" r:id="rId10" imgW="1815840" imgH="241200" progId="Equation.DSMT4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677863" y="3960813"/>
                        <a:ext cx="3190875" cy="423862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36907" name="Object 43"/>
          <p:cNvGraphicFramePr>
            <a:graphicFrameLocks noChangeAspect="1"/>
          </p:cNvGraphicFramePr>
          <p:nvPr/>
        </p:nvGraphicFramePr>
        <p:xfrm>
          <a:off x="5457825" y="5849938"/>
          <a:ext cx="2649538" cy="6111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880" name="Equation" r:id="rId12" imgW="1866600" imgH="431640" progId="Equation.DSMT4">
                  <p:embed/>
                </p:oleObj>
              </mc:Choice>
              <mc:Fallback>
                <p:oleObj name="Equation" r:id="rId12" imgW="1866600" imgH="431640" progId="Equation.DSMT4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5457825" y="5849938"/>
                        <a:ext cx="2649538" cy="6111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6909" name="Picture 45" descr="imp-377b"/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557" b="8545"/>
          <a:stretch>
            <a:fillRect/>
          </a:stretch>
        </p:blipFill>
        <p:spPr bwMode="auto">
          <a:xfrm>
            <a:off x="4656138" y="3475038"/>
            <a:ext cx="3783012" cy="21907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6910" name="Line 46"/>
          <p:cNvSpPr>
            <a:spLocks noChangeShapeType="1"/>
          </p:cNvSpPr>
          <p:nvPr/>
        </p:nvSpPr>
        <p:spPr bwMode="auto">
          <a:xfrm flipV="1">
            <a:off x="3171825" y="5529263"/>
            <a:ext cx="2152650" cy="623887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1" hangingPunct="1"/>
            <a:endParaRPr lang="en-US" sz="1800" smtClean="0">
              <a:solidFill>
                <a:srgbClr val="000000"/>
              </a:solidFill>
            </a:endParaRPr>
          </a:p>
        </p:txBody>
      </p:sp>
      <p:sp>
        <p:nvSpPr>
          <p:cNvPr id="36911" name="Text Box 47"/>
          <p:cNvSpPr txBox="1">
            <a:spLocks noChangeArrowheads="1"/>
          </p:cNvSpPr>
          <p:nvPr/>
        </p:nvSpPr>
        <p:spPr bwMode="auto">
          <a:xfrm>
            <a:off x="962025" y="5992813"/>
            <a:ext cx="2260600" cy="3667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pPr eaLnBrk="1" hangingPunct="1"/>
            <a:r>
              <a:rPr lang="en-US" altLang="en-US" sz="1800" smtClean="0">
                <a:solidFill>
                  <a:srgbClr val="000000"/>
                </a:solidFill>
              </a:rPr>
              <a:t>data-points with Y=0</a:t>
            </a:r>
          </a:p>
        </p:txBody>
      </p:sp>
      <p:sp>
        <p:nvSpPr>
          <p:cNvPr id="36912" name="Text Box 48"/>
          <p:cNvSpPr txBox="1">
            <a:spLocks noChangeArrowheads="1"/>
          </p:cNvSpPr>
          <p:nvPr/>
        </p:nvSpPr>
        <p:spPr bwMode="auto">
          <a:xfrm>
            <a:off x="5545138" y="2270125"/>
            <a:ext cx="2260600" cy="3667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pPr eaLnBrk="1" hangingPunct="1"/>
            <a:r>
              <a:rPr lang="en-US" altLang="en-US" sz="1800" smtClean="0">
                <a:solidFill>
                  <a:srgbClr val="000000"/>
                </a:solidFill>
              </a:rPr>
              <a:t>data-points with Y=1</a:t>
            </a:r>
          </a:p>
        </p:txBody>
      </p:sp>
      <p:sp>
        <p:nvSpPr>
          <p:cNvPr id="36913" name="Line 49"/>
          <p:cNvSpPr>
            <a:spLocks noChangeShapeType="1"/>
          </p:cNvSpPr>
          <p:nvPr/>
        </p:nvSpPr>
        <p:spPr bwMode="auto">
          <a:xfrm flipH="1">
            <a:off x="6153150" y="2646363"/>
            <a:ext cx="817563" cy="957262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1" hangingPunct="1"/>
            <a:endParaRPr lang="en-US" sz="1800" smtClean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275716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Slide Number Placeholder 4"/>
          <p:cNvSpPr>
            <a:spLocks noGrp="1"/>
          </p:cNvSpPr>
          <p:nvPr>
            <p:ph type="sldNum" sz="quarter" idx="1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Clr>
                <a:schemeClr val="bg2"/>
              </a:buClr>
              <a:buSzPct val="75000"/>
              <a:buFont typeface="Wingdings" panose="05000000000000000000" pitchFamily="2" charset="2"/>
              <a:buChar char="n"/>
              <a:defRPr sz="2400">
                <a:solidFill>
                  <a:schemeClr val="tx1"/>
                </a:solidFill>
                <a:latin typeface="Lucida Bright" panose="02040602050505020304" pitchFamily="18" charset="0"/>
              </a:defRPr>
            </a:lvl1pPr>
            <a:lvl2pPr marL="742950" indent="-285750">
              <a:spcBef>
                <a:spcPct val="20000"/>
              </a:spcBef>
              <a:buClr>
                <a:schemeClr val="accent2"/>
              </a:buClr>
              <a:buSzPct val="80000"/>
              <a:buFont typeface="Wingdings" panose="05000000000000000000" pitchFamily="2" charset="2"/>
              <a:buChar char="¨"/>
              <a:defRPr sz="2000">
                <a:solidFill>
                  <a:schemeClr val="tx1"/>
                </a:solidFill>
                <a:latin typeface="Lucida Bright" panose="02040602050505020304" pitchFamily="18" charset="0"/>
              </a:defRPr>
            </a:lvl2pPr>
            <a:lvl3pPr marL="1143000" indent="-228600">
              <a:spcBef>
                <a:spcPct val="20000"/>
              </a:spcBef>
              <a:buClr>
                <a:schemeClr val="bg2"/>
              </a:buClr>
              <a:buSzPct val="65000"/>
              <a:buFont typeface="Wingdings" panose="05000000000000000000" pitchFamily="2" charset="2"/>
              <a:buChar char="n"/>
              <a:defRPr sz="2400">
                <a:solidFill>
                  <a:schemeClr val="tx1"/>
                </a:solidFill>
                <a:latin typeface="Lucida Bright" panose="02040602050505020304" pitchFamily="18" charset="0"/>
              </a:defRPr>
            </a:lvl3pPr>
            <a:lvl4pPr marL="1600200" indent="-228600">
              <a:spcBef>
                <a:spcPct val="20000"/>
              </a:spcBef>
              <a:buClr>
                <a:schemeClr val="accent2"/>
              </a:buClr>
              <a:buSzPct val="70000"/>
              <a:buFont typeface="Wingdings" panose="05000000000000000000" pitchFamily="2" charset="2"/>
              <a:buChar char="¨"/>
              <a:defRPr sz="2000">
                <a:solidFill>
                  <a:schemeClr val="tx1"/>
                </a:solidFill>
                <a:latin typeface="Lucida Bright" panose="02040602050505020304" pitchFamily="18" charset="0"/>
              </a:defRPr>
            </a:lvl4pPr>
            <a:lvl5pPr marL="2057400" indent="-228600">
              <a:spcBef>
                <a:spcPct val="2000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Lucida Bright" panose="02040602050505020304" pitchFamily="18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Lucida Bright" panose="02040602050505020304" pitchFamily="18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Lucida Bright" panose="02040602050505020304" pitchFamily="18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Lucida Bright" panose="02040602050505020304" pitchFamily="18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Lucida Bright" panose="02040602050505020304" pitchFamily="18" charset="0"/>
              </a:defRPr>
            </a:lvl9pPr>
          </a:lstStyle>
          <a:p>
            <a:pPr>
              <a:buClr>
                <a:schemeClr val="accent1"/>
              </a:buClr>
              <a:buSzPct val="65000"/>
            </a:pPr>
            <a:fld id="{1605C973-3D39-4F4D-81E5-B1F4A81A96CB}" type="slidenum">
              <a:rPr lang="tr-TR" altLang="en-US" sz="1400">
                <a:latin typeface="Arial" panose="020B0604020202020204" pitchFamily="34" charset="0"/>
              </a:rPr>
              <a:pPr>
                <a:buClr>
                  <a:schemeClr val="accent1"/>
                </a:buClr>
                <a:buSzPct val="65000"/>
              </a:pPr>
              <a:t>5</a:t>
            </a:fld>
            <a:endParaRPr lang="tr-TR" altLang="en-US" sz="1400">
              <a:latin typeface="Arial" panose="020B0604020202020204" pitchFamily="34" charset="0"/>
            </a:endParaRPr>
          </a:p>
        </p:txBody>
      </p:sp>
      <p:sp>
        <p:nvSpPr>
          <p:cNvPr id="21507" name="Rectangle 4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tr-TR" altLang="en-US" smtClean="0">
                <a:solidFill>
                  <a:srgbClr val="C00000"/>
                </a:solidFill>
              </a:rPr>
              <a:t>What We Talk About When We  Talk About“Learning”</a:t>
            </a:r>
          </a:p>
        </p:txBody>
      </p:sp>
      <p:sp>
        <p:nvSpPr>
          <p:cNvPr id="21508" name="Rectangle 6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pPr eaLnBrk="1" hangingPunct="1"/>
            <a:r>
              <a:rPr lang="tr-TR" altLang="en-US" dirty="0" smtClean="0"/>
              <a:t>Learning general models from a data of particular examples </a:t>
            </a:r>
          </a:p>
          <a:p>
            <a:pPr eaLnBrk="1" hangingPunct="1"/>
            <a:r>
              <a:rPr lang="tr-TR" altLang="en-US" dirty="0" smtClean="0"/>
              <a:t>Data is cheap and abundant (data warehouses, data marts); knowledge is expensive and scarce. </a:t>
            </a:r>
          </a:p>
          <a:p>
            <a:pPr eaLnBrk="1" hangingPunct="1"/>
            <a:r>
              <a:rPr lang="tr-TR" altLang="en-US" dirty="0" smtClean="0"/>
              <a:t>Example in retail: Customer transactions to consumer behavior: </a:t>
            </a:r>
          </a:p>
          <a:p>
            <a:pPr lvl="1" eaLnBrk="1" hangingPunct="1">
              <a:buFont typeface="Wingdings" panose="05000000000000000000" pitchFamily="2" charset="2"/>
              <a:buNone/>
            </a:pPr>
            <a:r>
              <a:rPr lang="tr-TR" altLang="en-US" sz="2400" dirty="0" smtClean="0"/>
              <a:t>	</a:t>
            </a:r>
            <a:r>
              <a:rPr lang="tr-TR" altLang="en-US" i="1" dirty="0" smtClean="0"/>
              <a:t>People who bought “Da Vinci Code” also bought “The Five People You Meet in Heaven”  (www.amazon.com)</a:t>
            </a:r>
          </a:p>
          <a:p>
            <a:pPr eaLnBrk="1" hangingPunct="1"/>
            <a:r>
              <a:rPr lang="tr-TR" altLang="en-US" dirty="0" smtClean="0"/>
              <a:t>Build a model that is </a:t>
            </a:r>
            <a:r>
              <a:rPr lang="tr-TR" altLang="en-US" i="1" dirty="0" smtClean="0">
                <a:solidFill>
                  <a:srgbClr val="C00000"/>
                </a:solidFill>
              </a:rPr>
              <a:t>a good and useful approximation</a:t>
            </a:r>
            <a:r>
              <a:rPr lang="tr-TR" altLang="en-US" dirty="0" smtClean="0"/>
              <a:t> to the data.</a:t>
            </a:r>
            <a:r>
              <a:rPr lang="tr-TR" altLang="en-US" i="1" dirty="0" smtClean="0"/>
              <a:t> </a:t>
            </a:r>
            <a:r>
              <a:rPr lang="tr-TR" altLang="en-US" dirty="0" smtClean="0"/>
              <a:t> 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602" name="Picture 2" descr="C:\Users\hays\Desktop\143 Computer Vision\slides\07\machine_learning_spectrum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8313" y="368300"/>
            <a:ext cx="7951787" cy="5638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Frame 1"/>
          <p:cNvSpPr/>
          <p:nvPr/>
        </p:nvSpPr>
        <p:spPr>
          <a:xfrm>
            <a:off x="5004048" y="2420888"/>
            <a:ext cx="2851150" cy="1222375"/>
          </a:xfrm>
          <a:prstGeom prst="fram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spcBef>
                <a:spcPct val="20000"/>
              </a:spcBef>
              <a:buClr>
                <a:schemeClr val="accent1"/>
              </a:buClr>
              <a:buSzPct val="65000"/>
              <a:buFont typeface="Wingdings" panose="05000000000000000000" pitchFamily="2" charset="2"/>
              <a:buChar char="n"/>
              <a:defRPr/>
            </a:pPr>
            <a:endParaRPr lang="en-US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91917645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/>
        </p:nvSpPr>
        <p:spPr>
          <a:xfrm>
            <a:off x="685800" y="1219200"/>
            <a:ext cx="8305800" cy="914400"/>
          </a:xfrm>
          <a:prstGeom prst="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anchor="ctr"/>
          <a:lstStyle>
            <a:lvl1pPr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9pPr>
          </a:lstStyle>
          <a:p>
            <a:pPr algn="ctr" eaLnBrk="1" hangingPunct="1"/>
            <a:endParaRPr lang="en-US" altLang="en-US" sz="1800">
              <a:solidFill>
                <a:srgbClr val="000000"/>
              </a:solidFill>
            </a:endParaRPr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altLang="en-US" dirty="0" smtClean="0"/>
              <a:t>Definition</a:t>
            </a:r>
          </a:p>
          <a:p>
            <a:pPr lvl="1">
              <a:buFont typeface="Wingdings" panose="05000000000000000000" pitchFamily="2" charset="2"/>
              <a:buNone/>
            </a:pPr>
            <a:r>
              <a:rPr lang="en-US" altLang="en-US" dirty="0" smtClean="0"/>
              <a:t>	Grouping unlabeled data into clusters, for the purpose of inference of hidden structures or information</a:t>
            </a:r>
          </a:p>
          <a:p>
            <a:pPr>
              <a:spcBef>
                <a:spcPts val="2400"/>
              </a:spcBef>
            </a:pPr>
            <a:r>
              <a:rPr lang="en-US" altLang="en-US" dirty="0" smtClean="0"/>
              <a:t>Dissimilarity measurement</a:t>
            </a:r>
          </a:p>
          <a:p>
            <a:pPr lvl="1"/>
            <a:r>
              <a:rPr lang="en-US" altLang="en-US" dirty="0" smtClean="0"/>
              <a:t>Distance : Euclidean(L</a:t>
            </a:r>
            <a:r>
              <a:rPr lang="en-US" altLang="en-US" baseline="-25000" dirty="0" smtClean="0"/>
              <a:t>2</a:t>
            </a:r>
            <a:r>
              <a:rPr lang="en-US" altLang="en-US" dirty="0" smtClean="0"/>
              <a:t>), Manhattan(L</a:t>
            </a:r>
            <a:r>
              <a:rPr lang="en-US" altLang="en-US" baseline="-25000" dirty="0" smtClean="0"/>
              <a:t>1</a:t>
            </a:r>
            <a:r>
              <a:rPr lang="en-US" altLang="en-US" dirty="0" smtClean="0"/>
              <a:t>), …</a:t>
            </a:r>
          </a:p>
          <a:p>
            <a:pPr lvl="1"/>
            <a:r>
              <a:rPr lang="en-US" altLang="en-US" dirty="0" smtClean="0"/>
              <a:t>Angle : Inner product, …</a:t>
            </a:r>
          </a:p>
          <a:p>
            <a:pPr lvl="1"/>
            <a:r>
              <a:rPr lang="en-US" altLang="en-US" dirty="0" smtClean="0"/>
              <a:t>Non-metric : Rank, Intensity, …</a:t>
            </a:r>
          </a:p>
          <a:p>
            <a:r>
              <a:rPr lang="en-US" altLang="en-US" dirty="0" smtClean="0"/>
              <a:t>Types of Clustering</a:t>
            </a:r>
          </a:p>
          <a:p>
            <a:pPr lvl="1"/>
            <a:r>
              <a:rPr lang="en-US" altLang="en-US" dirty="0" smtClean="0"/>
              <a:t>Hierarchical </a:t>
            </a:r>
          </a:p>
          <a:p>
            <a:pPr lvl="2"/>
            <a:r>
              <a:rPr lang="en-US" altLang="en-US" dirty="0" smtClean="0"/>
              <a:t>Agglomerative or divisive</a:t>
            </a:r>
          </a:p>
          <a:p>
            <a:pPr lvl="1"/>
            <a:r>
              <a:rPr lang="en-US" altLang="en-US" dirty="0" smtClean="0"/>
              <a:t>Partitioning</a:t>
            </a:r>
          </a:p>
          <a:p>
            <a:pPr lvl="2"/>
            <a:r>
              <a:rPr lang="en-US" altLang="en-US" dirty="0" smtClean="0"/>
              <a:t>K-means, VQ, MDS, …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9pPr>
          </a:lstStyle>
          <a:p>
            <a:fld id="{04604388-373C-47E4-A177-7680D4550A71}" type="slidenum">
              <a:rPr lang="en-US" altLang="en-US">
                <a:solidFill>
                  <a:srgbClr val="3F3F3F"/>
                </a:solidFill>
              </a:rPr>
              <a:pPr/>
              <a:t>51</a:t>
            </a:fld>
            <a:endParaRPr lang="en-US" altLang="en-US" dirty="0">
              <a:solidFill>
                <a:srgbClr val="3F3F3F"/>
              </a:solidFill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pPr fontAlgn="auto">
              <a:spcAft>
                <a:spcPts val="0"/>
              </a:spcAft>
              <a:defRPr/>
            </a:pPr>
            <a:r>
              <a:rPr lang="en-US" dirty="0" smtClean="0">
                <a:solidFill>
                  <a:schemeClr val="accent1">
                    <a:satMod val="150000"/>
                  </a:schemeClr>
                </a:solidFill>
              </a:rPr>
              <a:t>Clustering Analysis</a:t>
            </a:r>
            <a:endParaRPr lang="en-US" dirty="0">
              <a:solidFill>
                <a:schemeClr val="accent1">
                  <a:satMod val="150000"/>
                </a:schemeClr>
              </a:solidFill>
            </a:endParaRPr>
          </a:p>
        </p:txBody>
      </p:sp>
      <p:pic>
        <p:nvPicPr>
          <p:cNvPr id="15366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43625" y="4267200"/>
            <a:ext cx="2847975" cy="22336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5367" name="Picture 4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43625" y="2286000"/>
            <a:ext cx="2819400" cy="1774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368" name="TextBox 7"/>
          <p:cNvSpPr txBox="1">
            <a:spLocks noChangeArrowheads="1"/>
          </p:cNvSpPr>
          <p:nvPr/>
        </p:nvSpPr>
        <p:spPr bwMode="auto">
          <a:xfrm>
            <a:off x="7743825" y="6477000"/>
            <a:ext cx="1219200" cy="2460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9pPr>
          </a:lstStyle>
          <a:p>
            <a:pPr algn="r" eaLnBrk="1" hangingPunct="1"/>
            <a:r>
              <a:rPr lang="en-US" altLang="en-US" sz="1000">
                <a:solidFill>
                  <a:prstClr val="black"/>
                </a:solidFill>
                <a:cs typeface="Arial" panose="020B0604020202020204" pitchFamily="34" charset="0"/>
              </a:rPr>
              <a:t>(Matlab helppage)</a:t>
            </a:r>
          </a:p>
        </p:txBody>
      </p:sp>
    </p:spTree>
    <p:extLst>
      <p:ext uri="{BB962C8B-B14F-4D97-AF65-F5344CB8AC3E}">
        <p14:creationId xmlns:p14="http://schemas.microsoft.com/office/powerpoint/2010/main" val="15212601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6" name="Content Placeholder 1"/>
          <p:cNvSpPr>
            <a:spLocks noGrp="1"/>
          </p:cNvSpPr>
          <p:nvPr>
            <p:ph idx="1"/>
          </p:nvPr>
        </p:nvSpPr>
        <p:spPr>
          <a:xfrm>
            <a:off x="152400" y="685800"/>
            <a:ext cx="5562600" cy="6096000"/>
          </a:xfrm>
        </p:spPr>
        <p:txBody>
          <a:bodyPr/>
          <a:lstStyle/>
          <a:p>
            <a:r>
              <a:rPr lang="en-US" altLang="en-US" smtClean="0"/>
              <a:t>Find K partitions with the total intra-cluster variance minimized</a:t>
            </a:r>
          </a:p>
          <a:p>
            <a:pPr lvl="1"/>
            <a:endParaRPr lang="en-US" altLang="en-US" smtClean="0"/>
          </a:p>
          <a:p>
            <a:endParaRPr lang="en-US" altLang="en-US" smtClean="0"/>
          </a:p>
          <a:p>
            <a:r>
              <a:rPr lang="en-US" altLang="en-US" smtClean="0"/>
              <a:t>Iterative method </a:t>
            </a:r>
          </a:p>
          <a:p>
            <a:pPr lvl="1"/>
            <a:r>
              <a:rPr lang="en-US" altLang="en-US" smtClean="0"/>
              <a:t>Initialization : Randomized </a:t>
            </a:r>
            <a:r>
              <a:rPr lang="en-US" altLang="en-US" b="1" i="1" smtClean="0"/>
              <a:t>y</a:t>
            </a:r>
            <a:r>
              <a:rPr lang="en-US" altLang="en-US" baseline="-25000" smtClean="0"/>
              <a:t>i</a:t>
            </a:r>
          </a:p>
          <a:p>
            <a:pPr lvl="1"/>
            <a:r>
              <a:rPr lang="en-US" altLang="en-US" smtClean="0"/>
              <a:t>Assignment  of </a:t>
            </a:r>
            <a:r>
              <a:rPr lang="en-US" altLang="en-US" b="1" i="1" smtClean="0"/>
              <a:t>x </a:t>
            </a:r>
            <a:r>
              <a:rPr lang="en-US" altLang="en-US" smtClean="0"/>
              <a:t>(</a:t>
            </a:r>
            <a:r>
              <a:rPr lang="en-US" altLang="en-US" b="1" i="1" smtClean="0"/>
              <a:t>y</a:t>
            </a:r>
            <a:r>
              <a:rPr lang="en-US" altLang="en-US" baseline="-25000" smtClean="0"/>
              <a:t>i</a:t>
            </a:r>
            <a:r>
              <a:rPr lang="en-US" altLang="en-US" smtClean="0"/>
              <a:t> fixed)</a:t>
            </a:r>
          </a:p>
          <a:p>
            <a:pPr lvl="1"/>
            <a:r>
              <a:rPr lang="en-US" altLang="en-US" smtClean="0"/>
              <a:t>Update of </a:t>
            </a:r>
            <a:r>
              <a:rPr lang="en-US" altLang="en-US" b="1" i="1" smtClean="0"/>
              <a:t>y</a:t>
            </a:r>
            <a:r>
              <a:rPr lang="en-US" altLang="en-US" baseline="-25000" smtClean="0"/>
              <a:t>i </a:t>
            </a:r>
            <a:r>
              <a:rPr lang="en-US" altLang="en-US" smtClean="0"/>
              <a:t>(</a:t>
            </a:r>
            <a:r>
              <a:rPr lang="en-US" altLang="en-US" b="1" i="1" smtClean="0"/>
              <a:t>x</a:t>
            </a:r>
            <a:r>
              <a:rPr lang="en-US" altLang="en-US" smtClean="0"/>
              <a:t> fixed)</a:t>
            </a:r>
            <a:endParaRPr lang="en-US" altLang="en-US" baseline="-25000" smtClean="0"/>
          </a:p>
          <a:p>
            <a:endParaRPr lang="en-US" altLang="en-US" smtClean="0"/>
          </a:p>
          <a:p>
            <a:r>
              <a:rPr lang="en-US" altLang="en-US" smtClean="0"/>
              <a:t>Problem? </a:t>
            </a:r>
            <a:br>
              <a:rPr lang="en-US" altLang="en-US" smtClean="0"/>
            </a:br>
            <a:r>
              <a:rPr lang="en-US" altLang="en-US" smtClean="0">
                <a:sym typeface="Wingdings" panose="05000000000000000000" pitchFamily="2" charset="2"/>
              </a:rPr>
              <a:t> </a:t>
            </a:r>
            <a:r>
              <a:rPr lang="en-US" altLang="en-US" smtClean="0"/>
              <a:t>Trap in local minima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9pPr>
          </a:lstStyle>
          <a:p>
            <a:fld id="{1E7AD211-D129-4FCE-8750-5FBC3A8C7C72}" type="slidenum">
              <a:rPr lang="en-US" altLang="en-US">
                <a:solidFill>
                  <a:srgbClr val="3F3F3F"/>
                </a:solidFill>
              </a:rPr>
              <a:pPr/>
              <a:t>52</a:t>
            </a:fld>
            <a:endParaRPr lang="en-US" altLang="en-US">
              <a:solidFill>
                <a:srgbClr val="3F3F3F"/>
              </a:solidFill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pPr fontAlgn="auto">
              <a:spcAft>
                <a:spcPts val="0"/>
              </a:spcAft>
              <a:defRPr/>
            </a:pPr>
            <a:r>
              <a:rPr lang="en-US" dirty="0" smtClean="0">
                <a:solidFill>
                  <a:schemeClr val="accent1">
                    <a:satMod val="150000"/>
                  </a:schemeClr>
                </a:solidFill>
              </a:rPr>
              <a:t>K-Means</a:t>
            </a:r>
            <a:endParaRPr lang="en-US" dirty="0">
              <a:solidFill>
                <a:schemeClr val="accent1">
                  <a:satMod val="150000"/>
                </a:schemeClr>
              </a:solidFill>
            </a:endParaRPr>
          </a:p>
        </p:txBody>
      </p:sp>
      <p:pic>
        <p:nvPicPr>
          <p:cNvPr id="16389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16575" y="1839913"/>
            <a:ext cx="1622425" cy="4814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390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89800" y="1839913"/>
            <a:ext cx="1654175" cy="4810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Down Arrow 12"/>
          <p:cNvSpPr/>
          <p:nvPr/>
        </p:nvSpPr>
        <p:spPr>
          <a:xfrm>
            <a:off x="6073775" y="3330575"/>
            <a:ext cx="762000" cy="228600"/>
          </a:xfrm>
          <a:prstGeom prst="downArrow">
            <a:avLst/>
          </a:prstGeo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anchor="ctr"/>
          <a:lstStyle>
            <a:lvl1pPr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9pPr>
          </a:lstStyle>
          <a:p>
            <a:pPr algn="ctr" eaLnBrk="1" hangingPunct="1"/>
            <a:endParaRPr lang="en-US" altLang="en-US" sz="1800">
              <a:solidFill>
                <a:srgbClr val="000000"/>
              </a:solidFill>
            </a:endParaRPr>
          </a:p>
        </p:txBody>
      </p:sp>
      <p:sp>
        <p:nvSpPr>
          <p:cNvPr id="14" name="Down Arrow 13"/>
          <p:cNvSpPr/>
          <p:nvPr/>
        </p:nvSpPr>
        <p:spPr>
          <a:xfrm>
            <a:off x="6073775" y="4930775"/>
            <a:ext cx="762000" cy="228600"/>
          </a:xfrm>
          <a:prstGeom prst="downArrow">
            <a:avLst/>
          </a:prstGeo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anchor="ctr"/>
          <a:lstStyle>
            <a:lvl1pPr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9pPr>
          </a:lstStyle>
          <a:p>
            <a:pPr algn="ctr" eaLnBrk="1" hangingPunct="1"/>
            <a:endParaRPr lang="en-US" altLang="en-US" sz="1800">
              <a:solidFill>
                <a:srgbClr val="000000"/>
              </a:solidFill>
            </a:endParaRPr>
          </a:p>
        </p:txBody>
      </p:sp>
      <p:sp>
        <p:nvSpPr>
          <p:cNvPr id="15" name="Down Arrow 14"/>
          <p:cNvSpPr/>
          <p:nvPr/>
        </p:nvSpPr>
        <p:spPr>
          <a:xfrm>
            <a:off x="7800975" y="3330575"/>
            <a:ext cx="762000" cy="228600"/>
          </a:xfrm>
          <a:prstGeom prst="downArrow">
            <a:avLst/>
          </a:prstGeo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anchor="ctr"/>
          <a:lstStyle>
            <a:lvl1pPr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9pPr>
          </a:lstStyle>
          <a:p>
            <a:pPr algn="ctr" eaLnBrk="1" hangingPunct="1"/>
            <a:endParaRPr lang="en-US" altLang="en-US" sz="1800">
              <a:solidFill>
                <a:srgbClr val="000000"/>
              </a:solidFill>
            </a:endParaRPr>
          </a:p>
        </p:txBody>
      </p:sp>
      <p:sp>
        <p:nvSpPr>
          <p:cNvPr id="16" name="Down Arrow 15"/>
          <p:cNvSpPr/>
          <p:nvPr/>
        </p:nvSpPr>
        <p:spPr>
          <a:xfrm>
            <a:off x="7800975" y="4930775"/>
            <a:ext cx="762000" cy="228600"/>
          </a:xfrm>
          <a:prstGeom prst="downArrow">
            <a:avLst/>
          </a:prstGeo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anchor="ctr"/>
          <a:lstStyle>
            <a:lvl1pPr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9pPr>
          </a:lstStyle>
          <a:p>
            <a:pPr algn="ctr" eaLnBrk="1" hangingPunct="1"/>
            <a:endParaRPr lang="en-US" altLang="en-US" sz="1800">
              <a:solidFill>
                <a:srgbClr val="000000"/>
              </a:solidFill>
            </a:endParaRPr>
          </a:p>
        </p:txBody>
      </p:sp>
      <p:sp>
        <p:nvSpPr>
          <p:cNvPr id="16395" name="TextBox 11"/>
          <p:cNvSpPr txBox="1">
            <a:spLocks noChangeArrowheads="1"/>
          </p:cNvSpPr>
          <p:nvPr/>
        </p:nvSpPr>
        <p:spPr bwMode="auto">
          <a:xfrm>
            <a:off x="7772400" y="6611938"/>
            <a:ext cx="1219200" cy="2460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9pPr>
          </a:lstStyle>
          <a:p>
            <a:pPr algn="r" eaLnBrk="1" hangingPunct="1"/>
            <a:r>
              <a:rPr lang="en-US" altLang="en-US" sz="1000">
                <a:solidFill>
                  <a:prstClr val="black"/>
                </a:solidFill>
                <a:cs typeface="Arial" panose="020B0604020202020204" pitchFamily="34" charset="0"/>
              </a:rPr>
              <a:t>(MacKay, 2003)</a:t>
            </a:r>
          </a:p>
        </p:txBody>
      </p:sp>
      <p:pic>
        <p:nvPicPr>
          <p:cNvPr id="16396" name="Picture 2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77000" y="219075"/>
            <a:ext cx="1609725" cy="1533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5" name="Oval 24"/>
          <p:cNvSpPr/>
          <p:nvPr/>
        </p:nvSpPr>
        <p:spPr>
          <a:xfrm>
            <a:off x="6448425" y="1866900"/>
            <a:ext cx="152400" cy="152400"/>
          </a:xfrm>
          <a:prstGeom prst="ellipse">
            <a:avLst/>
          </a:prstGeom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anchor="ctr"/>
          <a:lstStyle>
            <a:lvl1pPr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9pPr>
          </a:lstStyle>
          <a:p>
            <a:pPr algn="ctr" eaLnBrk="1" hangingPunct="1"/>
            <a:endParaRPr lang="en-US" altLang="en-US" sz="1800">
              <a:solidFill>
                <a:srgbClr val="FFFFFF"/>
              </a:solidFill>
            </a:endParaRPr>
          </a:p>
        </p:txBody>
      </p:sp>
      <p:sp>
        <p:nvSpPr>
          <p:cNvPr id="26" name="Oval 25"/>
          <p:cNvSpPr/>
          <p:nvPr/>
        </p:nvSpPr>
        <p:spPr>
          <a:xfrm>
            <a:off x="5762625" y="2114550"/>
            <a:ext cx="152400" cy="152400"/>
          </a:xfrm>
          <a:prstGeom prst="ellipse">
            <a:avLst/>
          </a:prstGeom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anchor="ctr"/>
          <a:lstStyle>
            <a:lvl1pPr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9pPr>
          </a:lstStyle>
          <a:p>
            <a:pPr algn="ctr" eaLnBrk="1" hangingPunct="1"/>
            <a:endParaRPr lang="en-US" altLang="en-US" sz="1800">
              <a:solidFill>
                <a:srgbClr val="FFFFFF"/>
              </a:solidFill>
            </a:endParaRPr>
          </a:p>
        </p:txBody>
      </p:sp>
      <p:sp>
        <p:nvSpPr>
          <p:cNvPr id="27" name="Oval 26"/>
          <p:cNvSpPr/>
          <p:nvPr/>
        </p:nvSpPr>
        <p:spPr>
          <a:xfrm>
            <a:off x="6000750" y="2447925"/>
            <a:ext cx="152400" cy="152400"/>
          </a:xfrm>
          <a:prstGeom prst="ellipse">
            <a:avLst/>
          </a:prstGeom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anchor="ctr"/>
          <a:lstStyle>
            <a:lvl1pPr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9pPr>
          </a:lstStyle>
          <a:p>
            <a:pPr algn="ctr" eaLnBrk="1" hangingPunct="1"/>
            <a:endParaRPr lang="en-US" altLang="en-US" sz="1800">
              <a:solidFill>
                <a:srgbClr val="FFFFFF"/>
              </a:solidFill>
            </a:endParaRPr>
          </a:p>
        </p:txBody>
      </p:sp>
      <p:sp>
        <p:nvSpPr>
          <p:cNvPr id="28" name="Oval 27"/>
          <p:cNvSpPr/>
          <p:nvPr/>
        </p:nvSpPr>
        <p:spPr>
          <a:xfrm>
            <a:off x="6438900" y="2752725"/>
            <a:ext cx="152400" cy="152400"/>
          </a:xfrm>
          <a:prstGeom prst="ellipse">
            <a:avLst/>
          </a:prstGeom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anchor="ctr"/>
          <a:lstStyle>
            <a:lvl1pPr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9pPr>
          </a:lstStyle>
          <a:p>
            <a:pPr algn="ctr" eaLnBrk="1" hangingPunct="1"/>
            <a:endParaRPr lang="en-US" altLang="en-US" sz="1800">
              <a:solidFill>
                <a:srgbClr val="FFFFFF"/>
              </a:solidFill>
            </a:endParaRPr>
          </a:p>
        </p:txBody>
      </p:sp>
      <p:sp>
        <p:nvSpPr>
          <p:cNvPr id="29" name="Oval 28"/>
          <p:cNvSpPr/>
          <p:nvPr/>
        </p:nvSpPr>
        <p:spPr>
          <a:xfrm>
            <a:off x="6291263" y="3821113"/>
            <a:ext cx="152400" cy="152400"/>
          </a:xfrm>
          <a:prstGeom prst="ellipse">
            <a:avLst/>
          </a:prstGeom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anchor="ctr"/>
          <a:lstStyle>
            <a:lvl1pPr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9pPr>
          </a:lstStyle>
          <a:p>
            <a:pPr algn="ctr" eaLnBrk="1" hangingPunct="1"/>
            <a:endParaRPr lang="en-US" altLang="en-US" sz="1800">
              <a:solidFill>
                <a:srgbClr val="FFFFFF"/>
              </a:solidFill>
            </a:endParaRPr>
          </a:p>
        </p:txBody>
      </p:sp>
      <p:sp>
        <p:nvSpPr>
          <p:cNvPr id="30" name="Oval 29"/>
          <p:cNvSpPr/>
          <p:nvPr/>
        </p:nvSpPr>
        <p:spPr>
          <a:xfrm>
            <a:off x="5907088" y="3649663"/>
            <a:ext cx="152400" cy="152400"/>
          </a:xfrm>
          <a:prstGeom prst="ellipse">
            <a:avLst/>
          </a:prstGeom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anchor="ctr"/>
          <a:lstStyle>
            <a:lvl1pPr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9pPr>
          </a:lstStyle>
          <a:p>
            <a:pPr algn="ctr" eaLnBrk="1" hangingPunct="1"/>
            <a:endParaRPr lang="en-US" altLang="en-US" sz="1800">
              <a:solidFill>
                <a:srgbClr val="FFFFFF"/>
              </a:solidFill>
            </a:endParaRPr>
          </a:p>
        </p:txBody>
      </p:sp>
      <p:sp>
        <p:nvSpPr>
          <p:cNvPr id="31" name="Oval 30"/>
          <p:cNvSpPr/>
          <p:nvPr/>
        </p:nvSpPr>
        <p:spPr>
          <a:xfrm>
            <a:off x="6008688" y="4392613"/>
            <a:ext cx="152400" cy="152400"/>
          </a:xfrm>
          <a:prstGeom prst="ellipse">
            <a:avLst/>
          </a:prstGeom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anchor="ctr"/>
          <a:lstStyle>
            <a:lvl1pPr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9pPr>
          </a:lstStyle>
          <a:p>
            <a:pPr algn="ctr" eaLnBrk="1" hangingPunct="1"/>
            <a:endParaRPr lang="en-US" altLang="en-US" sz="1800">
              <a:solidFill>
                <a:srgbClr val="FFFFFF"/>
              </a:solidFill>
            </a:endParaRPr>
          </a:p>
        </p:txBody>
      </p:sp>
      <p:sp>
        <p:nvSpPr>
          <p:cNvPr id="32" name="Oval 31"/>
          <p:cNvSpPr/>
          <p:nvPr/>
        </p:nvSpPr>
        <p:spPr>
          <a:xfrm>
            <a:off x="6465888" y="4511675"/>
            <a:ext cx="152400" cy="152400"/>
          </a:xfrm>
          <a:prstGeom prst="ellipse">
            <a:avLst/>
          </a:prstGeom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anchor="ctr"/>
          <a:lstStyle>
            <a:lvl1pPr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9pPr>
          </a:lstStyle>
          <a:p>
            <a:pPr algn="ctr" eaLnBrk="1" hangingPunct="1"/>
            <a:endParaRPr lang="en-US" altLang="en-US" sz="1800">
              <a:solidFill>
                <a:srgbClr val="FFFFFF"/>
              </a:solidFill>
            </a:endParaRPr>
          </a:p>
        </p:txBody>
      </p:sp>
      <p:sp>
        <p:nvSpPr>
          <p:cNvPr id="33" name="Oval 32"/>
          <p:cNvSpPr/>
          <p:nvPr/>
        </p:nvSpPr>
        <p:spPr>
          <a:xfrm>
            <a:off x="5918200" y="5268913"/>
            <a:ext cx="152400" cy="152400"/>
          </a:xfrm>
          <a:prstGeom prst="ellipse">
            <a:avLst/>
          </a:prstGeom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anchor="ctr"/>
          <a:lstStyle>
            <a:lvl1pPr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9pPr>
          </a:lstStyle>
          <a:p>
            <a:pPr algn="ctr" eaLnBrk="1" hangingPunct="1"/>
            <a:endParaRPr lang="en-US" altLang="en-US" sz="1800">
              <a:solidFill>
                <a:srgbClr val="FFFFFF"/>
              </a:solidFill>
            </a:endParaRPr>
          </a:p>
        </p:txBody>
      </p:sp>
      <p:sp>
        <p:nvSpPr>
          <p:cNvPr id="34" name="Oval 33"/>
          <p:cNvSpPr/>
          <p:nvPr/>
        </p:nvSpPr>
        <p:spPr>
          <a:xfrm>
            <a:off x="6292850" y="5448300"/>
            <a:ext cx="152400" cy="152400"/>
          </a:xfrm>
          <a:prstGeom prst="ellipse">
            <a:avLst/>
          </a:prstGeom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anchor="ctr"/>
          <a:lstStyle>
            <a:lvl1pPr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9pPr>
          </a:lstStyle>
          <a:p>
            <a:pPr algn="ctr" eaLnBrk="1" hangingPunct="1"/>
            <a:endParaRPr lang="en-US" altLang="en-US" sz="1800">
              <a:solidFill>
                <a:srgbClr val="FFFFFF"/>
              </a:solidFill>
            </a:endParaRPr>
          </a:p>
        </p:txBody>
      </p:sp>
      <p:sp>
        <p:nvSpPr>
          <p:cNvPr id="35" name="Oval 34"/>
          <p:cNvSpPr/>
          <p:nvPr/>
        </p:nvSpPr>
        <p:spPr>
          <a:xfrm>
            <a:off x="6073775" y="6161088"/>
            <a:ext cx="152400" cy="152400"/>
          </a:xfrm>
          <a:prstGeom prst="ellipse">
            <a:avLst/>
          </a:prstGeom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anchor="ctr"/>
          <a:lstStyle>
            <a:lvl1pPr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9pPr>
          </a:lstStyle>
          <a:p>
            <a:pPr algn="ctr" eaLnBrk="1" hangingPunct="1"/>
            <a:endParaRPr lang="en-US" altLang="en-US" sz="1800">
              <a:solidFill>
                <a:srgbClr val="FFFFFF"/>
              </a:solidFill>
            </a:endParaRPr>
          </a:p>
        </p:txBody>
      </p:sp>
      <p:sp>
        <p:nvSpPr>
          <p:cNvPr id="36" name="Oval 35"/>
          <p:cNvSpPr/>
          <p:nvPr/>
        </p:nvSpPr>
        <p:spPr>
          <a:xfrm>
            <a:off x="6638925" y="6067425"/>
            <a:ext cx="152400" cy="152400"/>
          </a:xfrm>
          <a:prstGeom prst="ellipse">
            <a:avLst/>
          </a:prstGeom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anchor="ctr"/>
          <a:lstStyle>
            <a:lvl1pPr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9pPr>
          </a:lstStyle>
          <a:p>
            <a:pPr algn="ctr" eaLnBrk="1" hangingPunct="1"/>
            <a:endParaRPr lang="en-US" altLang="en-US" sz="1800">
              <a:solidFill>
                <a:srgbClr val="FFFFFF"/>
              </a:solidFill>
            </a:endParaRPr>
          </a:p>
        </p:txBody>
      </p:sp>
      <p:sp>
        <p:nvSpPr>
          <p:cNvPr id="37" name="Oval 36"/>
          <p:cNvSpPr/>
          <p:nvPr/>
        </p:nvSpPr>
        <p:spPr>
          <a:xfrm>
            <a:off x="7548563" y="1854200"/>
            <a:ext cx="152400" cy="152400"/>
          </a:xfrm>
          <a:prstGeom prst="ellipse">
            <a:avLst/>
          </a:prstGeom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anchor="ctr"/>
          <a:lstStyle>
            <a:lvl1pPr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9pPr>
          </a:lstStyle>
          <a:p>
            <a:pPr algn="ctr" eaLnBrk="1" hangingPunct="1"/>
            <a:endParaRPr lang="en-US" altLang="en-US" sz="1800">
              <a:solidFill>
                <a:srgbClr val="FFFFFF"/>
              </a:solidFill>
            </a:endParaRPr>
          </a:p>
        </p:txBody>
      </p:sp>
      <p:sp>
        <p:nvSpPr>
          <p:cNvPr id="38" name="Oval 37"/>
          <p:cNvSpPr/>
          <p:nvPr/>
        </p:nvSpPr>
        <p:spPr>
          <a:xfrm>
            <a:off x="7456488" y="1946275"/>
            <a:ext cx="152400" cy="152400"/>
          </a:xfrm>
          <a:prstGeom prst="ellipse">
            <a:avLst/>
          </a:prstGeom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anchor="ctr"/>
          <a:lstStyle>
            <a:lvl1pPr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9pPr>
          </a:lstStyle>
          <a:p>
            <a:pPr algn="ctr" eaLnBrk="1" hangingPunct="1"/>
            <a:endParaRPr lang="en-US" altLang="en-US" sz="1800">
              <a:solidFill>
                <a:srgbClr val="FFFFFF"/>
              </a:solidFill>
            </a:endParaRPr>
          </a:p>
        </p:txBody>
      </p:sp>
      <p:sp>
        <p:nvSpPr>
          <p:cNvPr id="39" name="Oval 38"/>
          <p:cNvSpPr/>
          <p:nvPr/>
        </p:nvSpPr>
        <p:spPr>
          <a:xfrm>
            <a:off x="7859713" y="2016125"/>
            <a:ext cx="152400" cy="152400"/>
          </a:xfrm>
          <a:prstGeom prst="ellipse">
            <a:avLst/>
          </a:prstGeom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anchor="ctr"/>
          <a:lstStyle>
            <a:lvl1pPr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9pPr>
          </a:lstStyle>
          <a:p>
            <a:pPr algn="ctr" eaLnBrk="1" hangingPunct="1"/>
            <a:endParaRPr lang="en-US" altLang="en-US" sz="1800">
              <a:solidFill>
                <a:srgbClr val="FFFFFF"/>
              </a:solidFill>
            </a:endParaRPr>
          </a:p>
        </p:txBody>
      </p:sp>
      <p:sp>
        <p:nvSpPr>
          <p:cNvPr id="40" name="Oval 39"/>
          <p:cNvSpPr/>
          <p:nvPr/>
        </p:nvSpPr>
        <p:spPr>
          <a:xfrm>
            <a:off x="8113713" y="2457450"/>
            <a:ext cx="152400" cy="152400"/>
          </a:xfrm>
          <a:prstGeom prst="ellipse">
            <a:avLst/>
          </a:prstGeom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anchor="ctr"/>
          <a:lstStyle>
            <a:lvl1pPr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9pPr>
          </a:lstStyle>
          <a:p>
            <a:pPr algn="ctr" eaLnBrk="1" hangingPunct="1"/>
            <a:endParaRPr lang="en-US" altLang="en-US" sz="1800">
              <a:solidFill>
                <a:srgbClr val="FFFFFF"/>
              </a:solidFill>
            </a:endParaRPr>
          </a:p>
        </p:txBody>
      </p:sp>
      <p:sp>
        <p:nvSpPr>
          <p:cNvPr id="41" name="Oval 40"/>
          <p:cNvSpPr/>
          <p:nvPr/>
        </p:nvSpPr>
        <p:spPr>
          <a:xfrm>
            <a:off x="7661275" y="3600450"/>
            <a:ext cx="152400" cy="152400"/>
          </a:xfrm>
          <a:prstGeom prst="ellipse">
            <a:avLst/>
          </a:prstGeom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anchor="ctr"/>
          <a:lstStyle>
            <a:lvl1pPr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9pPr>
          </a:lstStyle>
          <a:p>
            <a:pPr algn="ctr" eaLnBrk="1" hangingPunct="1"/>
            <a:endParaRPr lang="en-US" altLang="en-US" sz="1800">
              <a:solidFill>
                <a:srgbClr val="FFFFFF"/>
              </a:solidFill>
            </a:endParaRPr>
          </a:p>
        </p:txBody>
      </p:sp>
      <p:sp>
        <p:nvSpPr>
          <p:cNvPr id="42" name="Oval 41"/>
          <p:cNvSpPr/>
          <p:nvPr/>
        </p:nvSpPr>
        <p:spPr>
          <a:xfrm>
            <a:off x="7499350" y="3643313"/>
            <a:ext cx="152400" cy="152400"/>
          </a:xfrm>
          <a:prstGeom prst="ellipse">
            <a:avLst/>
          </a:prstGeom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anchor="ctr"/>
          <a:lstStyle>
            <a:lvl1pPr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9pPr>
          </a:lstStyle>
          <a:p>
            <a:pPr algn="ctr" eaLnBrk="1" hangingPunct="1"/>
            <a:endParaRPr lang="en-US" altLang="en-US" sz="1800">
              <a:solidFill>
                <a:srgbClr val="FFFFFF"/>
              </a:solidFill>
            </a:endParaRPr>
          </a:p>
        </p:txBody>
      </p:sp>
      <p:sp>
        <p:nvSpPr>
          <p:cNvPr id="43" name="Oval 42"/>
          <p:cNvSpPr/>
          <p:nvPr/>
        </p:nvSpPr>
        <p:spPr>
          <a:xfrm>
            <a:off x="7923213" y="3811588"/>
            <a:ext cx="152400" cy="152400"/>
          </a:xfrm>
          <a:prstGeom prst="ellipse">
            <a:avLst/>
          </a:prstGeom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anchor="ctr"/>
          <a:lstStyle>
            <a:lvl1pPr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9pPr>
          </a:lstStyle>
          <a:p>
            <a:pPr algn="ctr" eaLnBrk="1" hangingPunct="1"/>
            <a:endParaRPr lang="en-US" altLang="en-US" sz="1800">
              <a:solidFill>
                <a:srgbClr val="FFFFFF"/>
              </a:solidFill>
            </a:endParaRPr>
          </a:p>
        </p:txBody>
      </p:sp>
      <p:sp>
        <p:nvSpPr>
          <p:cNvPr id="44" name="Oval 43"/>
          <p:cNvSpPr/>
          <p:nvPr/>
        </p:nvSpPr>
        <p:spPr>
          <a:xfrm>
            <a:off x="8078788" y="4495800"/>
            <a:ext cx="152400" cy="152400"/>
          </a:xfrm>
          <a:prstGeom prst="ellipse">
            <a:avLst/>
          </a:prstGeom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anchor="ctr"/>
          <a:lstStyle>
            <a:lvl1pPr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9pPr>
          </a:lstStyle>
          <a:p>
            <a:pPr algn="ctr" eaLnBrk="1" hangingPunct="1"/>
            <a:endParaRPr lang="en-US" altLang="en-US" sz="1800">
              <a:solidFill>
                <a:srgbClr val="FFFFFF"/>
              </a:solidFill>
            </a:endParaRPr>
          </a:p>
        </p:txBody>
      </p:sp>
      <p:sp>
        <p:nvSpPr>
          <p:cNvPr id="45" name="Oval 44"/>
          <p:cNvSpPr/>
          <p:nvPr/>
        </p:nvSpPr>
        <p:spPr>
          <a:xfrm>
            <a:off x="7721600" y="5294313"/>
            <a:ext cx="152400" cy="152400"/>
          </a:xfrm>
          <a:prstGeom prst="ellipse">
            <a:avLst/>
          </a:prstGeom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anchor="ctr"/>
          <a:lstStyle>
            <a:lvl1pPr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9pPr>
          </a:lstStyle>
          <a:p>
            <a:pPr algn="ctr" eaLnBrk="1" hangingPunct="1"/>
            <a:endParaRPr lang="en-US" altLang="en-US" sz="1800">
              <a:solidFill>
                <a:srgbClr val="FFFFFF"/>
              </a:solidFill>
            </a:endParaRPr>
          </a:p>
        </p:txBody>
      </p:sp>
      <p:sp>
        <p:nvSpPr>
          <p:cNvPr id="46" name="Oval 45"/>
          <p:cNvSpPr/>
          <p:nvPr/>
        </p:nvSpPr>
        <p:spPr>
          <a:xfrm>
            <a:off x="7523163" y="5240338"/>
            <a:ext cx="152400" cy="152400"/>
          </a:xfrm>
          <a:prstGeom prst="ellipse">
            <a:avLst/>
          </a:prstGeom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anchor="ctr"/>
          <a:lstStyle>
            <a:lvl1pPr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9pPr>
          </a:lstStyle>
          <a:p>
            <a:pPr algn="ctr" eaLnBrk="1" hangingPunct="1"/>
            <a:endParaRPr lang="en-US" altLang="en-US" sz="1800">
              <a:solidFill>
                <a:srgbClr val="FFFFFF"/>
              </a:solidFill>
            </a:endParaRPr>
          </a:p>
        </p:txBody>
      </p:sp>
      <p:sp>
        <p:nvSpPr>
          <p:cNvPr id="47" name="Oval 46"/>
          <p:cNvSpPr/>
          <p:nvPr/>
        </p:nvSpPr>
        <p:spPr>
          <a:xfrm>
            <a:off x="7975600" y="5437188"/>
            <a:ext cx="152400" cy="152400"/>
          </a:xfrm>
          <a:prstGeom prst="ellipse">
            <a:avLst/>
          </a:prstGeom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anchor="ctr"/>
          <a:lstStyle>
            <a:lvl1pPr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9pPr>
          </a:lstStyle>
          <a:p>
            <a:pPr algn="ctr" eaLnBrk="1" hangingPunct="1"/>
            <a:endParaRPr lang="en-US" altLang="en-US" sz="1800">
              <a:solidFill>
                <a:srgbClr val="FFFFFF"/>
              </a:solidFill>
            </a:endParaRPr>
          </a:p>
        </p:txBody>
      </p:sp>
      <p:sp>
        <p:nvSpPr>
          <p:cNvPr id="48" name="Oval 47"/>
          <p:cNvSpPr/>
          <p:nvPr/>
        </p:nvSpPr>
        <p:spPr>
          <a:xfrm>
            <a:off x="8072438" y="6121400"/>
            <a:ext cx="152400" cy="152400"/>
          </a:xfrm>
          <a:prstGeom prst="ellipse">
            <a:avLst/>
          </a:prstGeom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anchor="ctr"/>
          <a:lstStyle>
            <a:lvl1pPr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9pPr>
          </a:lstStyle>
          <a:p>
            <a:pPr algn="ctr" eaLnBrk="1" hangingPunct="1"/>
            <a:endParaRPr lang="en-US" altLang="en-US" sz="1800">
              <a:solidFill>
                <a:srgbClr val="FFFFFF"/>
              </a:solidFill>
            </a:endParaRPr>
          </a:p>
        </p:txBody>
      </p:sp>
      <p:pic>
        <p:nvPicPr>
          <p:cNvPr id="16421" name="Picture 50" descr="tmp.bmp"/>
          <p:cNvPicPr>
            <a:picLocks/>
          </p:cNvPicPr>
          <p:nvPr>
            <p:custDataLst>
              <p:tags r:id="rId1"/>
            </p:custDataLst>
          </p:nvPr>
        </p:nvPicPr>
        <p:blipFill>
          <a:blip r:embed="rId6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2500" y="1676400"/>
            <a:ext cx="2514600" cy="825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5746428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602" name="Picture 2" descr="C:\Users\hays\Desktop\143 Computer Vision\slides\07\machine_learning_spectrum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8313" y="368300"/>
            <a:ext cx="7951787" cy="5638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Frame 1"/>
          <p:cNvSpPr/>
          <p:nvPr/>
        </p:nvSpPr>
        <p:spPr>
          <a:xfrm>
            <a:off x="5040052" y="4149080"/>
            <a:ext cx="2851150" cy="1222375"/>
          </a:xfrm>
          <a:prstGeom prst="fram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spcBef>
                <a:spcPct val="20000"/>
              </a:spcBef>
              <a:buClr>
                <a:srgbClr val="4F81BD"/>
              </a:buClr>
              <a:buSzPct val="65000"/>
              <a:buFont typeface="Wingdings" panose="05000000000000000000" pitchFamily="2" charset="2"/>
              <a:buChar char="n"/>
              <a:defRPr/>
            </a:pPr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05776665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685800" y="1219200"/>
            <a:ext cx="8305800" cy="1295400"/>
          </a:xfrm>
          <a:prstGeom prst="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anchor="ctr"/>
          <a:lstStyle>
            <a:lvl1pPr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9pPr>
          </a:lstStyle>
          <a:p>
            <a:pPr algn="ctr" eaLnBrk="1" hangingPunct="1"/>
            <a:endParaRPr lang="en-US" altLang="en-US" sz="1800">
              <a:solidFill>
                <a:srgbClr val="000000"/>
              </a:solidFill>
            </a:endParaRPr>
          </a:p>
        </p:txBody>
      </p:sp>
      <p:sp>
        <p:nvSpPr>
          <p:cNvPr id="19459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altLang="en-US" dirty="0" smtClean="0"/>
              <a:t>Definition</a:t>
            </a:r>
          </a:p>
          <a:p>
            <a:pPr lvl="1">
              <a:buFont typeface="Wingdings" panose="05000000000000000000" pitchFamily="2" charset="2"/>
              <a:buNone/>
            </a:pPr>
            <a:r>
              <a:rPr lang="en-US" altLang="en-US" dirty="0" smtClean="0"/>
              <a:t>	Process to transform high-dimensional data into low-dimensional ones for improving accuracy, understanding, or removing noises. </a:t>
            </a:r>
          </a:p>
          <a:p>
            <a:pPr>
              <a:spcBef>
                <a:spcPts val="2400"/>
              </a:spcBef>
            </a:pPr>
            <a:r>
              <a:rPr lang="en-US" altLang="en-US" dirty="0" smtClean="0"/>
              <a:t>Curse of dimensionality</a:t>
            </a:r>
          </a:p>
          <a:p>
            <a:pPr lvl="1"/>
            <a:r>
              <a:rPr lang="en-US" altLang="en-US" dirty="0" smtClean="0"/>
              <a:t>Complexity grows exponentially </a:t>
            </a:r>
            <a:br>
              <a:rPr lang="en-US" altLang="en-US" dirty="0" smtClean="0"/>
            </a:br>
            <a:r>
              <a:rPr lang="en-US" altLang="en-US" dirty="0" smtClean="0"/>
              <a:t>in volume by adding extra </a:t>
            </a:r>
            <a:br>
              <a:rPr lang="en-US" altLang="en-US" dirty="0" smtClean="0"/>
            </a:br>
            <a:r>
              <a:rPr lang="en-US" altLang="en-US" dirty="0" smtClean="0"/>
              <a:t>dimensions</a:t>
            </a:r>
          </a:p>
          <a:p>
            <a:r>
              <a:rPr lang="en-US" altLang="en-US" dirty="0" smtClean="0"/>
              <a:t>Types</a:t>
            </a:r>
          </a:p>
          <a:p>
            <a:pPr lvl="1"/>
            <a:r>
              <a:rPr lang="en-US" altLang="en-US" dirty="0" smtClean="0"/>
              <a:t>Feature selection : Choose representatives (e.g., filter,…)</a:t>
            </a:r>
          </a:p>
          <a:p>
            <a:pPr lvl="1"/>
            <a:r>
              <a:rPr lang="en-US" altLang="en-US" dirty="0" smtClean="0"/>
              <a:t>Feature extraction : Map to lower dim. (e.g., PCA, MDS, … )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9pPr>
          </a:lstStyle>
          <a:p>
            <a:fld id="{A4EC3A50-F763-4F31-BFA7-4FD28FDE4D2B}" type="slidenum">
              <a:rPr lang="en-US" altLang="en-US">
                <a:solidFill>
                  <a:srgbClr val="3F3F3F"/>
                </a:solidFill>
              </a:rPr>
              <a:pPr/>
              <a:t>54</a:t>
            </a:fld>
            <a:endParaRPr lang="en-US" altLang="en-US">
              <a:solidFill>
                <a:srgbClr val="3F3F3F"/>
              </a:solidFill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pPr fontAlgn="auto">
              <a:spcAft>
                <a:spcPts val="0"/>
              </a:spcAft>
              <a:defRPr/>
            </a:pPr>
            <a:r>
              <a:rPr lang="en-US" dirty="0" smtClean="0">
                <a:solidFill>
                  <a:schemeClr val="accent1">
                    <a:satMod val="150000"/>
                  </a:schemeClr>
                </a:solidFill>
              </a:rPr>
              <a:t>Dimension Reduction</a:t>
            </a:r>
            <a:endParaRPr lang="en-US" dirty="0">
              <a:solidFill>
                <a:schemeClr val="accent1">
                  <a:satMod val="1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949672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9133609" cy="6156304"/>
          </a:xfrm>
          <a:prstGeom prst="rect">
            <a:avLst/>
          </a:prstGeom>
        </p:spPr>
      </p:pic>
      <p:pic>
        <p:nvPicPr>
          <p:cNvPr id="166916" name="Picture 4" descr="Image result for pca vs lda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31459" y="4568883"/>
            <a:ext cx="2987824" cy="22786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extBox 1"/>
          <p:cNvSpPr txBox="1"/>
          <p:nvPr/>
        </p:nvSpPr>
        <p:spPr>
          <a:xfrm>
            <a:off x="1271028" y="6336271"/>
            <a:ext cx="4876528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1" dirty="0" smtClean="0">
                <a:solidFill>
                  <a:srgbClr val="C00000"/>
                </a:solidFill>
              </a:rPr>
              <a:t>However, it is different from the supervised LDA</a:t>
            </a:r>
            <a:endParaRPr lang="en-US" sz="1600" b="1" dirty="0">
              <a:solidFill>
                <a:srgbClr val="C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4028404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69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1669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1669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0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altLang="en-US" smtClean="0"/>
              <a:t>Dimension reduction preserving distance proximities observed in original data set</a:t>
            </a:r>
          </a:p>
          <a:p>
            <a:r>
              <a:rPr lang="en-US" altLang="en-US" smtClean="0"/>
              <a:t>Loss functions </a:t>
            </a:r>
          </a:p>
          <a:p>
            <a:pPr lvl="1"/>
            <a:r>
              <a:rPr lang="en-US" altLang="en-US" smtClean="0"/>
              <a:t>Inner product</a:t>
            </a:r>
          </a:p>
          <a:p>
            <a:pPr lvl="1"/>
            <a:r>
              <a:rPr lang="en-US" altLang="en-US" smtClean="0"/>
              <a:t>Distance</a:t>
            </a:r>
          </a:p>
          <a:p>
            <a:pPr lvl="1"/>
            <a:r>
              <a:rPr lang="en-US" altLang="en-US" smtClean="0"/>
              <a:t>Squared distance </a:t>
            </a:r>
          </a:p>
          <a:p>
            <a:endParaRPr lang="en-US" altLang="en-US" smtClean="0"/>
          </a:p>
          <a:p>
            <a:r>
              <a:rPr lang="en-US" altLang="en-US" smtClean="0"/>
              <a:t>Classical MDS: minimizing STRAIN, given </a:t>
            </a:r>
            <a:r>
              <a:rPr lang="en-US" altLang="en-US" smtClean="0">
                <a:sym typeface="Symbol" panose="05050102010706020507" pitchFamily="18" charset="2"/>
              </a:rPr>
              <a:t></a:t>
            </a:r>
            <a:endParaRPr lang="en-US" altLang="en-US" smtClean="0"/>
          </a:p>
          <a:p>
            <a:pPr lvl="1"/>
            <a:r>
              <a:rPr lang="en-US" altLang="en-US" smtClean="0"/>
              <a:t>From </a:t>
            </a:r>
            <a:r>
              <a:rPr lang="en-US" altLang="en-US" smtClean="0">
                <a:sym typeface="Symbol" panose="05050102010706020507" pitchFamily="18" charset="2"/>
              </a:rPr>
              <a:t></a:t>
            </a:r>
            <a:r>
              <a:rPr lang="en-US" altLang="en-US" smtClean="0"/>
              <a:t>, find inner product matrix B (Double centering)</a:t>
            </a:r>
          </a:p>
          <a:p>
            <a:pPr lvl="1"/>
            <a:endParaRPr lang="en-US" altLang="en-US" smtClean="0"/>
          </a:p>
          <a:p>
            <a:pPr lvl="1"/>
            <a:r>
              <a:rPr lang="en-US" altLang="en-US" smtClean="0"/>
              <a:t>From B, recover the coordinates X’ (i.e., B=X’X’</a:t>
            </a:r>
            <a:r>
              <a:rPr lang="en-US" altLang="en-US" baseline="30000" smtClean="0"/>
              <a:t>T</a:t>
            </a:r>
            <a:r>
              <a:rPr lang="en-US" altLang="en-US" smtClean="0"/>
              <a:t> )</a:t>
            </a:r>
          </a:p>
        </p:txBody>
      </p:sp>
      <p:sp>
        <p:nvSpPr>
          <p:cNvPr id="34" name="Rectangle 33"/>
          <p:cNvSpPr/>
          <p:nvPr/>
        </p:nvSpPr>
        <p:spPr>
          <a:xfrm>
            <a:off x="4206875" y="1905000"/>
            <a:ext cx="4632325" cy="2133600"/>
          </a:xfrm>
          <a:prstGeom prst="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anchor="ctr"/>
          <a:lstStyle>
            <a:lvl1pPr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9pPr>
          </a:lstStyle>
          <a:p>
            <a:pPr algn="ctr" eaLnBrk="1" hangingPunct="1"/>
            <a:endParaRPr lang="en-US" altLang="en-US" sz="1800">
              <a:solidFill>
                <a:srgbClr val="000000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9pPr>
          </a:lstStyle>
          <a:p>
            <a:fld id="{5D3E3A4D-C50C-4344-B16C-6E8E70A81689}" type="slidenum">
              <a:rPr lang="en-US" altLang="en-US">
                <a:solidFill>
                  <a:srgbClr val="3F3F3F"/>
                </a:solidFill>
              </a:rPr>
              <a:pPr/>
              <a:t>56</a:t>
            </a:fld>
            <a:endParaRPr lang="en-US" altLang="en-US">
              <a:solidFill>
                <a:srgbClr val="3F3F3F"/>
              </a:solidFill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pPr fontAlgn="auto">
              <a:spcAft>
                <a:spcPts val="0"/>
              </a:spcAft>
              <a:defRPr/>
            </a:pPr>
            <a:r>
              <a:rPr lang="en-US" dirty="0" smtClean="0">
                <a:solidFill>
                  <a:schemeClr val="accent1">
                    <a:satMod val="150000"/>
                  </a:schemeClr>
                </a:solidFill>
              </a:rPr>
              <a:t>Multi-Dimensional Scaling (MDS)</a:t>
            </a:r>
            <a:endParaRPr lang="en-US" dirty="0">
              <a:solidFill>
                <a:schemeClr val="accent1">
                  <a:satMod val="150000"/>
                </a:schemeClr>
              </a:solidFill>
            </a:endParaRPr>
          </a:p>
        </p:txBody>
      </p:sp>
      <p:pic>
        <p:nvPicPr>
          <p:cNvPr id="22534" name="Picture 15" descr="tmp.bmp"/>
          <p:cNvPicPr>
            <a:picLocks/>
          </p:cNvPicPr>
          <p:nvPr>
            <p:custDataLst>
              <p:tags r:id="rId1"/>
            </p:custDataLst>
          </p:nvPr>
        </p:nvPicPr>
        <p:blipFill>
          <a:blip r:embed="rId6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19200" y="6032500"/>
            <a:ext cx="3111500" cy="292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2535" name="Picture 16" descr="tmp.bmp"/>
          <p:cNvPicPr>
            <a:picLocks/>
          </p:cNvPicPr>
          <p:nvPr>
            <p:custDataLst>
              <p:tags r:id="rId2"/>
            </p:custDataLst>
          </p:nvPr>
        </p:nvPicPr>
        <p:blipFill>
          <a:blip r:embed="rId7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59275" y="2057400"/>
            <a:ext cx="4368800" cy="1930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2536" name="Picture 22" descr="tmp.bmp"/>
          <p:cNvPicPr>
            <a:picLocks/>
          </p:cNvPicPr>
          <p:nvPr>
            <p:custDataLst>
              <p:tags r:id="rId3"/>
            </p:custDataLst>
          </p:nvPr>
        </p:nvPicPr>
        <p:blipFill>
          <a:blip r:embed="rId8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19200" y="5143500"/>
            <a:ext cx="4394200" cy="342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1121853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9C9827-7C55-42C3-B86C-1E7204BA9330}" type="slidenum">
              <a:rPr lang="en-US" altLang="en-US" smtClean="0"/>
              <a:pPr/>
              <a:t>57</a:t>
            </a:fld>
            <a:endParaRPr lang="en-US" altLang="en-US"/>
          </a:p>
        </p:txBody>
      </p:sp>
      <p:pic>
        <p:nvPicPr>
          <p:cNvPr id="5" name="Picture 2" descr="Related image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7544" y="670630"/>
            <a:ext cx="7884876" cy="59136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Box 5"/>
          <p:cNvSpPr txBox="1"/>
          <p:nvPr/>
        </p:nvSpPr>
        <p:spPr>
          <a:xfrm>
            <a:off x="143508" y="116632"/>
            <a:ext cx="4841005" cy="5539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A third type of Learning: R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496494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9C9827-7C55-42C3-B86C-1E7204BA9330}" type="slidenum">
              <a:rPr lang="en-US" altLang="en-US" smtClean="0"/>
              <a:pPr/>
              <a:t>58</a:t>
            </a:fld>
            <a:endParaRPr lang="en-US" altLang="en-US"/>
          </a:p>
        </p:txBody>
      </p:sp>
      <p:sp>
        <p:nvSpPr>
          <p:cNvPr id="6" name="AutoShape 4" descr="https://qph.fs.quoracdn.net/main-qimg-b135e50fd568eac846f112ee8a0a1bbc.webp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167942" name="Picture 6" descr="https://qph.fs.quoracdn.net/main-qimg-6d11ea3585a94dc452a0d7ad24021658-c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9592" y="1109899"/>
            <a:ext cx="7815450" cy="55806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extBox 6"/>
          <p:cNvSpPr txBox="1"/>
          <p:nvPr/>
        </p:nvSpPr>
        <p:spPr>
          <a:xfrm>
            <a:off x="151619" y="131458"/>
            <a:ext cx="4924746" cy="5539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The fundamental idea of R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262273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>
          <a:xfrm>
            <a:off x="611560" y="440668"/>
            <a:ext cx="8142101" cy="5539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 smtClean="0">
                <a:solidFill>
                  <a:srgbClr val="C00000"/>
                </a:solidFill>
              </a:rPr>
              <a:t>Machine Learning : Some Recent Advances</a:t>
            </a:r>
            <a:endParaRPr lang="en-US" b="1" dirty="0">
              <a:solidFill>
                <a:srgbClr val="C00000"/>
              </a:solidFill>
            </a:endParaRPr>
          </a:p>
        </p:txBody>
      </p:sp>
      <p:pic>
        <p:nvPicPr>
          <p:cNvPr id="66562" name="Picture 2" descr="Related image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1580" y="1700808"/>
            <a:ext cx="7500832" cy="4500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2010507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317702" y="0"/>
            <a:ext cx="7162800" cy="847493"/>
          </a:xfrm>
        </p:spPr>
        <p:txBody>
          <a:bodyPr/>
          <a:lstStyle/>
          <a:p>
            <a:r>
              <a:rPr lang="en-US" dirty="0" smtClean="0"/>
              <a:t>What is Machine Learning?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50AAFB8-5791-4396-BD6E-1E3E331645F6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6</a:t>
            </a:fld>
            <a:endParaRPr lang="en-US">
              <a:solidFill>
                <a:srgbClr val="000000"/>
              </a:solidFill>
            </a:endParaRPr>
          </a:p>
        </p:txBody>
      </p:sp>
      <p:pic>
        <p:nvPicPr>
          <p:cNvPr id="405506" name="Picture 2" descr="Image result for what is machine learnin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583668" y="2377817"/>
            <a:ext cx="5973575" cy="4480183"/>
          </a:xfrm>
          <a:prstGeom prst="rect">
            <a:avLst/>
          </a:prstGeom>
          <a:noFill/>
        </p:spPr>
      </p:pic>
      <p:sp>
        <p:nvSpPr>
          <p:cNvPr id="6" name="Rectangle 5"/>
          <p:cNvSpPr/>
          <p:nvPr/>
        </p:nvSpPr>
        <p:spPr>
          <a:xfrm>
            <a:off x="211871" y="1143000"/>
            <a:ext cx="8547411" cy="14773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457200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sz="1800" b="1" dirty="0">
                <a:solidFill>
                  <a:srgbClr val="C00000"/>
                </a:solidFill>
                <a:latin typeface="Tahoma"/>
              </a:rPr>
              <a:t>Machine learning</a:t>
            </a:r>
            <a:r>
              <a:rPr lang="en-US" sz="1800" dirty="0">
                <a:solidFill>
                  <a:srgbClr val="000000"/>
                </a:solidFill>
                <a:latin typeface="Tahoma"/>
              </a:rPr>
              <a:t> is a field of computer science that uses statistical techniques to give computer systems the ability to "learn" (i.e., progressively improve performance on a specific task) with data, without being explicitly programmed. </a:t>
            </a:r>
          </a:p>
          <a:p>
            <a:pPr defTabSz="457200" eaLnBrk="1" fontAlgn="auto" hangingPunct="1">
              <a:spcBef>
                <a:spcPts val="0"/>
              </a:spcBef>
              <a:spcAft>
                <a:spcPts val="0"/>
              </a:spcAft>
            </a:pPr>
            <a:endParaRPr lang="en-US" sz="1800" dirty="0">
              <a:solidFill>
                <a:srgbClr val="000000"/>
              </a:solidFill>
              <a:latin typeface="Tahoma"/>
            </a:endParaRPr>
          </a:p>
          <a:p>
            <a:pPr defTabSz="457200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sz="1800" dirty="0">
                <a:solidFill>
                  <a:srgbClr val="000000"/>
                </a:solidFill>
                <a:latin typeface="Tahoma"/>
              </a:rPr>
              <a:t>The name machine learning was coined in 1959 by Arthur Samuel.     </a:t>
            </a:r>
            <a:r>
              <a:rPr lang="en-US" sz="1800" dirty="0">
                <a:solidFill>
                  <a:srgbClr val="0021E8"/>
                </a:solidFill>
                <a:latin typeface="Tahoma"/>
              </a:rPr>
              <a:t>- Wikipedia</a:t>
            </a:r>
          </a:p>
        </p:txBody>
      </p:sp>
    </p:spTree>
    <p:extLst>
      <p:ext uri="{BB962C8B-B14F-4D97-AF65-F5344CB8AC3E}">
        <p14:creationId xmlns:p14="http://schemas.microsoft.com/office/powerpoint/2010/main" val="193005442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550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7" dur="500"/>
                                        <p:tgtEl>
                                          <p:spTgt spid="40550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434808" y="898777"/>
            <a:ext cx="8250928" cy="14773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sz="1800" dirty="0">
                <a:solidFill>
                  <a:srgbClr val="000000"/>
                </a:solidFill>
                <a:latin typeface="Arial"/>
              </a:rPr>
              <a:t>A machine learning subfield </a:t>
            </a:r>
            <a:r>
              <a:rPr lang="en-US" sz="1800" dirty="0" smtClean="0">
                <a:solidFill>
                  <a:srgbClr val="000000"/>
                </a:solidFill>
                <a:latin typeface="Arial"/>
              </a:rPr>
              <a:t>is the </a:t>
            </a:r>
            <a:r>
              <a:rPr lang="en-US" sz="1800" dirty="0">
                <a:solidFill>
                  <a:srgbClr val="000000"/>
                </a:solidFill>
                <a:latin typeface="Arial"/>
              </a:rPr>
              <a:t>learning </a:t>
            </a:r>
            <a:r>
              <a:rPr lang="en-US" sz="1800" dirty="0" smtClean="0">
                <a:solidFill>
                  <a:srgbClr val="000000"/>
                </a:solidFill>
                <a:latin typeface="Arial"/>
              </a:rPr>
              <a:t>of </a:t>
            </a:r>
            <a:r>
              <a:rPr lang="en-US" sz="1800" b="1" dirty="0" smtClean="0">
                <a:solidFill>
                  <a:srgbClr val="E68230"/>
                </a:solidFill>
                <a:latin typeface="Arial"/>
              </a:rPr>
              <a:t>representations</a:t>
            </a:r>
            <a:r>
              <a:rPr lang="en-US" sz="1800" dirty="0" smtClean="0">
                <a:solidFill>
                  <a:srgbClr val="E68230"/>
                </a:solidFill>
                <a:latin typeface="Arial"/>
              </a:rPr>
              <a:t> </a:t>
            </a:r>
            <a:r>
              <a:rPr lang="en-US" sz="1800" dirty="0" smtClean="0">
                <a:solidFill>
                  <a:srgbClr val="000000"/>
                </a:solidFill>
                <a:latin typeface="Arial"/>
              </a:rPr>
              <a:t>in </a:t>
            </a:r>
            <a:r>
              <a:rPr lang="en-US" sz="1800" dirty="0">
                <a:solidFill>
                  <a:srgbClr val="000000"/>
                </a:solidFill>
                <a:latin typeface="Arial"/>
              </a:rPr>
              <a:t>data. </a:t>
            </a:r>
            <a:endParaRPr lang="en-US" sz="1800" dirty="0" smtClean="0">
              <a:solidFill>
                <a:srgbClr val="000000"/>
              </a:solidFill>
              <a:latin typeface="Arial"/>
            </a:endParaRPr>
          </a:p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sz="1800" dirty="0" smtClean="0">
                <a:solidFill>
                  <a:srgbClr val="000000"/>
                </a:solidFill>
                <a:latin typeface="Arial"/>
              </a:rPr>
              <a:t>Deep </a:t>
            </a:r>
            <a:r>
              <a:rPr lang="en-US" sz="1800" dirty="0">
                <a:solidFill>
                  <a:srgbClr val="000000"/>
                </a:solidFill>
                <a:latin typeface="Arial"/>
              </a:rPr>
              <a:t>learning algorithms attempt to learn (multiple levels of) representation by using a </a:t>
            </a:r>
            <a:r>
              <a:rPr lang="en-US" sz="1800" b="1" dirty="0">
                <a:solidFill>
                  <a:srgbClr val="E68230"/>
                </a:solidFill>
                <a:latin typeface="Arial"/>
              </a:rPr>
              <a:t>hierarchy of multiple </a:t>
            </a:r>
            <a:r>
              <a:rPr lang="en-US" sz="1800" b="1" dirty="0" smtClean="0">
                <a:solidFill>
                  <a:srgbClr val="E68230"/>
                </a:solidFill>
                <a:latin typeface="Arial"/>
              </a:rPr>
              <a:t>layers.</a:t>
            </a:r>
            <a:endParaRPr lang="en-US" sz="1800" b="1" dirty="0">
              <a:solidFill>
                <a:srgbClr val="E68230"/>
              </a:solidFill>
              <a:latin typeface="Arial"/>
            </a:endParaRPr>
          </a:p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sz="1800" dirty="0">
                <a:solidFill>
                  <a:srgbClr val="000000"/>
                </a:solidFill>
                <a:latin typeface="Arial"/>
              </a:rPr>
              <a:t>If you provide the system </a:t>
            </a:r>
            <a:r>
              <a:rPr lang="en-US" sz="1800" b="1" dirty="0">
                <a:solidFill>
                  <a:srgbClr val="E68230"/>
                </a:solidFill>
                <a:latin typeface="Arial"/>
              </a:rPr>
              <a:t>tons of information</a:t>
            </a:r>
            <a:r>
              <a:rPr lang="en-US" sz="1800" dirty="0">
                <a:solidFill>
                  <a:srgbClr val="000000"/>
                </a:solidFill>
                <a:latin typeface="Arial"/>
              </a:rPr>
              <a:t>, it begins to understand it and respond in useful ways.</a:t>
            </a:r>
          </a:p>
        </p:txBody>
      </p:sp>
      <p:sp>
        <p:nvSpPr>
          <p:cNvPr id="12" name="Title 1"/>
          <p:cNvSpPr txBox="1">
            <a:spLocks/>
          </p:cNvSpPr>
          <p:nvPr/>
        </p:nvSpPr>
        <p:spPr>
          <a:xfrm>
            <a:off x="539552" y="80628"/>
            <a:ext cx="8041440" cy="61814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800" kern="120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pPr fontAlgn="auto">
              <a:spcAft>
                <a:spcPts val="0"/>
              </a:spcAft>
            </a:pPr>
            <a:r>
              <a:rPr lang="en-US" dirty="0" smtClean="0">
                <a:solidFill>
                  <a:srgbClr val="000000">
                    <a:lumMod val="85000"/>
                    <a:lumOff val="15000"/>
                  </a:srgbClr>
                </a:solidFill>
              </a:rPr>
              <a:t>What is Deep Learning </a:t>
            </a:r>
            <a:r>
              <a:rPr lang="en-US" sz="4000" dirty="0" smtClean="0">
                <a:solidFill>
                  <a:srgbClr val="000000">
                    <a:lumMod val="85000"/>
                    <a:lumOff val="15000"/>
                  </a:srgbClr>
                </a:solidFill>
              </a:rPr>
              <a:t>(DL) </a:t>
            </a:r>
            <a:r>
              <a:rPr lang="en-US" dirty="0" smtClean="0">
                <a:solidFill>
                  <a:srgbClr val="000000">
                    <a:lumMod val="85000"/>
                    <a:lumOff val="15000"/>
                  </a:srgbClr>
                </a:solidFill>
              </a:rPr>
              <a:t>? </a:t>
            </a:r>
            <a:endParaRPr lang="en-US" dirty="0">
              <a:solidFill>
                <a:srgbClr val="000000">
                  <a:lumMod val="85000"/>
                  <a:lumOff val="15000"/>
                </a:srgbClr>
              </a:solidFill>
            </a:endParaRPr>
          </a:p>
        </p:txBody>
      </p:sp>
      <p:pic>
        <p:nvPicPr>
          <p:cNvPr id="14" name="Picture 13" descr="machine-learning-vs-deep-learning.pn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5596" y="2653104"/>
            <a:ext cx="7380820" cy="3599880"/>
          </a:xfrm>
          <a:prstGeom prst="rect">
            <a:avLst/>
          </a:prstGeom>
        </p:spPr>
      </p:pic>
      <p:sp>
        <p:nvSpPr>
          <p:cNvPr id="2" name="Ορθογώνιο 1"/>
          <p:cNvSpPr/>
          <p:nvPr/>
        </p:nvSpPr>
        <p:spPr>
          <a:xfrm>
            <a:off x="2051720" y="6525344"/>
            <a:ext cx="7598497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sz="1200" i="1" dirty="0">
                <a:solidFill>
                  <a:srgbClr val="000000"/>
                </a:solidFill>
                <a:latin typeface="Arial"/>
              </a:rPr>
              <a:t>https://</a:t>
            </a:r>
            <a:r>
              <a:rPr lang="en-US" sz="1200" i="1" dirty="0" err="1">
                <a:solidFill>
                  <a:srgbClr val="000000"/>
                </a:solidFill>
                <a:latin typeface="Arial"/>
              </a:rPr>
              <a:t>www.xenonstack.com</a:t>
            </a:r>
            <a:r>
              <a:rPr lang="en-US" sz="1200" i="1" dirty="0">
                <a:solidFill>
                  <a:srgbClr val="000000"/>
                </a:solidFill>
                <a:latin typeface="Arial"/>
              </a:rPr>
              <a:t>/blog/static/public/uploads/media/machine-learning-vs-deep-</a:t>
            </a:r>
            <a:r>
              <a:rPr lang="en-US" sz="1200" i="1" dirty="0" err="1">
                <a:solidFill>
                  <a:srgbClr val="000000"/>
                </a:solidFill>
                <a:latin typeface="Arial"/>
              </a:rPr>
              <a:t>learning.png</a:t>
            </a:r>
            <a:endParaRPr lang="en-US" sz="1200" i="1" dirty="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27748720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09600" y="152400"/>
            <a:ext cx="7924800" cy="63317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286051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0080" y="14826"/>
            <a:ext cx="8548577" cy="742913"/>
          </a:xfrm>
        </p:spPr>
        <p:txBody>
          <a:bodyPr/>
          <a:lstStyle/>
          <a:p>
            <a:r>
              <a:rPr lang="en-US" sz="3600" b="1" dirty="0" smtClean="0"/>
              <a:t>Developments in Neural Learning Systems</a:t>
            </a:r>
            <a:endParaRPr lang="en-US" sz="3600" b="1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9D3AC3A4-A827-4FE8-9ABD-FFBE5D96B8FE}" type="slidenum">
              <a:rPr lang="en-US" altLang="en-US">
                <a:solidFill>
                  <a:srgbClr val="000000"/>
                </a:solidFill>
              </a:rPr>
              <a:pPr>
                <a:defRPr/>
              </a:pPr>
              <a:t>62</a:t>
            </a:fld>
            <a:endParaRPr lang="en-US" altLang="en-US">
              <a:solidFill>
                <a:srgbClr val="000000"/>
              </a:solidFill>
            </a:endParaRPr>
          </a:p>
        </p:txBody>
      </p:sp>
      <p:pic>
        <p:nvPicPr>
          <p:cNvPr id="329730" name="Picture 2" descr="Timeline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215780" y="690892"/>
            <a:ext cx="8623005" cy="5424004"/>
          </a:xfrm>
          <a:prstGeom prst="rect">
            <a:avLst/>
          </a:prstGeom>
          <a:noFill/>
        </p:spPr>
      </p:pic>
      <p:sp>
        <p:nvSpPr>
          <p:cNvPr id="3" name="Rectangle 2"/>
          <p:cNvSpPr/>
          <p:nvPr/>
        </p:nvSpPr>
        <p:spPr>
          <a:xfrm>
            <a:off x="233916" y="6501123"/>
            <a:ext cx="8718698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100" dirty="0">
                <a:solidFill>
                  <a:schemeClr val="bg1">
                    <a:lumMod val="65000"/>
                  </a:schemeClr>
                </a:solidFill>
              </a:rPr>
              <a:t>https://www.slideshare.net/barbarafusinska/networks-are-like-onions-practical-deep-learning-with-tensorflow</a:t>
            </a:r>
          </a:p>
        </p:txBody>
      </p:sp>
    </p:spTree>
    <p:extLst>
      <p:ext uri="{BB962C8B-B14F-4D97-AF65-F5344CB8AC3E}">
        <p14:creationId xmlns:p14="http://schemas.microsoft.com/office/powerpoint/2010/main" val="295488028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9D3AC3A4-A827-4FE8-9ABD-FFBE5D96B8FE}" type="slidenum">
              <a:rPr lang="en-US" altLang="en-US">
                <a:solidFill>
                  <a:srgbClr val="000000"/>
                </a:solidFill>
              </a:rPr>
              <a:pPr>
                <a:defRPr/>
              </a:pPr>
              <a:t>63</a:t>
            </a:fld>
            <a:endParaRPr lang="en-US" altLang="en-US">
              <a:solidFill>
                <a:srgbClr val="000000"/>
              </a:solidFill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3200400" y="457200"/>
            <a:ext cx="2386102" cy="646331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none" rtlCol="0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sz="1800" b="1" dirty="0">
                <a:solidFill>
                  <a:srgbClr val="C00000"/>
                </a:solidFill>
                <a:latin typeface="Arial"/>
              </a:rPr>
              <a:t>Two deep inference </a:t>
            </a:r>
          </a:p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sz="1800" b="1" dirty="0">
                <a:solidFill>
                  <a:srgbClr val="C00000"/>
                </a:solidFill>
                <a:latin typeface="Arial"/>
              </a:rPr>
              <a:t>models</a:t>
            </a:r>
          </a:p>
        </p:txBody>
      </p:sp>
      <p:cxnSp>
        <p:nvCxnSpPr>
          <p:cNvPr id="11" name="Straight Arrow Connector 10"/>
          <p:cNvCxnSpPr>
            <a:stCxn id="6" idx="2"/>
          </p:cNvCxnSpPr>
          <p:nvPr/>
        </p:nvCxnSpPr>
        <p:spPr bwMode="auto">
          <a:xfrm flipH="1">
            <a:off x="2590800" y="1103531"/>
            <a:ext cx="1802651" cy="1106269"/>
          </a:xfrm>
          <a:prstGeom prst="straightConnector1">
            <a:avLst/>
          </a:prstGeom>
          <a:noFill/>
          <a:ln w="254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13" name="Straight Arrow Connector 12"/>
          <p:cNvCxnSpPr/>
          <p:nvPr/>
        </p:nvCxnSpPr>
        <p:spPr bwMode="auto">
          <a:xfrm>
            <a:off x="4393451" y="1103531"/>
            <a:ext cx="1550149" cy="1106269"/>
          </a:xfrm>
          <a:prstGeom prst="straightConnector1">
            <a:avLst/>
          </a:prstGeom>
          <a:noFill/>
          <a:ln w="254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16" name="TextBox 15"/>
          <p:cNvSpPr txBox="1"/>
          <p:nvPr/>
        </p:nvSpPr>
        <p:spPr>
          <a:xfrm>
            <a:off x="1828800" y="2286000"/>
            <a:ext cx="128753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sz="1800" b="1" dirty="0">
                <a:solidFill>
                  <a:srgbClr val="0033CC"/>
                </a:solidFill>
                <a:latin typeface="Arial"/>
              </a:rPr>
              <a:t>Predictive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5410200" y="2209800"/>
            <a:ext cx="137730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sz="1800" b="1" dirty="0">
                <a:solidFill>
                  <a:srgbClr val="0033CC"/>
                </a:solidFill>
                <a:latin typeface="Arial"/>
              </a:rPr>
              <a:t>Generative</a:t>
            </a:r>
          </a:p>
        </p:txBody>
      </p:sp>
      <p:sp>
        <p:nvSpPr>
          <p:cNvPr id="18" name="Down Arrow 17"/>
          <p:cNvSpPr/>
          <p:nvPr/>
        </p:nvSpPr>
        <p:spPr bwMode="auto">
          <a:xfrm>
            <a:off x="2397970" y="2655332"/>
            <a:ext cx="194434" cy="533400"/>
          </a:xfrm>
          <a:prstGeom prst="downArrow">
            <a:avLst/>
          </a:prstGeom>
          <a:solidFill>
            <a:srgbClr val="C00000"/>
          </a:solidFill>
          <a:ln w="222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342900" indent="-342900" eaLnBrk="1" hangingPunct="1">
              <a:spcBef>
                <a:spcPct val="20000"/>
              </a:spcBef>
              <a:buClr>
                <a:srgbClr val="CC9900"/>
              </a:buClr>
              <a:buSzPct val="65000"/>
              <a:buFont typeface="Wingdings" pitchFamily="-110" charset="2"/>
              <a:buChar char="n"/>
            </a:pPr>
            <a:endParaRPr lang="en-US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19" name="Down Arrow 18"/>
          <p:cNvSpPr/>
          <p:nvPr/>
        </p:nvSpPr>
        <p:spPr bwMode="auto">
          <a:xfrm>
            <a:off x="6098850" y="2655332"/>
            <a:ext cx="194434" cy="533400"/>
          </a:xfrm>
          <a:prstGeom prst="downArrow">
            <a:avLst/>
          </a:prstGeom>
          <a:solidFill>
            <a:srgbClr val="C00000"/>
          </a:solidFill>
          <a:ln w="222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342900" indent="-342900" eaLnBrk="1" hangingPunct="1">
              <a:spcBef>
                <a:spcPct val="20000"/>
              </a:spcBef>
              <a:buClr>
                <a:srgbClr val="CC9900"/>
              </a:buClr>
              <a:buSzPct val="65000"/>
              <a:buFont typeface="Wingdings" pitchFamily="-110" charset="2"/>
              <a:buChar char="n"/>
            </a:pPr>
            <a:endParaRPr lang="en-US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766754" y="3289920"/>
            <a:ext cx="3262432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sz="1800" dirty="0">
                <a:solidFill>
                  <a:srgbClr val="000000"/>
                </a:solidFill>
                <a:latin typeface="Arial"/>
              </a:rPr>
              <a:t>Predict the category/class of</a:t>
            </a:r>
          </a:p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sz="1800" dirty="0">
                <a:solidFill>
                  <a:srgbClr val="000000"/>
                </a:solidFill>
                <a:latin typeface="Arial"/>
              </a:rPr>
              <a:t>an object by learning a model </a:t>
            </a:r>
          </a:p>
        </p:txBody>
      </p:sp>
      <p:sp>
        <p:nvSpPr>
          <p:cNvPr id="21" name="TextBox 20"/>
          <p:cNvSpPr txBox="1"/>
          <p:nvPr/>
        </p:nvSpPr>
        <p:spPr>
          <a:xfrm>
            <a:off x="4588559" y="3197587"/>
            <a:ext cx="3929281" cy="147732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sz="1800" dirty="0">
                <a:solidFill>
                  <a:srgbClr val="000000"/>
                </a:solidFill>
                <a:latin typeface="Arial"/>
              </a:rPr>
              <a:t>Generate a new object that closely </a:t>
            </a:r>
          </a:p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sz="1800" dirty="0">
                <a:solidFill>
                  <a:srgbClr val="000000"/>
                </a:solidFill>
                <a:latin typeface="Arial"/>
              </a:rPr>
              <a:t>matches to those in a limited training</a:t>
            </a:r>
          </a:p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sz="1800" dirty="0">
                <a:solidFill>
                  <a:srgbClr val="000000"/>
                </a:solidFill>
                <a:latin typeface="Arial"/>
              </a:rPr>
              <a:t>set by closely approximating the</a:t>
            </a:r>
          </a:p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sz="1800" dirty="0">
                <a:solidFill>
                  <a:srgbClr val="000000"/>
                </a:solidFill>
                <a:latin typeface="Arial"/>
              </a:rPr>
              <a:t>underlying (but unknown) probability</a:t>
            </a:r>
          </a:p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sz="1800" dirty="0">
                <a:solidFill>
                  <a:srgbClr val="000000"/>
                </a:solidFill>
                <a:latin typeface="Arial"/>
              </a:rPr>
              <a:t>distribution of the set of objects.</a:t>
            </a:r>
          </a:p>
        </p:txBody>
      </p:sp>
      <p:sp>
        <p:nvSpPr>
          <p:cNvPr id="22" name="Down Arrow 21"/>
          <p:cNvSpPr/>
          <p:nvPr/>
        </p:nvSpPr>
        <p:spPr bwMode="auto">
          <a:xfrm>
            <a:off x="2396366" y="4133889"/>
            <a:ext cx="194434" cy="533400"/>
          </a:xfrm>
          <a:prstGeom prst="downArrow">
            <a:avLst/>
          </a:prstGeom>
          <a:solidFill>
            <a:srgbClr val="C00000"/>
          </a:solidFill>
          <a:ln w="222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342900" indent="-342900" eaLnBrk="1" hangingPunct="1">
              <a:spcBef>
                <a:spcPct val="20000"/>
              </a:spcBef>
              <a:buClr>
                <a:srgbClr val="CC9900"/>
              </a:buClr>
              <a:buSzPct val="65000"/>
              <a:buFont typeface="Wingdings" pitchFamily="-110" charset="2"/>
              <a:buChar char="n"/>
            </a:pPr>
            <a:endParaRPr lang="en-US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23" name="TextBox 22"/>
          <p:cNvSpPr txBox="1"/>
          <p:nvPr/>
        </p:nvSpPr>
        <p:spPr>
          <a:xfrm>
            <a:off x="1735437" y="4864927"/>
            <a:ext cx="177484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sz="1800" b="1" dirty="0">
                <a:solidFill>
                  <a:srgbClr val="0033CC"/>
                </a:solidFill>
                <a:latin typeface="Arial"/>
              </a:rPr>
              <a:t>Example: CNN</a:t>
            </a:r>
          </a:p>
        </p:txBody>
      </p:sp>
      <p:sp>
        <p:nvSpPr>
          <p:cNvPr id="24" name="TextBox 23"/>
          <p:cNvSpPr txBox="1"/>
          <p:nvPr/>
        </p:nvSpPr>
        <p:spPr>
          <a:xfrm>
            <a:off x="5410200" y="4808830"/>
            <a:ext cx="178766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sz="1800" b="1" dirty="0">
                <a:solidFill>
                  <a:srgbClr val="0033CC"/>
                </a:solidFill>
                <a:latin typeface="Arial"/>
              </a:rPr>
              <a:t>Example: GAN</a:t>
            </a:r>
          </a:p>
        </p:txBody>
      </p:sp>
    </p:spTree>
    <p:extLst>
      <p:ext uri="{BB962C8B-B14F-4D97-AF65-F5344CB8AC3E}">
        <p14:creationId xmlns:p14="http://schemas.microsoft.com/office/powerpoint/2010/main" val="666703898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200" dirty="0" smtClean="0"/>
              <a:t>The 2012 Breakthrough in Predictive Learning….</a:t>
            </a:r>
            <a:endParaRPr lang="en-US" sz="32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600201"/>
            <a:ext cx="8229600" cy="2663456"/>
          </a:xfrm>
        </p:spPr>
        <p:txBody>
          <a:bodyPr/>
          <a:lstStyle/>
          <a:p>
            <a:pPr algn="just"/>
            <a:r>
              <a:rPr lang="en-US" sz="2400" dirty="0" smtClean="0"/>
              <a:t>A </a:t>
            </a:r>
            <a:r>
              <a:rPr lang="en-US" sz="2400" dirty="0" err="1" smtClean="0"/>
              <a:t>Krizhevsky</a:t>
            </a:r>
            <a:r>
              <a:rPr lang="en-US" sz="2400" dirty="0" smtClean="0"/>
              <a:t>, I </a:t>
            </a:r>
            <a:r>
              <a:rPr lang="en-US" sz="2400" dirty="0" err="1" smtClean="0"/>
              <a:t>Sutskever</a:t>
            </a:r>
            <a:r>
              <a:rPr lang="en-US" sz="2400" dirty="0" smtClean="0"/>
              <a:t>, and GE Hinton, “</a:t>
            </a:r>
            <a:r>
              <a:rPr lang="en-US" sz="2400" b="1" dirty="0" err="1" smtClean="0">
                <a:solidFill>
                  <a:srgbClr val="C00000"/>
                </a:solidFill>
              </a:rPr>
              <a:t>Imagenet</a:t>
            </a:r>
            <a:r>
              <a:rPr lang="en-US" sz="2400" b="1" dirty="0" smtClean="0">
                <a:solidFill>
                  <a:srgbClr val="C00000"/>
                </a:solidFill>
              </a:rPr>
              <a:t> classification with deep </a:t>
            </a:r>
            <a:r>
              <a:rPr lang="en-US" sz="2400" b="1" dirty="0" err="1" smtClean="0">
                <a:solidFill>
                  <a:srgbClr val="C00000"/>
                </a:solidFill>
              </a:rPr>
              <a:t>convolutional</a:t>
            </a:r>
            <a:r>
              <a:rPr lang="en-US" sz="2400" b="1" dirty="0" smtClean="0">
                <a:solidFill>
                  <a:srgbClr val="C00000"/>
                </a:solidFill>
              </a:rPr>
              <a:t> neural networks</a:t>
            </a:r>
            <a:r>
              <a:rPr lang="en-US" sz="2400" dirty="0" smtClean="0"/>
              <a:t>”, Advances in neural information processing systems (</a:t>
            </a:r>
            <a:r>
              <a:rPr lang="en-US" sz="2400" b="1" i="1" dirty="0" smtClean="0">
                <a:solidFill>
                  <a:srgbClr val="0000FF"/>
                </a:solidFill>
              </a:rPr>
              <a:t>NIPS 2012</a:t>
            </a:r>
            <a:r>
              <a:rPr lang="en-US" sz="2400" dirty="0" smtClean="0"/>
              <a:t>), 1097-1105</a:t>
            </a:r>
            <a:endParaRPr lang="en-US" sz="240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9D3AC3A4-A827-4FE8-9ABD-FFBE5D96B8FE}" type="slidenum">
              <a:rPr lang="en-US" altLang="en-US">
                <a:solidFill>
                  <a:srgbClr val="000000"/>
                </a:solidFill>
              </a:rPr>
              <a:pPr>
                <a:defRPr/>
              </a:pPr>
              <a:t>64</a:t>
            </a:fld>
            <a:endParaRPr lang="en-US" altLang="en-US">
              <a:solidFill>
                <a:srgbClr val="000000"/>
              </a:solidFill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4720855" y="3327990"/>
            <a:ext cx="353814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sz="1800" b="1" dirty="0">
                <a:solidFill>
                  <a:srgbClr val="0000FF"/>
                </a:solidFill>
                <a:latin typeface="Arial"/>
              </a:rPr>
              <a:t>Has 32,000+ citations by now!!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1520456" y="4561367"/>
            <a:ext cx="6173485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sz="1800" dirty="0">
                <a:solidFill>
                  <a:srgbClr val="000000"/>
                </a:solidFill>
                <a:latin typeface="Arial"/>
              </a:rPr>
              <a:t>Reduced the error rate on </a:t>
            </a:r>
            <a:r>
              <a:rPr lang="en-US" sz="1800" b="1" i="1" dirty="0" err="1">
                <a:solidFill>
                  <a:srgbClr val="0000FF"/>
                </a:solidFill>
                <a:latin typeface="Arial"/>
              </a:rPr>
              <a:t>imagenet</a:t>
            </a:r>
            <a:r>
              <a:rPr lang="en-US" sz="1800" dirty="0">
                <a:solidFill>
                  <a:srgbClr val="000000"/>
                </a:solidFill>
                <a:latin typeface="Arial"/>
              </a:rPr>
              <a:t> under LSVRC to 16%</a:t>
            </a:r>
          </a:p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endParaRPr lang="en-US" sz="1800" dirty="0">
              <a:solidFill>
                <a:srgbClr val="000000"/>
              </a:solidFill>
              <a:latin typeface="Arial"/>
            </a:endParaRPr>
          </a:p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sz="1800" dirty="0">
                <a:solidFill>
                  <a:srgbClr val="000000"/>
                </a:solidFill>
                <a:latin typeface="Arial"/>
              </a:rPr>
              <a:t>Later evolved into </a:t>
            </a:r>
            <a:r>
              <a:rPr lang="en-US" sz="1800" b="1" i="1" dirty="0" err="1">
                <a:solidFill>
                  <a:srgbClr val="0000FF"/>
                </a:solidFill>
                <a:latin typeface="Arial"/>
              </a:rPr>
              <a:t>Alexnet</a:t>
            </a:r>
            <a:r>
              <a:rPr lang="en-US" sz="1800" dirty="0">
                <a:solidFill>
                  <a:srgbClr val="000000"/>
                </a:solidFill>
                <a:latin typeface="Arial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41494627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381000" y="152400"/>
            <a:ext cx="7886700" cy="1325563"/>
          </a:xfrm>
        </p:spPr>
        <p:txBody>
          <a:bodyPr/>
          <a:lstStyle/>
          <a:p>
            <a:r>
              <a:rPr lang="en-US" altLang="zh-TW" sz="3200" b="1" dirty="0" smtClean="0"/>
              <a:t>Deep Learning:  Acknowledging Some Resources used here…</a:t>
            </a:r>
            <a:endParaRPr lang="zh-TW" altLang="en-US" sz="3200" b="1" dirty="0"/>
          </a:p>
        </p:txBody>
      </p:sp>
      <p:sp>
        <p:nvSpPr>
          <p:cNvPr id="3" name="內容版面配置區 2"/>
          <p:cNvSpPr>
            <a:spLocks noGrp="1"/>
          </p:cNvSpPr>
          <p:nvPr>
            <p:ph idx="1"/>
          </p:nvPr>
        </p:nvSpPr>
        <p:spPr>
          <a:xfrm>
            <a:off x="417634" y="1466898"/>
            <a:ext cx="7886700" cy="4865461"/>
          </a:xfrm>
        </p:spPr>
        <p:txBody>
          <a:bodyPr/>
          <a:lstStyle/>
          <a:p>
            <a:r>
              <a:rPr lang="en-US" altLang="zh-TW" sz="2400" dirty="0" smtClean="0"/>
              <a:t>“Neural </a:t>
            </a:r>
            <a:r>
              <a:rPr lang="en-US" altLang="zh-TW" sz="2400" dirty="0"/>
              <a:t>Networks and Deep </a:t>
            </a:r>
            <a:r>
              <a:rPr lang="en-US" altLang="zh-TW" sz="2400" dirty="0" smtClean="0"/>
              <a:t>Learning”</a:t>
            </a:r>
          </a:p>
          <a:p>
            <a:pPr lvl="1"/>
            <a:r>
              <a:rPr lang="en-US" altLang="zh-TW" sz="2400" dirty="0"/>
              <a:t>w</a:t>
            </a:r>
            <a:r>
              <a:rPr lang="en-US" altLang="zh-TW" sz="2400" dirty="0" smtClean="0"/>
              <a:t>ritten by </a:t>
            </a:r>
            <a:r>
              <a:rPr lang="en-US" altLang="zh-TW" sz="2400" dirty="0"/>
              <a:t>Michael Nielsen</a:t>
            </a:r>
          </a:p>
          <a:p>
            <a:pPr lvl="1"/>
            <a:r>
              <a:rPr lang="en-US" altLang="zh-TW" sz="2400" dirty="0" smtClean="0"/>
              <a:t>http</a:t>
            </a:r>
            <a:r>
              <a:rPr lang="en-US" altLang="zh-TW" sz="2400" dirty="0"/>
              <a:t>://neuralnetworksanddeeplearning.com</a:t>
            </a:r>
            <a:r>
              <a:rPr lang="en-US" altLang="zh-TW" sz="2400" dirty="0" smtClean="0"/>
              <a:t>/</a:t>
            </a:r>
          </a:p>
          <a:p>
            <a:r>
              <a:rPr lang="en-US" altLang="zh-TW" sz="2400" dirty="0" smtClean="0"/>
              <a:t>“Deep Learning”</a:t>
            </a:r>
          </a:p>
          <a:p>
            <a:pPr lvl="1"/>
            <a:r>
              <a:rPr lang="en-US" altLang="zh-TW" sz="2400" dirty="0" smtClean="0"/>
              <a:t>Written by </a:t>
            </a:r>
            <a:r>
              <a:rPr lang="zh-TW" altLang="zh-TW" sz="2400" dirty="0" smtClean="0"/>
              <a:t>Ian </a:t>
            </a:r>
            <a:r>
              <a:rPr lang="zh-TW" altLang="zh-TW" sz="2400" dirty="0"/>
              <a:t>J. </a:t>
            </a:r>
            <a:r>
              <a:rPr lang="zh-TW" altLang="zh-TW" sz="2400" dirty="0" smtClean="0"/>
              <a:t>Goodfellow</a:t>
            </a:r>
            <a:r>
              <a:rPr lang="en-US" altLang="zh-TW" sz="2400" dirty="0" smtClean="0"/>
              <a:t>, </a:t>
            </a:r>
            <a:r>
              <a:rPr lang="zh-TW" altLang="zh-TW" sz="2400" dirty="0" smtClean="0"/>
              <a:t>Yoshua Bengio</a:t>
            </a:r>
            <a:r>
              <a:rPr lang="en-US" altLang="zh-TW" sz="2400" dirty="0" smtClean="0"/>
              <a:t>,</a:t>
            </a:r>
            <a:r>
              <a:rPr lang="zh-TW" altLang="zh-TW" sz="2400" dirty="0" smtClean="0"/>
              <a:t> </a:t>
            </a:r>
            <a:r>
              <a:rPr lang="zh-TW" altLang="zh-TW" sz="2400" dirty="0"/>
              <a:t>and Aaron Courville </a:t>
            </a:r>
            <a:endParaRPr lang="en-US" altLang="zh-TW" sz="2400" dirty="0"/>
          </a:p>
          <a:p>
            <a:pPr lvl="1"/>
            <a:r>
              <a:rPr lang="en-US" altLang="zh-TW" sz="2400" dirty="0">
                <a:hlinkClick r:id="rId2"/>
              </a:rPr>
              <a:t>http://www.iro.umontreal.ca/~bengioy/dlbook</a:t>
            </a:r>
            <a:r>
              <a:rPr lang="en-US" altLang="zh-TW" sz="2400" dirty="0" smtClean="0">
                <a:hlinkClick r:id="rId2"/>
              </a:rPr>
              <a:t>/</a:t>
            </a:r>
            <a:endParaRPr lang="en-US" altLang="zh-TW" sz="2400" dirty="0" smtClean="0"/>
          </a:p>
          <a:p>
            <a:pPr lvl="1">
              <a:buBlip>
                <a:blip r:embed="rId3"/>
              </a:buBlip>
            </a:pPr>
            <a:r>
              <a:rPr lang="en-US" sz="2400" dirty="0" smtClean="0"/>
              <a:t>Deep Learning Tutorial. Hung-</a:t>
            </a:r>
            <a:r>
              <a:rPr lang="en-US" sz="2400" dirty="0" err="1" smtClean="0"/>
              <a:t>yi</a:t>
            </a:r>
            <a:r>
              <a:rPr lang="en-US" sz="2400" dirty="0" smtClean="0"/>
              <a:t> Lee, NTU.</a:t>
            </a:r>
          </a:p>
          <a:p>
            <a:pPr lvl="1">
              <a:buBlip>
                <a:blip r:embed="rId3"/>
              </a:buBlip>
            </a:pPr>
            <a:r>
              <a:rPr lang="en-US" sz="2400" dirty="0">
                <a:hlinkClick r:id="rId4"/>
              </a:rPr>
              <a:t>Brandon Rohrer on </a:t>
            </a:r>
            <a:r>
              <a:rPr lang="en-US" sz="2400" dirty="0" smtClean="0">
                <a:hlinkClick r:id="rId4"/>
              </a:rPr>
              <a:t>LinkedIn</a:t>
            </a:r>
            <a:endParaRPr lang="en-US" sz="2400" dirty="0" smtClean="0"/>
          </a:p>
          <a:p>
            <a:pPr lvl="1">
              <a:buBlip>
                <a:blip r:embed="rId3"/>
              </a:buBlip>
            </a:pPr>
            <a:r>
              <a:rPr lang="en-US" sz="2400" dirty="0" smtClean="0"/>
              <a:t>Roger Grosse, </a:t>
            </a:r>
            <a:r>
              <a:rPr lang="en-US" sz="2400" dirty="0" err="1" smtClean="0"/>
              <a:t>CycleGAN</a:t>
            </a:r>
            <a:endParaRPr lang="en-US" sz="2400" dirty="0"/>
          </a:p>
          <a:p>
            <a:pPr lvl="1">
              <a:buBlip>
                <a:blip r:embed="rId3"/>
              </a:buBlip>
            </a:pPr>
            <a:endParaRPr lang="en-US" altLang="zh-TW" sz="2400" dirty="0" smtClean="0"/>
          </a:p>
          <a:p>
            <a:pPr lvl="1"/>
            <a:endParaRPr lang="en-US" altLang="zh-TW" sz="2800" dirty="0" smtClean="0"/>
          </a:p>
          <a:p>
            <a:pPr lvl="1"/>
            <a:endParaRPr lang="en-US" altLang="zh-TW" sz="2800" dirty="0" smtClean="0"/>
          </a:p>
        </p:txBody>
      </p:sp>
    </p:spTree>
    <p:extLst>
      <p:ext uri="{BB962C8B-B14F-4D97-AF65-F5344CB8AC3E}">
        <p14:creationId xmlns:p14="http://schemas.microsoft.com/office/powerpoint/2010/main" val="14268244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ctrTitle"/>
          </p:nvPr>
        </p:nvSpPr>
        <p:spPr>
          <a:xfrm>
            <a:off x="685800" y="1295400"/>
            <a:ext cx="7772400" cy="1233500"/>
          </a:xfrm>
        </p:spPr>
        <p:txBody>
          <a:bodyPr>
            <a:normAutofit/>
          </a:bodyPr>
          <a:lstStyle/>
          <a:p>
            <a:r>
              <a:rPr lang="en-US" altLang="zh-TW" dirty="0" smtClean="0">
                <a:solidFill>
                  <a:srgbClr val="0000FF"/>
                </a:solidFill>
              </a:rPr>
              <a:t>Deep Learning </a:t>
            </a:r>
            <a:endParaRPr lang="zh-TW" altLang="en-US" dirty="0">
              <a:solidFill>
                <a:srgbClr val="0000FF"/>
              </a:solidFill>
            </a:endParaRPr>
          </a:p>
        </p:txBody>
      </p:sp>
      <p:sp>
        <p:nvSpPr>
          <p:cNvPr id="3" name="矩形 2"/>
          <p:cNvSpPr/>
          <p:nvPr/>
        </p:nvSpPr>
        <p:spPr>
          <a:xfrm>
            <a:off x="1683115" y="5409035"/>
            <a:ext cx="5777770" cy="523220"/>
          </a:xfrm>
          <a:prstGeom prst="rect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TW" sz="2800" dirty="0">
                <a:solidFill>
                  <a:prstClr val="white"/>
                </a:solidFill>
              </a:rPr>
              <a:t>What people already knew in 1980s </a:t>
            </a:r>
            <a:endParaRPr lang="zh-TW" altLang="en-US" sz="280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491048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TW" dirty="0" smtClean="0"/>
              <a:t>Example Application</a:t>
            </a:r>
            <a:endParaRPr lang="zh-TW" altLang="en-US" dirty="0"/>
          </a:p>
        </p:txBody>
      </p:sp>
      <p:sp>
        <p:nvSpPr>
          <p:cNvPr id="3" name="內容版面配置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altLang="zh-TW" dirty="0" smtClean="0"/>
              <a:t>Handwriting Digit Recognition</a:t>
            </a:r>
            <a:endParaRPr lang="zh-TW" altLang="en-US" dirty="0"/>
          </a:p>
        </p:txBody>
      </p:sp>
      <p:pic>
        <p:nvPicPr>
          <p:cNvPr id="5" name="圖片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634162" y="3503955"/>
            <a:ext cx="1602442" cy="1592235"/>
          </a:xfrm>
          <a:prstGeom prst="rect">
            <a:avLst/>
          </a:prstGeom>
        </p:spPr>
      </p:pic>
      <p:sp>
        <p:nvSpPr>
          <p:cNvPr id="7" name="矩形 6"/>
          <p:cNvSpPr/>
          <p:nvPr/>
        </p:nvSpPr>
        <p:spPr>
          <a:xfrm>
            <a:off x="4057246" y="3518469"/>
            <a:ext cx="2034073" cy="1516750"/>
          </a:xfrm>
          <a:prstGeom prst="rect">
            <a:avLst/>
          </a:prstGeom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altLang="zh-TW" sz="2800" dirty="0">
                <a:solidFill>
                  <a:prstClr val="white"/>
                </a:solidFill>
              </a:rPr>
              <a:t>Machine</a:t>
            </a:r>
            <a:endParaRPr lang="zh-TW" altLang="en-US" sz="2800" dirty="0">
              <a:solidFill>
                <a:prstClr val="white"/>
              </a:solidFill>
            </a:endParaRPr>
          </a:p>
        </p:txBody>
      </p:sp>
      <p:sp>
        <p:nvSpPr>
          <p:cNvPr id="8" name="向右箭號 7"/>
          <p:cNvSpPr/>
          <p:nvPr/>
        </p:nvSpPr>
        <p:spPr>
          <a:xfrm>
            <a:off x="3328044" y="3864273"/>
            <a:ext cx="714688" cy="847547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zh-TW" altLang="en-US" sz="1800">
              <a:solidFill>
                <a:prstClr val="white"/>
              </a:solidFill>
            </a:endParaRPr>
          </a:p>
        </p:txBody>
      </p:sp>
      <p:sp>
        <p:nvSpPr>
          <p:cNvPr id="9" name="向右箭號 8"/>
          <p:cNvSpPr/>
          <p:nvPr/>
        </p:nvSpPr>
        <p:spPr>
          <a:xfrm>
            <a:off x="6183987" y="3874139"/>
            <a:ext cx="714688" cy="847547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zh-TW" altLang="en-US" sz="1800">
              <a:solidFill>
                <a:prstClr val="white"/>
              </a:solidFill>
            </a:endParaRPr>
          </a:p>
        </p:txBody>
      </p:sp>
      <p:sp>
        <p:nvSpPr>
          <p:cNvPr id="10" name="文字方塊 9"/>
          <p:cNvSpPr txBox="1"/>
          <p:nvPr/>
        </p:nvSpPr>
        <p:spPr>
          <a:xfrm>
            <a:off x="6898676" y="4005524"/>
            <a:ext cx="72132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altLang="zh-TW" sz="3200" dirty="0">
                <a:solidFill>
                  <a:prstClr val="black"/>
                </a:solidFill>
                <a:latin typeface="Calibri"/>
              </a:rPr>
              <a:t>“2”</a:t>
            </a:r>
            <a:endParaRPr lang="zh-TW" altLang="en-US" sz="3200" dirty="0">
              <a:solidFill>
                <a:prstClr val="black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93192083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8" grpId="0" animBg="1"/>
      <p:bldP spid="9" grpId="0" animBg="1"/>
      <p:bldP spid="10" grpId="0"/>
    </p:bldLst>
  </p:timing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TW" dirty="0"/>
              <a:t>Handwriting Digit Recognition</a:t>
            </a:r>
            <a:endParaRPr lang="zh-TW" altLang="en-US" dirty="0"/>
          </a:p>
        </p:txBody>
      </p:sp>
      <p:sp>
        <p:nvSpPr>
          <p:cNvPr id="3" name="文字版面配置區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en-US" altLang="zh-TW" sz="3200" dirty="0" smtClean="0"/>
              <a:t>Input</a:t>
            </a:r>
            <a:endParaRPr lang="zh-TW" altLang="en-US" sz="3200" dirty="0"/>
          </a:p>
        </p:txBody>
      </p:sp>
      <p:sp>
        <p:nvSpPr>
          <p:cNvPr id="5" name="文字版面配置區 4"/>
          <p:cNvSpPr>
            <a:spLocks noGrp="1"/>
          </p:cNvSpPr>
          <p:nvPr>
            <p:ph type="body" sz="quarter" idx="3"/>
          </p:nvPr>
        </p:nvSpPr>
        <p:spPr/>
        <p:txBody>
          <a:bodyPr>
            <a:normAutofit/>
          </a:bodyPr>
          <a:lstStyle/>
          <a:p>
            <a:r>
              <a:rPr lang="en-US" altLang="zh-TW" sz="3200" dirty="0" smtClean="0"/>
              <a:t>Output</a:t>
            </a:r>
            <a:endParaRPr lang="zh-TW" altLang="en-US" sz="3200" dirty="0"/>
          </a:p>
        </p:txBody>
      </p:sp>
      <p:pic>
        <p:nvPicPr>
          <p:cNvPr id="7" name="圖片 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88933" y="3309806"/>
            <a:ext cx="2130022" cy="2116455"/>
          </a:xfrm>
          <a:prstGeom prst="rect">
            <a:avLst/>
          </a:prstGeom>
        </p:spPr>
      </p:pic>
      <p:sp>
        <p:nvSpPr>
          <p:cNvPr id="8" name="文字方塊 7"/>
          <p:cNvSpPr txBox="1"/>
          <p:nvPr/>
        </p:nvSpPr>
        <p:spPr>
          <a:xfrm>
            <a:off x="1336292" y="5413288"/>
            <a:ext cx="14478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altLang="zh-TW" sz="1800" dirty="0">
                <a:solidFill>
                  <a:prstClr val="black"/>
                </a:solidFill>
                <a:latin typeface="Calibri"/>
              </a:rPr>
              <a:t>16 x 16 = 256</a:t>
            </a:r>
            <a:endParaRPr lang="zh-TW" altLang="en-US" sz="1800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9" name="矩形 8"/>
          <p:cNvSpPr/>
          <p:nvPr/>
        </p:nvSpPr>
        <p:spPr>
          <a:xfrm>
            <a:off x="3448638" y="3006726"/>
            <a:ext cx="498951" cy="2625052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zh-TW" altLang="en-US" sz="1800">
              <a:solidFill>
                <a:prstClr val="black"/>
              </a:solidFill>
            </a:endParaRPr>
          </a:p>
        </p:txBody>
      </p:sp>
      <p:sp>
        <p:nvSpPr>
          <p:cNvPr id="10" name="矩形 9"/>
          <p:cNvSpPr/>
          <p:nvPr/>
        </p:nvSpPr>
        <p:spPr>
          <a:xfrm>
            <a:off x="3517026" y="3724419"/>
            <a:ext cx="342900" cy="342900"/>
          </a:xfrm>
          <a:prstGeom prst="rect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zh-TW" altLang="en-US" sz="1800">
              <a:solidFill>
                <a:prstClr val="black"/>
              </a:solidFill>
            </a:endParaRPr>
          </a:p>
        </p:txBody>
      </p:sp>
      <p:sp>
        <p:nvSpPr>
          <p:cNvPr id="11" name="矩形 10"/>
          <p:cNvSpPr/>
          <p:nvPr/>
        </p:nvSpPr>
        <p:spPr>
          <a:xfrm>
            <a:off x="3522844" y="3154090"/>
            <a:ext cx="342900" cy="342900"/>
          </a:xfrm>
          <a:prstGeom prst="rect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zh-TW" altLang="en-US" sz="1800">
              <a:solidFill>
                <a:prstClr val="black"/>
              </a:solidFill>
            </a:endParaRPr>
          </a:p>
        </p:txBody>
      </p:sp>
      <p:graphicFrame>
        <p:nvGraphicFramePr>
          <p:cNvPr id="12" name="Object 12"/>
          <p:cNvGraphicFramePr>
            <a:graphicFrameLocks noChangeAspect="1"/>
          </p:cNvGraphicFramePr>
          <p:nvPr>
            <p:extLst/>
          </p:nvPr>
        </p:nvGraphicFramePr>
        <p:xfrm>
          <a:off x="3535543" y="3058840"/>
          <a:ext cx="325438" cy="46196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9563" name="方程式" r:id="rId5" imgW="152280" imgH="215640" progId="Equation.3">
                  <p:embed/>
                </p:oleObj>
              </mc:Choice>
              <mc:Fallback>
                <p:oleObj name="方程式" r:id="rId5" imgW="152280" imgH="215640" progId="Equation.3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535543" y="3058840"/>
                        <a:ext cx="325438" cy="461962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3" name="Object 12"/>
          <p:cNvGraphicFramePr>
            <a:graphicFrameLocks noChangeAspect="1"/>
          </p:cNvGraphicFramePr>
          <p:nvPr>
            <p:extLst/>
          </p:nvPr>
        </p:nvGraphicFramePr>
        <p:xfrm>
          <a:off x="3540839" y="3641569"/>
          <a:ext cx="352425" cy="4619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9564" name="方程式" r:id="rId7" imgW="164880" imgH="215640" progId="Equation.3">
                  <p:embed/>
                </p:oleObj>
              </mc:Choice>
              <mc:Fallback>
                <p:oleObj name="方程式" r:id="rId7" imgW="164880" imgH="215640" progId="Equation.3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540839" y="3641569"/>
                        <a:ext cx="352425" cy="461963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矩形 13"/>
          <p:cNvSpPr/>
          <p:nvPr/>
        </p:nvSpPr>
        <p:spPr>
          <a:xfrm>
            <a:off x="3526551" y="5122176"/>
            <a:ext cx="342900" cy="342900"/>
          </a:xfrm>
          <a:prstGeom prst="rect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zh-TW" altLang="en-US" sz="1800">
              <a:solidFill>
                <a:prstClr val="black"/>
              </a:solidFill>
            </a:endParaRPr>
          </a:p>
        </p:txBody>
      </p:sp>
      <p:graphicFrame>
        <p:nvGraphicFramePr>
          <p:cNvPr id="15" name="Object 12"/>
          <p:cNvGraphicFramePr>
            <a:graphicFrameLocks noChangeAspect="1"/>
          </p:cNvGraphicFramePr>
          <p:nvPr>
            <p:extLst/>
          </p:nvPr>
        </p:nvGraphicFramePr>
        <p:xfrm>
          <a:off x="3454628" y="5025409"/>
          <a:ext cx="544512" cy="4889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9565" name="方程式" r:id="rId9" imgW="253800" imgH="228600" progId="Equation.3">
                  <p:embed/>
                </p:oleObj>
              </mc:Choice>
              <mc:Fallback>
                <p:oleObj name="方程式" r:id="rId9" imgW="253800" imgH="228600" progId="Equation.3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454628" y="5025409"/>
                        <a:ext cx="544512" cy="4889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文字方塊 15"/>
          <p:cNvSpPr txBox="1"/>
          <p:nvPr/>
        </p:nvSpPr>
        <p:spPr>
          <a:xfrm rot="5400000">
            <a:off x="3402483" y="4407118"/>
            <a:ext cx="76925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altLang="zh-TW" sz="2800" dirty="0">
                <a:solidFill>
                  <a:prstClr val="black"/>
                </a:solidFill>
                <a:latin typeface="Calibri"/>
              </a:rPr>
              <a:t>……</a:t>
            </a:r>
            <a:endParaRPr lang="zh-TW" altLang="en-US" sz="2800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7" name="手繪多邊形 16"/>
          <p:cNvSpPr/>
          <p:nvPr/>
        </p:nvSpPr>
        <p:spPr>
          <a:xfrm>
            <a:off x="1214665" y="3068121"/>
            <a:ext cx="2305050" cy="363941"/>
          </a:xfrm>
          <a:custGeom>
            <a:avLst/>
            <a:gdLst>
              <a:gd name="connsiteX0" fmla="*/ 0 w 2305050"/>
              <a:gd name="connsiteY0" fmla="*/ 374550 h 374550"/>
              <a:gd name="connsiteX1" fmla="*/ 876300 w 2305050"/>
              <a:gd name="connsiteY1" fmla="*/ 6250 h 374550"/>
              <a:gd name="connsiteX2" fmla="*/ 2305050 w 2305050"/>
              <a:gd name="connsiteY2" fmla="*/ 177700 h 374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305050" h="374550">
                <a:moveTo>
                  <a:pt x="0" y="374550"/>
                </a:moveTo>
                <a:cubicBezTo>
                  <a:pt x="246062" y="206804"/>
                  <a:pt x="492125" y="39058"/>
                  <a:pt x="876300" y="6250"/>
                </a:cubicBezTo>
                <a:cubicBezTo>
                  <a:pt x="1260475" y="-26558"/>
                  <a:pt x="1782762" y="75571"/>
                  <a:pt x="2305050" y="177700"/>
                </a:cubicBezTo>
              </a:path>
            </a:pathLst>
          </a:custGeom>
          <a:noFill/>
          <a:ln w="28575">
            <a:solidFill>
              <a:srgbClr val="0000FF"/>
            </a:solidFill>
            <a:headEnd type="none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zh-TW" altLang="en-US" sz="1800">
              <a:solidFill>
                <a:prstClr val="white"/>
              </a:solidFill>
            </a:endParaRPr>
          </a:p>
        </p:txBody>
      </p:sp>
      <p:sp>
        <p:nvSpPr>
          <p:cNvPr id="18" name="手繪多邊形 17"/>
          <p:cNvSpPr/>
          <p:nvPr/>
        </p:nvSpPr>
        <p:spPr>
          <a:xfrm>
            <a:off x="1348015" y="3241062"/>
            <a:ext cx="2171700" cy="646109"/>
          </a:xfrm>
          <a:custGeom>
            <a:avLst/>
            <a:gdLst>
              <a:gd name="connsiteX0" fmla="*/ 0 w 2171700"/>
              <a:gd name="connsiteY0" fmla="*/ 188909 h 646109"/>
              <a:gd name="connsiteX1" fmla="*/ 1073150 w 2171700"/>
              <a:gd name="connsiteY1" fmla="*/ 23809 h 646109"/>
              <a:gd name="connsiteX2" fmla="*/ 2171700 w 2171700"/>
              <a:gd name="connsiteY2" fmla="*/ 646109 h 6461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171700" h="646109">
                <a:moveTo>
                  <a:pt x="0" y="188909"/>
                </a:moveTo>
                <a:cubicBezTo>
                  <a:pt x="355600" y="68259"/>
                  <a:pt x="711200" y="-52391"/>
                  <a:pt x="1073150" y="23809"/>
                </a:cubicBezTo>
                <a:cubicBezTo>
                  <a:pt x="1435100" y="100009"/>
                  <a:pt x="1803400" y="373059"/>
                  <a:pt x="2171700" y="646109"/>
                </a:cubicBezTo>
              </a:path>
            </a:pathLst>
          </a:custGeom>
          <a:noFill/>
          <a:ln w="28575">
            <a:solidFill>
              <a:srgbClr val="0000FF"/>
            </a:solidFill>
            <a:headEnd type="none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zh-TW" altLang="en-US" sz="1800">
              <a:solidFill>
                <a:prstClr val="white"/>
              </a:solidFill>
            </a:endParaRPr>
          </a:p>
        </p:txBody>
      </p:sp>
      <p:sp>
        <p:nvSpPr>
          <p:cNvPr id="19" name="手繪多邊形 18"/>
          <p:cNvSpPr/>
          <p:nvPr/>
        </p:nvSpPr>
        <p:spPr>
          <a:xfrm>
            <a:off x="3081565" y="5284171"/>
            <a:ext cx="463550" cy="243308"/>
          </a:xfrm>
          <a:custGeom>
            <a:avLst/>
            <a:gdLst>
              <a:gd name="connsiteX0" fmla="*/ 0 w 463550"/>
              <a:gd name="connsiteY0" fmla="*/ 0 h 243308"/>
              <a:gd name="connsiteX1" fmla="*/ 101600 w 463550"/>
              <a:gd name="connsiteY1" fmla="*/ 241300 h 243308"/>
              <a:gd name="connsiteX2" fmla="*/ 463550 w 463550"/>
              <a:gd name="connsiteY2" fmla="*/ 95250 h 2433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463550" h="243308">
                <a:moveTo>
                  <a:pt x="0" y="0"/>
                </a:moveTo>
                <a:cubicBezTo>
                  <a:pt x="12171" y="112712"/>
                  <a:pt x="24342" y="225425"/>
                  <a:pt x="101600" y="241300"/>
                </a:cubicBezTo>
                <a:cubicBezTo>
                  <a:pt x="178858" y="257175"/>
                  <a:pt x="321204" y="176212"/>
                  <a:pt x="463550" y="95250"/>
                </a:cubicBezTo>
              </a:path>
            </a:pathLst>
          </a:custGeom>
          <a:noFill/>
          <a:ln w="28575">
            <a:solidFill>
              <a:srgbClr val="0000FF"/>
            </a:solidFill>
            <a:headEnd type="none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zh-TW" altLang="en-US" sz="1800">
              <a:solidFill>
                <a:prstClr val="white"/>
              </a:solidFill>
            </a:endParaRPr>
          </a:p>
        </p:txBody>
      </p:sp>
      <p:sp>
        <p:nvSpPr>
          <p:cNvPr id="20" name="文字方塊 19"/>
          <p:cNvSpPr txBox="1"/>
          <p:nvPr/>
        </p:nvSpPr>
        <p:spPr>
          <a:xfrm>
            <a:off x="1371218" y="5765880"/>
            <a:ext cx="166139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altLang="zh-TW" sz="2400" dirty="0">
                <a:solidFill>
                  <a:prstClr val="black"/>
                </a:solidFill>
                <a:latin typeface="Calibri"/>
              </a:rPr>
              <a:t>Ink → 1</a:t>
            </a:r>
          </a:p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altLang="zh-TW" sz="2400" dirty="0">
                <a:solidFill>
                  <a:prstClr val="black"/>
                </a:solidFill>
                <a:latin typeface="Calibri"/>
              </a:rPr>
              <a:t>No ink → 0</a:t>
            </a:r>
            <a:endParaRPr lang="zh-TW" altLang="en-US" sz="2400" dirty="0">
              <a:solidFill>
                <a:prstClr val="black"/>
              </a:solidFill>
              <a:latin typeface="Calibri"/>
            </a:endParaRPr>
          </a:p>
        </p:txBody>
      </p:sp>
      <p:grpSp>
        <p:nvGrpSpPr>
          <p:cNvPr id="26" name="群組 25"/>
          <p:cNvGrpSpPr/>
          <p:nvPr/>
        </p:nvGrpSpPr>
        <p:grpSpPr>
          <a:xfrm>
            <a:off x="5179092" y="2822199"/>
            <a:ext cx="642352" cy="2642877"/>
            <a:chOff x="7142066" y="1987121"/>
            <a:chExt cx="642352" cy="2642877"/>
          </a:xfrm>
        </p:grpSpPr>
        <p:sp>
          <p:nvSpPr>
            <p:cNvPr id="21" name="矩形 20"/>
            <p:cNvSpPr/>
            <p:nvPr/>
          </p:nvSpPr>
          <p:spPr>
            <a:xfrm>
              <a:off x="7142066" y="2004946"/>
              <a:ext cx="498951" cy="2625052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zh-TW" altLang="en-US" sz="1800">
                <a:solidFill>
                  <a:prstClr val="black"/>
                </a:solidFill>
              </a:endParaRPr>
            </a:p>
          </p:txBody>
        </p:sp>
        <p:sp>
          <p:nvSpPr>
            <p:cNvPr id="22" name="文字方塊 21"/>
            <p:cNvSpPr txBox="1"/>
            <p:nvPr/>
          </p:nvSpPr>
          <p:spPr>
            <a:xfrm rot="5400000">
              <a:off x="7084256" y="3505942"/>
              <a:ext cx="769257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</a:pPr>
              <a:r>
                <a:rPr lang="en-US" altLang="zh-TW" sz="2800" dirty="0">
                  <a:solidFill>
                    <a:prstClr val="black"/>
                  </a:solidFill>
                  <a:latin typeface="Calibri"/>
                </a:rPr>
                <a:t>……</a:t>
              </a:r>
              <a:endParaRPr lang="zh-TW" altLang="en-US" sz="2800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23" name="文字方塊 22"/>
            <p:cNvSpPr txBox="1"/>
            <p:nvPr/>
          </p:nvSpPr>
          <p:spPr>
            <a:xfrm>
              <a:off x="7153349" y="1987121"/>
              <a:ext cx="631069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r>
                <a:rPr lang="en-US" altLang="zh-TW" sz="2800" dirty="0">
                  <a:solidFill>
                    <a:prstClr val="black"/>
                  </a:solidFill>
                  <a:latin typeface="Calibri"/>
                </a:rPr>
                <a:t>y</a:t>
              </a:r>
              <a:r>
                <a:rPr lang="en-US" altLang="zh-TW" sz="2800" baseline="-25000" dirty="0">
                  <a:solidFill>
                    <a:prstClr val="black"/>
                  </a:solidFill>
                  <a:latin typeface="Calibri"/>
                </a:rPr>
                <a:t>1</a:t>
              </a:r>
              <a:endParaRPr lang="zh-TW" altLang="en-US" sz="2800" baseline="-25000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24" name="文字方塊 23"/>
            <p:cNvSpPr txBox="1"/>
            <p:nvPr/>
          </p:nvSpPr>
          <p:spPr>
            <a:xfrm>
              <a:off x="7142066" y="2785341"/>
              <a:ext cx="631069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r>
                <a:rPr lang="en-US" altLang="zh-TW" sz="2800" dirty="0">
                  <a:solidFill>
                    <a:prstClr val="black"/>
                  </a:solidFill>
                  <a:latin typeface="Calibri"/>
                </a:rPr>
                <a:t>y</a:t>
              </a:r>
              <a:r>
                <a:rPr lang="en-US" altLang="zh-TW" sz="2800" baseline="-25000" dirty="0">
                  <a:solidFill>
                    <a:prstClr val="black"/>
                  </a:solidFill>
                  <a:latin typeface="Calibri"/>
                </a:rPr>
                <a:t>2</a:t>
              </a:r>
              <a:endParaRPr lang="zh-TW" altLang="en-US" sz="2800" baseline="-25000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25" name="文字方塊 24"/>
            <p:cNvSpPr txBox="1"/>
            <p:nvPr/>
          </p:nvSpPr>
          <p:spPr>
            <a:xfrm>
              <a:off x="7142066" y="4051573"/>
              <a:ext cx="631069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r>
                <a:rPr lang="en-US" altLang="zh-TW" sz="2800" dirty="0">
                  <a:solidFill>
                    <a:prstClr val="black"/>
                  </a:solidFill>
                  <a:latin typeface="Calibri"/>
                </a:rPr>
                <a:t>y</a:t>
              </a:r>
              <a:r>
                <a:rPr lang="en-US" altLang="zh-TW" sz="2800" baseline="-25000" dirty="0">
                  <a:solidFill>
                    <a:prstClr val="black"/>
                  </a:solidFill>
                  <a:latin typeface="Calibri"/>
                </a:rPr>
                <a:t>10</a:t>
              </a:r>
              <a:endParaRPr lang="zh-TW" altLang="en-US" sz="2800" baseline="-25000" dirty="0">
                <a:solidFill>
                  <a:prstClr val="black"/>
                </a:solidFill>
                <a:latin typeface="Calibri"/>
              </a:endParaRPr>
            </a:p>
          </p:txBody>
        </p:sp>
      </p:grpSp>
      <p:sp>
        <p:nvSpPr>
          <p:cNvPr id="27" name="文字方塊 26"/>
          <p:cNvSpPr txBox="1"/>
          <p:nvPr/>
        </p:nvSpPr>
        <p:spPr>
          <a:xfrm>
            <a:off x="5106944" y="5737345"/>
            <a:ext cx="3566686" cy="830997"/>
          </a:xfrm>
          <a:prstGeom prst="rect">
            <a:avLst/>
          </a:prstGeom>
        </p:spPr>
        <p:style>
          <a:lnRef idx="0">
            <a:schemeClr val="dk1"/>
          </a:lnRef>
          <a:fillRef idx="3">
            <a:schemeClr val="dk1"/>
          </a:fillRef>
          <a:effectRef idx="3">
            <a:schemeClr val="dk1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altLang="zh-TW" sz="2400" dirty="0">
                <a:solidFill>
                  <a:prstClr val="white"/>
                </a:solidFill>
              </a:rPr>
              <a:t>Each dimension represents the confidence of a digit.</a:t>
            </a:r>
            <a:endParaRPr lang="zh-TW" altLang="en-US" sz="2400" dirty="0">
              <a:solidFill>
                <a:prstClr val="white"/>
              </a:solidFill>
            </a:endParaRPr>
          </a:p>
        </p:txBody>
      </p:sp>
      <p:sp>
        <p:nvSpPr>
          <p:cNvPr id="28" name="文字方塊 27"/>
          <p:cNvSpPr txBox="1"/>
          <p:nvPr/>
        </p:nvSpPr>
        <p:spPr>
          <a:xfrm>
            <a:off x="6048212" y="2883754"/>
            <a:ext cx="861633" cy="461665"/>
          </a:xfrm>
          <a:prstGeom prst="rect">
            <a:avLst/>
          </a:prstGeom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altLang="zh-TW" sz="2400" dirty="0">
                <a:solidFill>
                  <a:prstClr val="white"/>
                </a:solidFill>
              </a:rPr>
              <a:t>is 1</a:t>
            </a:r>
            <a:endParaRPr lang="zh-TW" altLang="en-US" sz="2400" dirty="0">
              <a:solidFill>
                <a:prstClr val="white"/>
              </a:solidFill>
            </a:endParaRPr>
          </a:p>
        </p:txBody>
      </p:sp>
      <p:sp>
        <p:nvSpPr>
          <p:cNvPr id="29" name="文字方塊 28"/>
          <p:cNvSpPr txBox="1"/>
          <p:nvPr/>
        </p:nvSpPr>
        <p:spPr>
          <a:xfrm>
            <a:off x="6055521" y="3665036"/>
            <a:ext cx="847013" cy="461665"/>
          </a:xfrm>
          <a:prstGeom prst="rect">
            <a:avLst/>
          </a:prstGeom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altLang="zh-TW" sz="2400" dirty="0">
                <a:solidFill>
                  <a:prstClr val="white"/>
                </a:solidFill>
              </a:rPr>
              <a:t>is 2</a:t>
            </a:r>
            <a:endParaRPr lang="zh-TW" altLang="en-US" sz="2400" dirty="0">
              <a:solidFill>
                <a:prstClr val="white"/>
              </a:solidFill>
            </a:endParaRPr>
          </a:p>
        </p:txBody>
      </p:sp>
      <p:sp>
        <p:nvSpPr>
          <p:cNvPr id="30" name="文字方塊 29"/>
          <p:cNvSpPr txBox="1"/>
          <p:nvPr/>
        </p:nvSpPr>
        <p:spPr>
          <a:xfrm>
            <a:off x="6055521" y="4939005"/>
            <a:ext cx="834766" cy="461665"/>
          </a:xfrm>
          <a:prstGeom prst="rect">
            <a:avLst/>
          </a:prstGeom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altLang="zh-TW" sz="2400" dirty="0">
                <a:solidFill>
                  <a:prstClr val="white"/>
                </a:solidFill>
              </a:rPr>
              <a:t>is 0</a:t>
            </a:r>
            <a:endParaRPr lang="zh-TW" altLang="en-US" sz="2400" dirty="0">
              <a:solidFill>
                <a:prstClr val="white"/>
              </a:solidFill>
            </a:endParaRPr>
          </a:p>
        </p:txBody>
      </p:sp>
      <p:sp>
        <p:nvSpPr>
          <p:cNvPr id="31" name="文字方塊 30"/>
          <p:cNvSpPr txBox="1"/>
          <p:nvPr/>
        </p:nvSpPr>
        <p:spPr>
          <a:xfrm rot="5400000">
            <a:off x="6188216" y="4321802"/>
            <a:ext cx="76925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altLang="zh-TW" sz="2800" dirty="0">
                <a:solidFill>
                  <a:prstClr val="black"/>
                </a:solidFill>
                <a:latin typeface="Calibri"/>
              </a:rPr>
              <a:t>……</a:t>
            </a:r>
            <a:endParaRPr lang="zh-TW" altLang="en-US" sz="2800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32" name="矩形 31"/>
          <p:cNvSpPr/>
          <p:nvPr/>
        </p:nvSpPr>
        <p:spPr>
          <a:xfrm>
            <a:off x="5115795" y="2944663"/>
            <a:ext cx="619787" cy="432058"/>
          </a:xfrm>
          <a:prstGeom prst="rect">
            <a:avLst/>
          </a:prstGeom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altLang="zh-TW" sz="2400" dirty="0">
                <a:solidFill>
                  <a:prstClr val="white"/>
                </a:solidFill>
              </a:rPr>
              <a:t>0.1</a:t>
            </a:r>
            <a:endParaRPr lang="zh-TW" altLang="en-US" sz="2400" dirty="0">
              <a:solidFill>
                <a:prstClr val="white"/>
              </a:solidFill>
            </a:endParaRPr>
          </a:p>
        </p:txBody>
      </p:sp>
      <p:sp>
        <p:nvSpPr>
          <p:cNvPr id="33" name="矩形 32"/>
          <p:cNvSpPr/>
          <p:nvPr/>
        </p:nvSpPr>
        <p:spPr>
          <a:xfrm>
            <a:off x="5115795" y="3669068"/>
            <a:ext cx="619787" cy="432058"/>
          </a:xfrm>
          <a:prstGeom prst="rect">
            <a:avLst/>
          </a:prstGeom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altLang="zh-TW" sz="2400" dirty="0">
                <a:solidFill>
                  <a:prstClr val="white"/>
                </a:solidFill>
              </a:rPr>
              <a:t>0.7</a:t>
            </a:r>
            <a:endParaRPr lang="zh-TW" altLang="en-US" sz="2400" dirty="0">
              <a:solidFill>
                <a:prstClr val="white"/>
              </a:solidFill>
            </a:endParaRPr>
          </a:p>
        </p:txBody>
      </p:sp>
      <p:sp>
        <p:nvSpPr>
          <p:cNvPr id="34" name="矩形 33"/>
          <p:cNvSpPr/>
          <p:nvPr/>
        </p:nvSpPr>
        <p:spPr>
          <a:xfrm>
            <a:off x="5096948" y="4938330"/>
            <a:ext cx="656740" cy="432058"/>
          </a:xfrm>
          <a:prstGeom prst="rect">
            <a:avLst/>
          </a:prstGeom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altLang="zh-TW" sz="2400" dirty="0">
                <a:solidFill>
                  <a:prstClr val="white"/>
                </a:solidFill>
              </a:rPr>
              <a:t>0.2</a:t>
            </a:r>
            <a:endParaRPr lang="zh-TW" altLang="en-US" sz="2400" dirty="0">
              <a:solidFill>
                <a:prstClr val="white"/>
              </a:solidFill>
            </a:endParaRPr>
          </a:p>
        </p:txBody>
      </p:sp>
      <p:sp>
        <p:nvSpPr>
          <p:cNvPr id="35" name="矩形 34"/>
          <p:cNvSpPr/>
          <p:nvPr/>
        </p:nvSpPr>
        <p:spPr>
          <a:xfrm>
            <a:off x="5007951" y="3577013"/>
            <a:ext cx="1950970" cy="640988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zh-TW" altLang="en-US" sz="1800">
              <a:solidFill>
                <a:prstClr val="white"/>
              </a:solidFill>
            </a:endParaRPr>
          </a:p>
        </p:txBody>
      </p:sp>
      <p:sp>
        <p:nvSpPr>
          <p:cNvPr id="36" name="矩形 35"/>
          <p:cNvSpPr/>
          <p:nvPr/>
        </p:nvSpPr>
        <p:spPr>
          <a:xfrm>
            <a:off x="7006627" y="3813785"/>
            <a:ext cx="1940923" cy="903357"/>
          </a:xfrm>
          <a:prstGeom prst="rect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altLang="zh-TW" sz="2800" dirty="0">
                <a:solidFill>
                  <a:prstClr val="white"/>
                </a:solidFill>
              </a:rPr>
              <a:t>The image is  “2”</a:t>
            </a:r>
            <a:endParaRPr lang="zh-TW" altLang="en-US" sz="280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3224550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1" fill="hold">
                      <p:stCondLst>
                        <p:cond delay="indefinite"/>
                      </p:stCondLst>
                      <p:childTnLst>
                        <p:par>
                          <p:cTn id="42" fill="hold">
                            <p:stCondLst>
                              <p:cond delay="0"/>
                            </p:stCondLst>
                            <p:childTnLst>
                              <p:par>
                                <p:cTn id="4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9" fill="hold">
                      <p:stCondLst>
                        <p:cond delay="indefinite"/>
                      </p:stCondLst>
                      <p:childTnLst>
                        <p:par>
                          <p:cTn id="50" fill="hold">
                            <p:stCondLst>
                              <p:cond delay="0"/>
                            </p:stCondLst>
                            <p:childTnLst>
                              <p:par>
                                <p:cTn id="5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9" fill="hold">
                      <p:stCondLst>
                        <p:cond delay="indefinite"/>
                      </p:stCondLst>
                      <p:childTnLst>
                        <p:par>
                          <p:cTn id="60" fill="hold">
                            <p:stCondLst>
                              <p:cond delay="0"/>
                            </p:stCondLst>
                            <p:childTnLst>
                              <p:par>
                                <p:cTn id="6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7" fill="hold">
                      <p:stCondLst>
                        <p:cond delay="indefinite"/>
                      </p:stCondLst>
                      <p:childTnLst>
                        <p:par>
                          <p:cTn id="68" fill="hold">
                            <p:stCondLst>
                              <p:cond delay="0"/>
                            </p:stCondLst>
                            <p:childTnLst>
                              <p:par>
                                <p:cTn id="6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1" fill="hold">
                      <p:stCondLst>
                        <p:cond delay="indefinite"/>
                      </p:stCondLst>
                      <p:childTnLst>
                        <p:par>
                          <p:cTn id="72" fill="hold">
                            <p:stCondLst>
                              <p:cond delay="0"/>
                            </p:stCondLst>
                            <p:childTnLst>
                              <p:par>
                                <p:cTn id="7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  <p:bldP spid="9" grpId="0" animBg="1"/>
      <p:bldP spid="10" grpId="0" animBg="1"/>
      <p:bldP spid="11" grpId="0" animBg="1"/>
      <p:bldP spid="14" grpId="0" animBg="1"/>
      <p:bldP spid="16" grpId="0"/>
      <p:bldP spid="17" grpId="0" animBg="1"/>
      <p:bldP spid="18" grpId="0" animBg="1"/>
      <p:bldP spid="19" grpId="0" animBg="1"/>
      <p:bldP spid="20" grpId="0"/>
      <p:bldP spid="27" grpId="0" animBg="1"/>
      <p:bldP spid="28" grpId="0" animBg="1"/>
      <p:bldP spid="29" grpId="0" animBg="1"/>
      <p:bldP spid="30" grpId="0" animBg="1"/>
      <p:bldP spid="31" grpId="0"/>
      <p:bldP spid="32" grpId="0" animBg="1"/>
      <p:bldP spid="33" grpId="0" animBg="1"/>
      <p:bldP spid="34" grpId="0" animBg="1"/>
      <p:bldP spid="35" grpId="0" animBg="1"/>
      <p:bldP spid="36" grpId="0" animBg="1"/>
    </p:bldLst>
  </p:timing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TW" dirty="0" smtClean="0"/>
              <a:t>Example Application</a:t>
            </a:r>
            <a:endParaRPr lang="zh-TW" altLang="en-US" dirty="0"/>
          </a:p>
        </p:txBody>
      </p:sp>
      <p:sp>
        <p:nvSpPr>
          <p:cNvPr id="3" name="內容版面配置區 2"/>
          <p:cNvSpPr>
            <a:spLocks noGrp="1"/>
          </p:cNvSpPr>
          <p:nvPr>
            <p:ph idx="1"/>
          </p:nvPr>
        </p:nvSpPr>
        <p:spPr>
          <a:xfrm>
            <a:off x="628650" y="1788413"/>
            <a:ext cx="7886700" cy="4351338"/>
          </a:xfrm>
        </p:spPr>
        <p:txBody>
          <a:bodyPr/>
          <a:lstStyle/>
          <a:p>
            <a:r>
              <a:rPr lang="en-US" altLang="zh-TW" dirty="0" smtClean="0"/>
              <a:t>Handwriting Digit Recognition</a:t>
            </a:r>
            <a:endParaRPr lang="zh-TW" altLang="en-US" dirty="0"/>
          </a:p>
        </p:txBody>
      </p:sp>
      <p:pic>
        <p:nvPicPr>
          <p:cNvPr id="5" name="圖片 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401933" y="3170126"/>
            <a:ext cx="1602442" cy="1592235"/>
          </a:xfrm>
          <a:prstGeom prst="rect">
            <a:avLst/>
          </a:prstGeom>
        </p:spPr>
      </p:pic>
      <p:sp>
        <p:nvSpPr>
          <p:cNvPr id="7" name="矩形 6"/>
          <p:cNvSpPr/>
          <p:nvPr/>
        </p:nvSpPr>
        <p:spPr>
          <a:xfrm>
            <a:off x="3825017" y="3184640"/>
            <a:ext cx="2034073" cy="1516750"/>
          </a:xfrm>
          <a:prstGeom prst="rect">
            <a:avLst/>
          </a:prstGeom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altLang="zh-TW" sz="2800" dirty="0">
                <a:solidFill>
                  <a:prstClr val="white"/>
                </a:solidFill>
              </a:rPr>
              <a:t>Machine</a:t>
            </a:r>
            <a:endParaRPr lang="zh-TW" altLang="en-US" sz="2800" dirty="0">
              <a:solidFill>
                <a:prstClr val="white"/>
              </a:solidFill>
            </a:endParaRPr>
          </a:p>
        </p:txBody>
      </p:sp>
      <p:sp>
        <p:nvSpPr>
          <p:cNvPr id="8" name="向右箭號 7"/>
          <p:cNvSpPr/>
          <p:nvPr/>
        </p:nvSpPr>
        <p:spPr>
          <a:xfrm>
            <a:off x="3095815" y="3530444"/>
            <a:ext cx="714688" cy="847547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zh-TW" altLang="en-US" sz="1800">
              <a:solidFill>
                <a:prstClr val="white"/>
              </a:solidFill>
            </a:endParaRPr>
          </a:p>
        </p:txBody>
      </p:sp>
      <p:sp>
        <p:nvSpPr>
          <p:cNvPr id="9" name="向右箭號 8"/>
          <p:cNvSpPr/>
          <p:nvPr/>
        </p:nvSpPr>
        <p:spPr>
          <a:xfrm>
            <a:off x="5951758" y="3540310"/>
            <a:ext cx="714688" cy="847547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zh-TW" altLang="en-US" sz="1800">
              <a:solidFill>
                <a:prstClr val="white"/>
              </a:solidFill>
            </a:endParaRPr>
          </a:p>
        </p:txBody>
      </p:sp>
      <p:sp>
        <p:nvSpPr>
          <p:cNvPr id="10" name="文字方塊 9"/>
          <p:cNvSpPr txBox="1"/>
          <p:nvPr/>
        </p:nvSpPr>
        <p:spPr>
          <a:xfrm>
            <a:off x="6666447" y="3671695"/>
            <a:ext cx="72132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altLang="zh-TW" sz="3200" dirty="0">
                <a:solidFill>
                  <a:prstClr val="black"/>
                </a:solidFill>
                <a:latin typeface="Calibri"/>
              </a:rPr>
              <a:t>“2”</a:t>
            </a:r>
            <a:endParaRPr lang="zh-TW" altLang="en-US" sz="3200" dirty="0">
              <a:solidFill>
                <a:prstClr val="black"/>
              </a:solidFill>
              <a:latin typeface="Calibri"/>
            </a:endParaRPr>
          </a:p>
        </p:txBody>
      </p:sp>
      <p:grpSp>
        <p:nvGrpSpPr>
          <p:cNvPr id="6" name="群組 5"/>
          <p:cNvGrpSpPr/>
          <p:nvPr/>
        </p:nvGrpSpPr>
        <p:grpSpPr>
          <a:xfrm>
            <a:off x="2462115" y="2538616"/>
            <a:ext cx="600084" cy="2625052"/>
            <a:chOff x="2462115" y="2538616"/>
            <a:chExt cx="600084" cy="2625052"/>
          </a:xfrm>
        </p:grpSpPr>
        <p:sp>
          <p:nvSpPr>
            <p:cNvPr id="12" name="矩形 11"/>
            <p:cNvSpPr/>
            <p:nvPr/>
          </p:nvSpPr>
          <p:spPr>
            <a:xfrm>
              <a:off x="2462115" y="2538616"/>
              <a:ext cx="498951" cy="2625052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zh-TW" altLang="en-US" sz="1800">
                <a:solidFill>
                  <a:prstClr val="black"/>
                </a:solidFill>
              </a:endParaRPr>
            </a:p>
          </p:txBody>
        </p:sp>
        <p:sp>
          <p:nvSpPr>
            <p:cNvPr id="13" name="矩形 12"/>
            <p:cNvSpPr/>
            <p:nvPr/>
          </p:nvSpPr>
          <p:spPr>
            <a:xfrm>
              <a:off x="2530503" y="3256309"/>
              <a:ext cx="342900" cy="342900"/>
            </a:xfrm>
            <a:prstGeom prst="rect">
              <a:avLst/>
            </a:prstGeom>
          </p:spPr>
          <p:style>
            <a:lnRef idx="1">
              <a:schemeClr val="accent4"/>
            </a:lnRef>
            <a:fillRef idx="2">
              <a:schemeClr val="accent4"/>
            </a:fillRef>
            <a:effectRef idx="1">
              <a:schemeClr val="accent4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zh-TW" altLang="en-US" sz="1800">
                <a:solidFill>
                  <a:prstClr val="black"/>
                </a:solidFill>
              </a:endParaRPr>
            </a:p>
          </p:txBody>
        </p:sp>
        <p:sp>
          <p:nvSpPr>
            <p:cNvPr id="14" name="矩形 13"/>
            <p:cNvSpPr/>
            <p:nvPr/>
          </p:nvSpPr>
          <p:spPr>
            <a:xfrm>
              <a:off x="2536321" y="2685980"/>
              <a:ext cx="342900" cy="342900"/>
            </a:xfrm>
            <a:prstGeom prst="rect">
              <a:avLst/>
            </a:prstGeom>
          </p:spPr>
          <p:style>
            <a:lnRef idx="1">
              <a:schemeClr val="accent4"/>
            </a:lnRef>
            <a:fillRef idx="2">
              <a:schemeClr val="accent4"/>
            </a:fillRef>
            <a:effectRef idx="1">
              <a:schemeClr val="accent4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zh-TW" altLang="en-US" sz="1800">
                <a:solidFill>
                  <a:prstClr val="black"/>
                </a:solidFill>
              </a:endParaRPr>
            </a:p>
          </p:txBody>
        </p:sp>
        <p:graphicFrame>
          <p:nvGraphicFramePr>
            <p:cNvPr id="15" name="Object 12"/>
            <p:cNvGraphicFramePr>
              <a:graphicFrameLocks noChangeAspect="1"/>
            </p:cNvGraphicFramePr>
            <p:nvPr>
              <p:extLst/>
            </p:nvPr>
          </p:nvGraphicFramePr>
          <p:xfrm>
            <a:off x="2549020" y="2590730"/>
            <a:ext cx="325438" cy="461962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spid="_x0000_s150587" name="方程式" r:id="rId5" imgW="152280" imgH="215640" progId="Equation.3">
                    <p:embed/>
                  </p:oleObj>
                </mc:Choice>
                <mc:Fallback>
                  <p:oleObj name="方程式" r:id="rId5" imgW="152280" imgH="215640" progId="Equation.3">
                    <p:embed/>
                    <p:pic>
                      <p:nvPicPr>
                        <p:cNvPr id="0" name=""/>
                        <p:cNvPicPr>
                          <a:picLocks noChangeAspect="1" noChangeArrowheads="1"/>
                        </p:cNvPicPr>
                        <p:nvPr/>
                      </p:nvPicPr>
                      <p:blipFill>
                        <a:blip r:embed="rId6">
                          <a:extLst>
                            <a:ext uri="{28A0092B-C50C-407E-A947-70E740481C1C}">
                              <a14:useLocalDpi xmlns:a14="http://schemas.microsoft.com/office/drawing/2010/main" val="0"/>
                            </a:ext>
                          </a:extLst>
                        </a:blip>
                        <a:srcRect/>
                        <a:stretch>
                          <a:fillRect/>
                        </a:stretch>
                      </p:blipFill>
                      <p:spPr bwMode="auto">
                        <a:xfrm>
                          <a:off x="2549020" y="2590730"/>
                          <a:ext cx="325438" cy="461962"/>
                        </a:xfrm>
                        <a:prstGeom prst="rect">
                          <a:avLst/>
                        </a:prstGeom>
                        <a:noFill/>
                        <a:extLst>
                          <a:ext uri="{909E8E84-426E-40DD-AFC4-6F175D3DCCD1}">
                            <a14:hiddenFill xmlns:a14="http://schemas.microsoft.com/office/drawing/2010/main">
                              <a:solidFill>
                                <a:srgbClr val="FFFFFF"/>
                              </a:solidFill>
                            </a14:hiddenFill>
                          </a:ext>
                        </a:extLst>
                      </p:spPr>
                    </p:pic>
                  </p:oleObj>
                </mc:Fallback>
              </mc:AlternateContent>
            </a:graphicData>
          </a:graphic>
        </p:graphicFrame>
        <p:graphicFrame>
          <p:nvGraphicFramePr>
            <p:cNvPr id="16" name="Object 12"/>
            <p:cNvGraphicFramePr>
              <a:graphicFrameLocks noChangeAspect="1"/>
            </p:cNvGraphicFramePr>
            <p:nvPr>
              <p:extLst/>
            </p:nvPr>
          </p:nvGraphicFramePr>
          <p:xfrm>
            <a:off x="2554316" y="3173459"/>
            <a:ext cx="352425" cy="461963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spid="_x0000_s150588" name="方程式" r:id="rId7" imgW="164880" imgH="215640" progId="Equation.3">
                    <p:embed/>
                  </p:oleObj>
                </mc:Choice>
                <mc:Fallback>
                  <p:oleObj name="方程式" r:id="rId7" imgW="164880" imgH="215640" progId="Equation.3">
                    <p:embed/>
                    <p:pic>
                      <p:nvPicPr>
                        <p:cNvPr id="0" name=""/>
                        <p:cNvPicPr>
                          <a:picLocks noChangeAspect="1" noChangeArrowheads="1"/>
                        </p:cNvPicPr>
                        <p:nvPr/>
                      </p:nvPicPr>
                      <p:blipFill>
                        <a:blip r:embed="rId8">
                          <a:extLst>
                            <a:ext uri="{28A0092B-C50C-407E-A947-70E740481C1C}">
                              <a14:useLocalDpi xmlns:a14="http://schemas.microsoft.com/office/drawing/2010/main" val="0"/>
                            </a:ext>
                          </a:extLst>
                        </a:blip>
                        <a:srcRect/>
                        <a:stretch>
                          <a:fillRect/>
                        </a:stretch>
                      </p:blipFill>
                      <p:spPr bwMode="auto">
                        <a:xfrm>
                          <a:off x="2554316" y="3173459"/>
                          <a:ext cx="352425" cy="461963"/>
                        </a:xfrm>
                        <a:prstGeom prst="rect">
                          <a:avLst/>
                        </a:prstGeom>
                        <a:noFill/>
                        <a:extLst>
                          <a:ext uri="{909E8E84-426E-40DD-AFC4-6F175D3DCCD1}">
                            <a14:hiddenFill xmlns:a14="http://schemas.microsoft.com/office/drawing/2010/main">
                              <a:solidFill>
                                <a:srgbClr val="FFFFFF"/>
                              </a:solidFill>
                            </a14:hiddenFill>
                          </a:ext>
                        </a:extLst>
                      </p:spPr>
                    </p:pic>
                  </p:oleObj>
                </mc:Fallback>
              </mc:AlternateContent>
            </a:graphicData>
          </a:graphic>
        </p:graphicFrame>
        <p:sp>
          <p:nvSpPr>
            <p:cNvPr id="17" name="矩形 16"/>
            <p:cNvSpPr/>
            <p:nvPr/>
          </p:nvSpPr>
          <p:spPr>
            <a:xfrm>
              <a:off x="2540028" y="4654066"/>
              <a:ext cx="342900" cy="342900"/>
            </a:xfrm>
            <a:prstGeom prst="rect">
              <a:avLst/>
            </a:prstGeom>
          </p:spPr>
          <p:style>
            <a:lnRef idx="1">
              <a:schemeClr val="accent4"/>
            </a:lnRef>
            <a:fillRef idx="2">
              <a:schemeClr val="accent4"/>
            </a:fillRef>
            <a:effectRef idx="1">
              <a:schemeClr val="accent4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zh-TW" altLang="en-US" sz="1800">
                <a:solidFill>
                  <a:prstClr val="black"/>
                </a:solidFill>
              </a:endParaRPr>
            </a:p>
          </p:txBody>
        </p:sp>
        <p:graphicFrame>
          <p:nvGraphicFramePr>
            <p:cNvPr id="18" name="Object 12"/>
            <p:cNvGraphicFramePr>
              <a:graphicFrameLocks noChangeAspect="1"/>
            </p:cNvGraphicFramePr>
            <p:nvPr>
              <p:extLst/>
            </p:nvPr>
          </p:nvGraphicFramePr>
          <p:xfrm>
            <a:off x="2468105" y="4557299"/>
            <a:ext cx="544512" cy="488950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spid="_x0000_s150589" name="方程式" r:id="rId9" imgW="253800" imgH="228600" progId="Equation.3">
                    <p:embed/>
                  </p:oleObj>
                </mc:Choice>
                <mc:Fallback>
                  <p:oleObj name="方程式" r:id="rId9" imgW="253800" imgH="228600" progId="Equation.3">
                    <p:embed/>
                    <p:pic>
                      <p:nvPicPr>
                        <p:cNvPr id="0" name=""/>
                        <p:cNvPicPr>
                          <a:picLocks noChangeAspect="1" noChangeArrowheads="1"/>
                        </p:cNvPicPr>
                        <p:nvPr/>
                      </p:nvPicPr>
                      <p:blipFill>
                        <a:blip r:embed="rId10">
                          <a:extLst>
                            <a:ext uri="{28A0092B-C50C-407E-A947-70E740481C1C}">
                              <a14:useLocalDpi xmlns:a14="http://schemas.microsoft.com/office/drawing/2010/main" val="0"/>
                            </a:ext>
                          </a:extLst>
                        </a:blip>
                        <a:srcRect/>
                        <a:stretch>
                          <a:fillRect/>
                        </a:stretch>
                      </p:blipFill>
                      <p:spPr bwMode="auto">
                        <a:xfrm>
                          <a:off x="2468105" y="4557299"/>
                          <a:ext cx="544512" cy="488950"/>
                        </a:xfrm>
                        <a:prstGeom prst="rect">
                          <a:avLst/>
                        </a:prstGeom>
                        <a:noFill/>
                        <a:extLst>
                          <a:ext uri="{909E8E84-426E-40DD-AFC4-6F175D3DCCD1}">
                            <a14:hiddenFill xmlns:a14="http://schemas.microsoft.com/office/drawing/2010/main">
                              <a:solidFill>
                                <a:srgbClr val="FFFFFF"/>
                              </a:solidFill>
                            </a14:hiddenFill>
                          </a:ext>
                        </a:extLst>
                      </p:spPr>
                    </p:pic>
                  </p:oleObj>
                </mc:Fallback>
              </mc:AlternateContent>
            </a:graphicData>
          </a:graphic>
        </p:graphicFrame>
        <p:sp>
          <p:nvSpPr>
            <p:cNvPr id="19" name="文字方塊 18"/>
            <p:cNvSpPr txBox="1"/>
            <p:nvPr/>
          </p:nvSpPr>
          <p:spPr>
            <a:xfrm rot="5400000">
              <a:off x="2415960" y="3939008"/>
              <a:ext cx="769257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</a:pPr>
              <a:r>
                <a:rPr lang="en-US" altLang="zh-TW" sz="2800" dirty="0">
                  <a:solidFill>
                    <a:prstClr val="black"/>
                  </a:solidFill>
                  <a:latin typeface="Calibri"/>
                </a:rPr>
                <a:t>……</a:t>
              </a:r>
              <a:endParaRPr lang="zh-TW" altLang="en-US" sz="2800" dirty="0">
                <a:solidFill>
                  <a:prstClr val="black"/>
                </a:solidFill>
                <a:latin typeface="Calibri"/>
              </a:endParaRPr>
            </a:p>
          </p:txBody>
        </p:sp>
      </p:grpSp>
      <p:grpSp>
        <p:nvGrpSpPr>
          <p:cNvPr id="11" name="群組 19"/>
          <p:cNvGrpSpPr/>
          <p:nvPr/>
        </p:nvGrpSpPr>
        <p:grpSpPr>
          <a:xfrm>
            <a:off x="6745418" y="2501358"/>
            <a:ext cx="642352" cy="2642877"/>
            <a:chOff x="7142066" y="1987121"/>
            <a:chExt cx="642352" cy="2642877"/>
          </a:xfrm>
        </p:grpSpPr>
        <p:sp>
          <p:nvSpPr>
            <p:cNvPr id="21" name="矩形 20"/>
            <p:cNvSpPr/>
            <p:nvPr/>
          </p:nvSpPr>
          <p:spPr>
            <a:xfrm>
              <a:off x="7142066" y="2004946"/>
              <a:ext cx="498951" cy="2625052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zh-TW" altLang="en-US" sz="1800">
                <a:solidFill>
                  <a:prstClr val="black"/>
                </a:solidFill>
              </a:endParaRPr>
            </a:p>
          </p:txBody>
        </p:sp>
        <p:sp>
          <p:nvSpPr>
            <p:cNvPr id="22" name="文字方塊 21"/>
            <p:cNvSpPr txBox="1"/>
            <p:nvPr/>
          </p:nvSpPr>
          <p:spPr>
            <a:xfrm rot="5400000">
              <a:off x="7084256" y="3505942"/>
              <a:ext cx="769257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</a:pPr>
              <a:r>
                <a:rPr lang="en-US" altLang="zh-TW" sz="2800" dirty="0">
                  <a:solidFill>
                    <a:prstClr val="black"/>
                  </a:solidFill>
                  <a:latin typeface="Calibri"/>
                </a:rPr>
                <a:t>……</a:t>
              </a:r>
              <a:endParaRPr lang="zh-TW" altLang="en-US" sz="2800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23" name="文字方塊 22"/>
            <p:cNvSpPr txBox="1"/>
            <p:nvPr/>
          </p:nvSpPr>
          <p:spPr>
            <a:xfrm>
              <a:off x="7153349" y="1987121"/>
              <a:ext cx="631069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r>
                <a:rPr lang="en-US" altLang="zh-TW" sz="2800" dirty="0">
                  <a:solidFill>
                    <a:prstClr val="black"/>
                  </a:solidFill>
                  <a:latin typeface="Calibri"/>
                </a:rPr>
                <a:t>y</a:t>
              </a:r>
              <a:r>
                <a:rPr lang="en-US" altLang="zh-TW" sz="2800" baseline="-25000" dirty="0">
                  <a:solidFill>
                    <a:prstClr val="black"/>
                  </a:solidFill>
                  <a:latin typeface="Calibri"/>
                </a:rPr>
                <a:t>1</a:t>
              </a:r>
              <a:endParaRPr lang="zh-TW" altLang="en-US" sz="2800" baseline="-25000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24" name="文字方塊 23"/>
            <p:cNvSpPr txBox="1"/>
            <p:nvPr/>
          </p:nvSpPr>
          <p:spPr>
            <a:xfrm>
              <a:off x="7142066" y="2785341"/>
              <a:ext cx="631069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r>
                <a:rPr lang="en-US" altLang="zh-TW" sz="2800" dirty="0">
                  <a:solidFill>
                    <a:prstClr val="black"/>
                  </a:solidFill>
                  <a:latin typeface="Calibri"/>
                </a:rPr>
                <a:t>y</a:t>
              </a:r>
              <a:r>
                <a:rPr lang="en-US" altLang="zh-TW" sz="2800" baseline="-25000" dirty="0">
                  <a:solidFill>
                    <a:prstClr val="black"/>
                  </a:solidFill>
                  <a:latin typeface="Calibri"/>
                </a:rPr>
                <a:t>2</a:t>
              </a:r>
              <a:endParaRPr lang="zh-TW" altLang="en-US" sz="2800" baseline="-25000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25" name="文字方塊 24"/>
            <p:cNvSpPr txBox="1"/>
            <p:nvPr/>
          </p:nvSpPr>
          <p:spPr>
            <a:xfrm>
              <a:off x="7142066" y="4051573"/>
              <a:ext cx="631069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r>
                <a:rPr lang="en-US" altLang="zh-TW" sz="2800" dirty="0">
                  <a:solidFill>
                    <a:prstClr val="black"/>
                  </a:solidFill>
                  <a:latin typeface="Calibri"/>
                </a:rPr>
                <a:t>y</a:t>
              </a:r>
              <a:r>
                <a:rPr lang="en-US" altLang="zh-TW" sz="2800" baseline="-25000" dirty="0">
                  <a:solidFill>
                    <a:prstClr val="black"/>
                  </a:solidFill>
                  <a:latin typeface="Calibri"/>
                </a:rPr>
                <a:t>10</a:t>
              </a:r>
              <a:endParaRPr lang="zh-TW" altLang="en-US" sz="2800" baseline="-25000" dirty="0">
                <a:solidFill>
                  <a:prstClr val="black"/>
                </a:solidFill>
                <a:latin typeface="Calibri"/>
              </a:endParaRPr>
            </a:p>
          </p:txBody>
        </p:sp>
      </p:grpSp>
      <mc:AlternateContent xmlns:mc="http://schemas.openxmlformats.org/markup-compatibility/2006" xmlns:a14="http://schemas.microsoft.com/office/drawing/2010/main">
        <mc:Choice Requires="a14">
          <p:sp>
            <p:nvSpPr>
              <p:cNvPr id="29" name="文字方塊 28"/>
              <p:cNvSpPr txBox="1"/>
              <p:nvPr/>
            </p:nvSpPr>
            <p:spPr>
              <a:xfrm>
                <a:off x="3749382" y="4801774"/>
                <a:ext cx="2207720" cy="435760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altLang="zh-TW" sz="2800" i="1">
                          <a:solidFill>
                            <a:prstClr val="black"/>
                          </a:solidFill>
                          <a:latin typeface="Cambria Math" panose="02040503050406030204" pitchFamily="18" charset="0"/>
                        </a:rPr>
                        <m:t>𝑓</m:t>
                      </m:r>
                      <m:r>
                        <a:rPr lang="en-US" altLang="zh-TW" sz="2800" i="1">
                          <a:solidFill>
                            <a:prstClr val="black"/>
                          </a:solidFill>
                          <a:latin typeface="Cambria Math" panose="02040503050406030204" pitchFamily="18" charset="0"/>
                        </a:rPr>
                        <m:t>:</m:t>
                      </m:r>
                      <m:sSup>
                        <m:sSupPr>
                          <m:ctrlPr>
                            <a:rPr lang="en-US" altLang="zh-TW" sz="2800" i="1">
                              <a:solidFill>
                                <a:prstClr val="black"/>
                              </a:solidFill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en-US" altLang="zh-TW" sz="2800" i="1">
                              <a:solidFill>
                                <a:prstClr val="black"/>
                              </a:solidFill>
                              <a:latin typeface="Cambria Math" panose="02040503050406030204" pitchFamily="18" charset="0"/>
                            </a:rPr>
                            <m:t>𝑅</m:t>
                          </m:r>
                        </m:e>
                        <m:sup>
                          <m:r>
                            <a:rPr lang="en-US" altLang="zh-TW" sz="2800" i="1">
                              <a:solidFill>
                                <a:prstClr val="black"/>
                              </a:solidFill>
                              <a:latin typeface="Cambria Math" panose="02040503050406030204" pitchFamily="18" charset="0"/>
                            </a:rPr>
                            <m:t>256</m:t>
                          </m:r>
                        </m:sup>
                      </m:sSup>
                      <m:r>
                        <a:rPr lang="en-US" altLang="zh-TW" sz="2800" i="1">
                          <a:solidFill>
                            <a:prstClr val="black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→</m:t>
                      </m:r>
                      <m:sSup>
                        <m:sSupPr>
                          <m:ctrlPr>
                            <a:rPr lang="en-US" altLang="zh-TW" sz="2800" i="1">
                              <a:solidFill>
                                <a:prstClr val="black"/>
                              </a:solidFill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en-US" altLang="zh-TW" sz="2800" i="1">
                              <a:solidFill>
                                <a:prstClr val="black"/>
                              </a:solidFill>
                              <a:latin typeface="Cambria Math" panose="02040503050406030204" pitchFamily="18" charset="0"/>
                            </a:rPr>
                            <m:t>𝑅</m:t>
                          </m:r>
                        </m:e>
                        <m:sup>
                          <m:r>
                            <a:rPr lang="en-US" altLang="zh-TW" sz="2800" i="1">
                              <a:solidFill>
                                <a:prstClr val="black"/>
                              </a:solidFill>
                              <a:latin typeface="Cambria Math" panose="02040503050406030204" pitchFamily="18" charset="0"/>
                            </a:rPr>
                            <m:t>10</m:t>
                          </m:r>
                        </m:sup>
                      </m:sSup>
                    </m:oMath>
                  </m:oMathPara>
                </a14:m>
                <a:endParaRPr lang="zh-TW" altLang="en-US" sz="2800" dirty="0">
                  <a:solidFill>
                    <a:prstClr val="black"/>
                  </a:solidFill>
                  <a:latin typeface="Calibri"/>
                </a:endParaRPr>
              </a:p>
            </p:txBody>
          </p:sp>
        </mc:Choice>
        <mc:Fallback xmlns="">
          <p:sp>
            <p:nvSpPr>
              <p:cNvPr id="29" name="文字方塊 28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749382" y="4801774"/>
                <a:ext cx="2207720" cy="435760"/>
              </a:xfrm>
              <a:prstGeom prst="rect">
                <a:avLst/>
              </a:prstGeom>
              <a:blipFill rotWithShape="0">
                <a:blip r:embed="rId11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4" name="文字方塊 3"/>
              <p:cNvSpPr txBox="1"/>
              <p:nvPr/>
            </p:nvSpPr>
            <p:spPr>
              <a:xfrm>
                <a:off x="1997253" y="5438668"/>
                <a:ext cx="5689600" cy="954107"/>
              </a:xfrm>
              <a:prstGeom prst="rect">
                <a:avLst/>
              </a:prstGeom>
            </p:spPr>
            <p:style>
              <a:lnRef idx="0">
                <a:schemeClr val="dk1"/>
              </a:lnRef>
              <a:fillRef idx="3">
                <a:schemeClr val="dk1"/>
              </a:fillRef>
              <a:effectRef idx="3">
                <a:schemeClr val="dk1"/>
              </a:effectRef>
              <a:fontRef idx="minor">
                <a:schemeClr val="lt1"/>
              </a:fontRef>
            </p:style>
            <p:txBody>
              <a:bodyPr wrap="square" rtlCol="0">
                <a:spAutoFit/>
              </a:bodyPr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altLang="zh-TW" sz="2800" dirty="0">
                    <a:solidFill>
                      <a:prstClr val="white"/>
                    </a:solidFill>
                  </a:rPr>
                  <a:t>In deep learning, the function </a:t>
                </a:r>
                <a14:m>
                  <m:oMath xmlns:m="http://schemas.openxmlformats.org/officeDocument/2006/math">
                    <m:r>
                      <a:rPr lang="en-US" altLang="zh-TW" sz="2800" i="1">
                        <a:solidFill>
                          <a:prstClr val="white"/>
                        </a:solidFill>
                        <a:latin typeface="Cambria Math" panose="02040503050406030204" pitchFamily="18" charset="0"/>
                      </a:rPr>
                      <m:t>𝑓</m:t>
                    </m:r>
                  </m:oMath>
                </a14:m>
                <a:r>
                  <a:rPr lang="en-US" altLang="zh-TW" sz="2800" dirty="0">
                    <a:solidFill>
                      <a:prstClr val="white"/>
                    </a:solidFill>
                  </a:rPr>
                  <a:t>is represented by neural network</a:t>
                </a:r>
                <a:endParaRPr lang="zh-TW" altLang="en-US" sz="2800" dirty="0">
                  <a:solidFill>
                    <a:prstClr val="white"/>
                  </a:solidFill>
                </a:endParaRPr>
              </a:p>
            </p:txBody>
          </p:sp>
        </mc:Choice>
        <mc:Fallback xmlns="">
          <p:sp>
            <p:nvSpPr>
              <p:cNvPr id="4" name="文字方塊 3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997253" y="5438668"/>
                <a:ext cx="5689600" cy="954107"/>
              </a:xfrm>
              <a:prstGeom prst="rect">
                <a:avLst/>
              </a:prstGeom>
              <a:blipFill rotWithShape="0">
                <a:blip r:embed="rId12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326491612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/>
      <p:bldP spid="29" grpId="0" animBg="1"/>
      <p:bldP spid="4" grpId="0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1794" name="Picture 2" descr="https://cdn-images-1.medium.com/max/1600/0*-068ud_-o3ajwq_z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5983" y="476672"/>
            <a:ext cx="8062461" cy="55446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Rectangle 1"/>
          <p:cNvSpPr/>
          <p:nvPr/>
        </p:nvSpPr>
        <p:spPr>
          <a:xfrm>
            <a:off x="215516" y="6331315"/>
            <a:ext cx="8352928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dirty="0">
                <a:solidFill>
                  <a:srgbClr val="C0C0C0"/>
                </a:solidFill>
              </a:rPr>
              <a:t>https://towardsdatascience.com/what-are-the-types-of-machine-learning-e2b9e5d1756f</a:t>
            </a:r>
          </a:p>
        </p:txBody>
      </p:sp>
    </p:spTree>
    <p:extLst>
      <p:ext uri="{BB962C8B-B14F-4D97-AF65-F5344CB8AC3E}">
        <p14:creationId xmlns:p14="http://schemas.microsoft.com/office/powerpoint/2010/main" val="31017884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8" name="Object 12"/>
          <p:cNvGraphicFramePr>
            <a:graphicFrameLocks noChangeAspect="1"/>
          </p:cNvGraphicFramePr>
          <p:nvPr>
            <p:extLst/>
          </p:nvPr>
        </p:nvGraphicFramePr>
        <p:xfrm>
          <a:off x="3437393" y="2894648"/>
          <a:ext cx="5324475" cy="5969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1782" name="方程式" r:id="rId4" imgW="1917360" imgH="215640" progId="Equation.3">
                  <p:embed/>
                </p:oleObj>
              </mc:Choice>
              <mc:Fallback>
                <p:oleObj name="方程式" r:id="rId4" imgW="1917360" imgH="215640" progId="Equation.3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437393" y="2894648"/>
                        <a:ext cx="5324475" cy="59690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TW" dirty="0" smtClean="0"/>
              <a:t>Element of Neural Network </a:t>
            </a:r>
            <a:endParaRPr lang="zh-TW" altLang="en-US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5" name="文字方塊 34"/>
              <p:cNvSpPr txBox="1"/>
              <p:nvPr/>
            </p:nvSpPr>
            <p:spPr>
              <a:xfrm>
                <a:off x="4227506" y="1902037"/>
                <a:ext cx="1644040" cy="430887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altLang="zh-TW" sz="2800" i="1">
                          <a:solidFill>
                            <a:prstClr val="black"/>
                          </a:solidFill>
                          <a:latin typeface="Cambria Math" panose="02040503050406030204" pitchFamily="18" charset="0"/>
                        </a:rPr>
                        <m:t>𝑓</m:t>
                      </m:r>
                      <m:r>
                        <a:rPr lang="en-US" altLang="zh-TW" sz="2800" i="1">
                          <a:solidFill>
                            <a:prstClr val="black"/>
                          </a:solidFill>
                          <a:latin typeface="Cambria Math" panose="02040503050406030204" pitchFamily="18" charset="0"/>
                        </a:rPr>
                        <m:t>:</m:t>
                      </m:r>
                      <m:sSup>
                        <m:sSupPr>
                          <m:ctrlPr>
                            <a:rPr lang="en-US" altLang="zh-TW" sz="2800" i="1">
                              <a:solidFill>
                                <a:prstClr val="black"/>
                              </a:solidFill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en-US" altLang="zh-TW" sz="2800" i="1">
                              <a:solidFill>
                                <a:prstClr val="black"/>
                              </a:solidFill>
                              <a:latin typeface="Cambria Math" panose="02040503050406030204" pitchFamily="18" charset="0"/>
                            </a:rPr>
                            <m:t>𝑅</m:t>
                          </m:r>
                        </m:e>
                        <m:sup>
                          <m:r>
                            <a:rPr lang="en-US" altLang="zh-TW" sz="2800" i="1">
                              <a:solidFill>
                                <a:prstClr val="black"/>
                              </a:solidFill>
                              <a:latin typeface="Cambria Math" panose="02040503050406030204" pitchFamily="18" charset="0"/>
                            </a:rPr>
                            <m:t>𝐾</m:t>
                          </m:r>
                        </m:sup>
                      </m:sSup>
                      <m:r>
                        <a:rPr lang="en-US" altLang="zh-TW" sz="2800" i="1">
                          <a:solidFill>
                            <a:prstClr val="black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→</m:t>
                      </m:r>
                      <m:r>
                        <a:rPr lang="en-US" altLang="zh-TW" sz="2800" i="1">
                          <a:solidFill>
                            <a:prstClr val="black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𝑅</m:t>
                      </m:r>
                    </m:oMath>
                  </m:oMathPara>
                </a14:m>
                <a:endParaRPr lang="zh-TW" altLang="en-US" sz="2800" dirty="0">
                  <a:solidFill>
                    <a:prstClr val="black"/>
                  </a:solidFill>
                  <a:latin typeface="Calibri"/>
                </a:endParaRPr>
              </a:p>
            </p:txBody>
          </p:sp>
        </mc:Choice>
        <mc:Fallback xmlns="">
          <p:sp>
            <p:nvSpPr>
              <p:cNvPr id="35" name="文字方塊 34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227506" y="1902037"/>
                <a:ext cx="1644040" cy="430887"/>
              </a:xfrm>
              <a:prstGeom prst="rect">
                <a:avLst/>
              </a:prstGeom>
              <a:blipFill rotWithShape="0">
                <a:blip r:embed="rId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6" name="矩形 25"/>
          <p:cNvSpPr/>
          <p:nvPr/>
        </p:nvSpPr>
        <p:spPr>
          <a:xfrm>
            <a:off x="2082333" y="2938572"/>
            <a:ext cx="622890" cy="2219353"/>
          </a:xfrm>
          <a:prstGeom prst="rect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zh-TW" altLang="en-US" sz="1800">
              <a:solidFill>
                <a:prstClr val="black"/>
              </a:solidFill>
            </a:endParaRPr>
          </a:p>
        </p:txBody>
      </p:sp>
      <p:cxnSp>
        <p:nvCxnSpPr>
          <p:cNvPr id="36" name="直線單箭頭接點 35"/>
          <p:cNvCxnSpPr/>
          <p:nvPr/>
        </p:nvCxnSpPr>
        <p:spPr>
          <a:xfrm flipV="1">
            <a:off x="5697288" y="4441558"/>
            <a:ext cx="804687" cy="1"/>
          </a:xfrm>
          <a:prstGeom prst="straightConnector1">
            <a:avLst/>
          </a:prstGeom>
          <a:ln w="254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矩形 3"/>
          <p:cNvSpPr/>
          <p:nvPr/>
        </p:nvSpPr>
        <p:spPr>
          <a:xfrm>
            <a:off x="3771942" y="5463176"/>
            <a:ext cx="596697" cy="584276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rgbClr val="00B050"/>
            </a:solidFill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zh-TW" altLang="en-US" sz="1800">
              <a:solidFill>
                <a:prstClr val="black"/>
              </a:solidFill>
            </a:endParaRPr>
          </a:p>
        </p:txBody>
      </p:sp>
      <p:sp>
        <p:nvSpPr>
          <p:cNvPr id="5" name="矩形 4"/>
          <p:cNvSpPr/>
          <p:nvPr/>
        </p:nvSpPr>
        <p:spPr>
          <a:xfrm>
            <a:off x="1097648" y="2850704"/>
            <a:ext cx="596697" cy="2807025"/>
          </a:xfrm>
          <a:prstGeom prst="rect">
            <a:avLst/>
          </a:prstGeo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zh-TW" altLang="en-US" sz="1800">
              <a:solidFill>
                <a:prstClr val="black"/>
              </a:solidFill>
            </a:endParaRPr>
          </a:p>
        </p:txBody>
      </p:sp>
      <p:cxnSp>
        <p:nvCxnSpPr>
          <p:cNvPr id="6" name="直線單箭頭接點 5"/>
          <p:cNvCxnSpPr>
            <a:stCxn id="18" idx="3"/>
            <a:endCxn id="22" idx="1"/>
          </p:cNvCxnSpPr>
          <p:nvPr/>
        </p:nvCxnSpPr>
        <p:spPr>
          <a:xfrm flipV="1">
            <a:off x="1686725" y="4452003"/>
            <a:ext cx="2145559" cy="788862"/>
          </a:xfrm>
          <a:prstGeom prst="straightConnector1">
            <a:avLst/>
          </a:prstGeom>
          <a:ln w="254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橢圓 6"/>
          <p:cNvSpPr/>
          <p:nvPr/>
        </p:nvSpPr>
        <p:spPr>
          <a:xfrm>
            <a:off x="4986856" y="3943097"/>
            <a:ext cx="941612" cy="941612"/>
          </a:xfrm>
          <a:prstGeom prst="ellipse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zh-TW" altLang="en-US" sz="2400" dirty="0">
              <a:solidFill>
                <a:prstClr val="black"/>
              </a:solidFill>
            </a:endParaRPr>
          </a:p>
        </p:txBody>
      </p:sp>
      <p:graphicFrame>
        <p:nvGraphicFramePr>
          <p:cNvPr id="8" name="Object 12"/>
          <p:cNvGraphicFramePr>
            <a:graphicFrameLocks noChangeAspect="1"/>
          </p:cNvGraphicFramePr>
          <p:nvPr>
            <p:extLst/>
          </p:nvPr>
        </p:nvGraphicFramePr>
        <p:xfrm>
          <a:off x="4515922" y="4054524"/>
          <a:ext cx="352425" cy="35083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1783" name="方程式" r:id="rId7" imgW="126720" imgH="126720" progId="Equation.3">
                  <p:embed/>
                </p:oleObj>
              </mc:Choice>
              <mc:Fallback>
                <p:oleObj name="方程式" r:id="rId7" imgW="126720" imgH="126720" progId="Equation.3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4515922" y="4054524"/>
                        <a:ext cx="352425" cy="35083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Object 12"/>
          <p:cNvGraphicFramePr>
            <a:graphicFrameLocks noChangeAspect="1"/>
          </p:cNvGraphicFramePr>
          <p:nvPr>
            <p:extLst/>
          </p:nvPr>
        </p:nvGraphicFramePr>
        <p:xfrm>
          <a:off x="2140424" y="2959301"/>
          <a:ext cx="493713" cy="59531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1784" name="方程式" r:id="rId9" imgW="177480" imgH="215640" progId="Equation.3">
                  <p:embed/>
                </p:oleObj>
              </mc:Choice>
              <mc:Fallback>
                <p:oleObj name="方程式" r:id="rId9" imgW="177480" imgH="215640" progId="Equation.3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40424" y="2959301"/>
                        <a:ext cx="493713" cy="595313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0" name="Object 12"/>
          <p:cNvGraphicFramePr>
            <a:graphicFrameLocks noChangeAspect="1"/>
          </p:cNvGraphicFramePr>
          <p:nvPr>
            <p:extLst/>
          </p:nvPr>
        </p:nvGraphicFramePr>
        <p:xfrm>
          <a:off x="2144274" y="3595555"/>
          <a:ext cx="528638" cy="59531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1785" name="方程式" r:id="rId11" imgW="190440" imgH="215640" progId="Equation.3">
                  <p:embed/>
                </p:oleObj>
              </mc:Choice>
              <mc:Fallback>
                <p:oleObj name="方程式" r:id="rId11" imgW="190440" imgH="215640" progId="Equation.3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44274" y="3595555"/>
                        <a:ext cx="528638" cy="595313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1" name="Object 12"/>
          <p:cNvGraphicFramePr>
            <a:graphicFrameLocks noChangeAspect="1"/>
          </p:cNvGraphicFramePr>
          <p:nvPr>
            <p:extLst/>
          </p:nvPr>
        </p:nvGraphicFramePr>
        <p:xfrm>
          <a:off x="2140424" y="4374405"/>
          <a:ext cx="598487" cy="59531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1786" name="方程式" r:id="rId13" imgW="215640" imgH="215640" progId="Equation.3">
                  <p:embed/>
                </p:oleObj>
              </mc:Choice>
              <mc:Fallback>
                <p:oleObj name="方程式" r:id="rId13" imgW="215640" imgH="215640" progId="Equation.3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40424" y="4374405"/>
                        <a:ext cx="598487" cy="595312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2" name="直線單箭頭接點 11"/>
          <p:cNvCxnSpPr/>
          <p:nvPr/>
        </p:nvCxnSpPr>
        <p:spPr>
          <a:xfrm flipV="1">
            <a:off x="4173798" y="4421401"/>
            <a:ext cx="804687" cy="1"/>
          </a:xfrm>
          <a:prstGeom prst="straightConnector1">
            <a:avLst/>
          </a:prstGeom>
          <a:ln w="254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直線單箭頭接點 12"/>
          <p:cNvCxnSpPr>
            <a:stCxn id="17" idx="3"/>
            <a:endCxn id="22" idx="1"/>
          </p:cNvCxnSpPr>
          <p:nvPr/>
        </p:nvCxnSpPr>
        <p:spPr>
          <a:xfrm>
            <a:off x="1674694" y="4024747"/>
            <a:ext cx="2157590" cy="427256"/>
          </a:xfrm>
          <a:prstGeom prst="straightConnector1">
            <a:avLst/>
          </a:prstGeom>
          <a:ln w="254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直線單箭頭接點 13"/>
          <p:cNvCxnSpPr>
            <a:endCxn id="22" idx="1"/>
          </p:cNvCxnSpPr>
          <p:nvPr/>
        </p:nvCxnSpPr>
        <p:spPr>
          <a:xfrm>
            <a:off x="1694345" y="3166471"/>
            <a:ext cx="2137939" cy="1285532"/>
          </a:xfrm>
          <a:prstGeom prst="straightConnector1">
            <a:avLst/>
          </a:prstGeom>
          <a:ln w="254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文字方塊 14"/>
          <p:cNvSpPr txBox="1"/>
          <p:nvPr/>
        </p:nvSpPr>
        <p:spPr>
          <a:xfrm rot="5400000">
            <a:off x="1104498" y="4511686"/>
            <a:ext cx="76925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altLang="zh-TW" sz="2800" dirty="0">
                <a:solidFill>
                  <a:prstClr val="black"/>
                </a:solidFill>
                <a:latin typeface="Calibri"/>
              </a:rPr>
              <a:t>…</a:t>
            </a:r>
            <a:endParaRPr lang="zh-TW" altLang="en-US" sz="2800" dirty="0">
              <a:solidFill>
                <a:prstClr val="black"/>
              </a:solidFill>
              <a:latin typeface="Calibri"/>
            </a:endParaRPr>
          </a:p>
        </p:txBody>
      </p:sp>
      <p:graphicFrame>
        <p:nvGraphicFramePr>
          <p:cNvPr id="16" name="Object 12"/>
          <p:cNvGraphicFramePr>
            <a:graphicFrameLocks noChangeAspect="1"/>
          </p:cNvGraphicFramePr>
          <p:nvPr>
            <p:extLst/>
          </p:nvPr>
        </p:nvGraphicFramePr>
        <p:xfrm>
          <a:off x="1179394" y="2807928"/>
          <a:ext cx="495300" cy="6302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1787" name="方程式" r:id="rId15" imgW="177480" imgH="228600" progId="Equation.3">
                  <p:embed/>
                </p:oleObj>
              </mc:Choice>
              <mc:Fallback>
                <p:oleObj name="方程式" r:id="rId15" imgW="177480" imgH="228600" progId="Equation.3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79394" y="2807928"/>
                        <a:ext cx="495300" cy="63023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7" name="Object 12"/>
          <p:cNvGraphicFramePr>
            <a:graphicFrameLocks noChangeAspect="1"/>
          </p:cNvGraphicFramePr>
          <p:nvPr>
            <p:extLst/>
          </p:nvPr>
        </p:nvGraphicFramePr>
        <p:xfrm>
          <a:off x="1179394" y="3709628"/>
          <a:ext cx="495300" cy="6302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1788" name="方程式" r:id="rId17" imgW="177480" imgH="228600" progId="Equation.3">
                  <p:embed/>
                </p:oleObj>
              </mc:Choice>
              <mc:Fallback>
                <p:oleObj name="方程式" r:id="rId17" imgW="177480" imgH="228600" progId="Equation.3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79394" y="3709628"/>
                        <a:ext cx="495300" cy="63023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8" name="Object 12"/>
          <p:cNvGraphicFramePr>
            <a:graphicFrameLocks noChangeAspect="1"/>
          </p:cNvGraphicFramePr>
          <p:nvPr>
            <p:extLst/>
          </p:nvPr>
        </p:nvGraphicFramePr>
        <p:xfrm>
          <a:off x="1153325" y="4925746"/>
          <a:ext cx="533400" cy="6302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1789" name="方程式" r:id="rId19" imgW="190440" imgH="228600" progId="Equation.3">
                  <p:embed/>
                </p:oleObj>
              </mc:Choice>
              <mc:Fallback>
                <p:oleObj name="方程式" r:id="rId19" imgW="190440" imgH="228600" progId="Equation.3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53325" y="4925746"/>
                        <a:ext cx="533400" cy="63023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9" name="群組 20"/>
          <p:cNvGrpSpPr/>
          <p:nvPr/>
        </p:nvGrpSpPr>
        <p:grpSpPr>
          <a:xfrm>
            <a:off x="3832284" y="4191843"/>
            <a:ext cx="520319" cy="520319"/>
            <a:chOff x="3342651" y="3507082"/>
            <a:chExt cx="520319" cy="520319"/>
          </a:xfrm>
        </p:grpSpPr>
        <p:sp>
          <p:nvSpPr>
            <p:cNvPr id="22" name="矩形 21"/>
            <p:cNvSpPr/>
            <p:nvPr/>
          </p:nvSpPr>
          <p:spPr>
            <a:xfrm>
              <a:off x="3342651" y="3507082"/>
              <a:ext cx="520319" cy="520319"/>
            </a:xfrm>
            <a:prstGeom prst="rect">
              <a:avLst/>
            </a:prstGeom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zh-TW" altLang="en-US" sz="1800">
                <a:solidFill>
                  <a:prstClr val="black"/>
                </a:solidFill>
              </a:endParaRPr>
            </a:p>
          </p:txBody>
        </p:sp>
        <p:graphicFrame>
          <p:nvGraphicFramePr>
            <p:cNvPr id="23" name="Object 12"/>
            <p:cNvGraphicFramePr>
              <a:graphicFrameLocks noChangeAspect="1"/>
            </p:cNvGraphicFramePr>
            <p:nvPr>
              <p:extLst/>
            </p:nvPr>
          </p:nvGraphicFramePr>
          <p:xfrm>
            <a:off x="3435128" y="3545009"/>
            <a:ext cx="385763" cy="387350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spid="_x0000_s151790" name="方程式" r:id="rId21" imgW="139680" imgH="139680" progId="Equation.3">
                    <p:embed/>
                  </p:oleObj>
                </mc:Choice>
                <mc:Fallback>
                  <p:oleObj name="方程式" r:id="rId21" imgW="139680" imgH="139680" progId="Equation.3">
                    <p:embed/>
                    <p:pic>
                      <p:nvPicPr>
                        <p:cNvPr id="0" name=""/>
                        <p:cNvPicPr>
                          <a:picLocks noChangeAspect="1" noChangeArrowheads="1"/>
                        </p:cNvPicPr>
                        <p:nvPr/>
                      </p:nvPicPr>
                      <p:blipFill>
                        <a:blip r:embed="rId22">
                          <a:extLst>
                            <a:ext uri="{28A0092B-C50C-407E-A947-70E740481C1C}">
                              <a14:useLocalDpi xmlns:a14="http://schemas.microsoft.com/office/drawing/2010/main" val="0"/>
                            </a:ext>
                          </a:extLst>
                        </a:blip>
                        <a:srcRect/>
                        <a:stretch>
                          <a:fillRect/>
                        </a:stretch>
                      </p:blipFill>
                      <p:spPr bwMode="auto">
                        <a:xfrm>
                          <a:off x="3435128" y="3545009"/>
                          <a:ext cx="385763" cy="387350"/>
                        </a:xfrm>
                        <a:prstGeom prst="rect">
                          <a:avLst/>
                        </a:prstGeom>
                        <a:noFill/>
                        <a:extLst>
                          <a:ext uri="{909E8E84-426E-40DD-AFC4-6F175D3DCCD1}">
                            <a14:hiddenFill xmlns:a14="http://schemas.microsoft.com/office/drawing/2010/main">
                              <a:solidFill>
                                <a:srgbClr val="FFFFFF"/>
                              </a:solidFill>
                            </a14:hiddenFill>
                          </a:ext>
                        </a:extLst>
                      </p:spPr>
                    </p:pic>
                  </p:oleObj>
                </mc:Fallback>
              </mc:AlternateContent>
            </a:graphicData>
          </a:graphic>
        </p:graphicFrame>
      </p:grpSp>
      <p:graphicFrame>
        <p:nvGraphicFramePr>
          <p:cNvPr id="24" name="Object 12"/>
          <p:cNvGraphicFramePr>
            <a:graphicFrameLocks noChangeAspect="1"/>
          </p:cNvGraphicFramePr>
          <p:nvPr>
            <p:extLst/>
          </p:nvPr>
        </p:nvGraphicFramePr>
        <p:xfrm>
          <a:off x="3889980" y="5545694"/>
          <a:ext cx="354012" cy="4889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1791" name="方程式" r:id="rId23" imgW="126720" imgH="177480" progId="Equation.3">
                  <p:embed/>
                </p:oleObj>
              </mc:Choice>
              <mc:Fallback>
                <p:oleObj name="方程式" r:id="rId23" imgW="126720" imgH="177480" progId="Equation.3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889980" y="5545694"/>
                        <a:ext cx="354012" cy="4889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25" name="直線單箭頭接點 24"/>
          <p:cNvCxnSpPr/>
          <p:nvPr/>
        </p:nvCxnSpPr>
        <p:spPr>
          <a:xfrm flipV="1">
            <a:off x="4083491" y="4722606"/>
            <a:ext cx="0" cy="754770"/>
          </a:xfrm>
          <a:prstGeom prst="straightConnector1">
            <a:avLst/>
          </a:prstGeom>
          <a:ln w="254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28" name="Object 12"/>
          <p:cNvGraphicFramePr>
            <a:graphicFrameLocks noChangeAspect="1"/>
          </p:cNvGraphicFramePr>
          <p:nvPr>
            <p:extLst/>
          </p:nvPr>
        </p:nvGraphicFramePr>
        <p:xfrm>
          <a:off x="5054247" y="4138661"/>
          <a:ext cx="787400" cy="5334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1792" name="方程式" r:id="rId25" imgW="317160" imgH="215640" progId="Equation.3">
                  <p:embed/>
                </p:oleObj>
              </mc:Choice>
              <mc:Fallback>
                <p:oleObj name="方程式" r:id="rId25" imgW="317160" imgH="215640" progId="Equation.3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5054247" y="4138661"/>
                        <a:ext cx="787400" cy="53340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文字方塊 33"/>
          <p:cNvSpPr txBox="1"/>
          <p:nvPr/>
        </p:nvSpPr>
        <p:spPr>
          <a:xfrm>
            <a:off x="3667975" y="6056796"/>
            <a:ext cx="79802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altLang="zh-TW" sz="2400" dirty="0">
                <a:solidFill>
                  <a:srgbClr val="0000FF"/>
                </a:solidFill>
                <a:latin typeface="Calibri"/>
              </a:rPr>
              <a:t>bias</a:t>
            </a:r>
            <a:endParaRPr lang="zh-TW" altLang="en-US" sz="2400" dirty="0">
              <a:solidFill>
                <a:srgbClr val="0000FF"/>
              </a:solidFill>
              <a:latin typeface="Calibri"/>
            </a:endParaRPr>
          </a:p>
        </p:txBody>
      </p:sp>
      <p:graphicFrame>
        <p:nvGraphicFramePr>
          <p:cNvPr id="37" name="Object 12"/>
          <p:cNvGraphicFramePr>
            <a:graphicFrameLocks noChangeAspect="1"/>
          </p:cNvGraphicFramePr>
          <p:nvPr>
            <p:extLst/>
          </p:nvPr>
        </p:nvGraphicFramePr>
        <p:xfrm>
          <a:off x="6563805" y="4232275"/>
          <a:ext cx="352425" cy="3857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1793" name="方程式" r:id="rId27" imgW="126720" imgH="139680" progId="Equation.3">
                  <p:embed/>
                </p:oleObj>
              </mc:Choice>
              <mc:Fallback>
                <p:oleObj name="方程式" r:id="rId27" imgW="126720" imgH="139680" progId="Equation.3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6563805" y="4232275"/>
                        <a:ext cx="352425" cy="385763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0" name="文字方塊 39"/>
          <p:cNvSpPr txBox="1"/>
          <p:nvPr/>
        </p:nvSpPr>
        <p:spPr>
          <a:xfrm>
            <a:off x="4576141" y="4945347"/>
            <a:ext cx="189478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altLang="zh-TW" sz="2400" dirty="0">
                <a:solidFill>
                  <a:srgbClr val="0000FF"/>
                </a:solidFill>
                <a:latin typeface="Calibri"/>
              </a:rPr>
              <a:t>Activation function</a:t>
            </a:r>
            <a:endParaRPr lang="zh-TW" altLang="en-US" sz="2400" dirty="0">
              <a:solidFill>
                <a:srgbClr val="0000FF"/>
              </a:solidFill>
              <a:latin typeface="Calibri"/>
            </a:endParaRPr>
          </a:p>
        </p:txBody>
      </p:sp>
      <p:sp>
        <p:nvSpPr>
          <p:cNvPr id="39" name="文字方塊 38"/>
          <p:cNvSpPr txBox="1"/>
          <p:nvPr/>
        </p:nvSpPr>
        <p:spPr>
          <a:xfrm>
            <a:off x="1833704" y="5240865"/>
            <a:ext cx="118657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altLang="zh-TW" sz="2400" dirty="0">
                <a:solidFill>
                  <a:srgbClr val="0000FF"/>
                </a:solidFill>
                <a:latin typeface="Calibri"/>
              </a:rPr>
              <a:t>weights</a:t>
            </a:r>
            <a:endParaRPr lang="zh-TW" altLang="en-US" sz="2400" dirty="0">
              <a:solidFill>
                <a:srgbClr val="0000FF"/>
              </a:solidFill>
              <a:latin typeface="Calibri"/>
            </a:endParaRPr>
          </a:p>
        </p:txBody>
      </p:sp>
      <p:sp>
        <p:nvSpPr>
          <p:cNvPr id="3" name="矩形 2"/>
          <p:cNvSpPr/>
          <p:nvPr/>
        </p:nvSpPr>
        <p:spPr>
          <a:xfrm>
            <a:off x="2456611" y="1825094"/>
            <a:ext cx="1463670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altLang="zh-TW" sz="3200" b="1" i="1" u="sng" dirty="0">
                <a:solidFill>
                  <a:prstClr val="black"/>
                </a:solidFill>
                <a:latin typeface="Calibri"/>
              </a:rPr>
              <a:t>Neuron</a:t>
            </a:r>
            <a:endParaRPr lang="zh-TW" altLang="en-US" sz="3200" b="1" i="1" u="sng" dirty="0">
              <a:solidFill>
                <a:prstClr val="black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13866642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>
                      <p:stCondLst>
                        <p:cond delay="indefinite"/>
                      </p:stCondLst>
                      <p:childTnLst>
                        <p:par>
                          <p:cTn id="52" fill="hold">
                            <p:stCondLst>
                              <p:cond delay="0"/>
                            </p:stCondLst>
                            <p:childTnLst>
                              <p:par>
                                <p:cTn id="5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5" fill="hold">
                      <p:stCondLst>
                        <p:cond delay="indefinite"/>
                      </p:stCondLst>
                      <p:childTnLst>
                        <p:par>
                          <p:cTn id="56" fill="hold">
                            <p:stCondLst>
                              <p:cond delay="0"/>
                            </p:stCondLst>
                            <p:childTnLst>
                              <p:par>
                                <p:cTn id="5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6" grpId="0" animBg="1"/>
      <p:bldP spid="4" grpId="0" animBg="1"/>
      <p:bldP spid="7" grpId="0" animBg="1"/>
      <p:bldP spid="34" grpId="0"/>
      <p:bldP spid="40" grpId="0"/>
      <p:bldP spid="39" grpId="0"/>
    </p:bldLst>
  </p:timing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" name="文字方塊 63"/>
          <p:cNvSpPr txBox="1"/>
          <p:nvPr/>
        </p:nvSpPr>
        <p:spPr>
          <a:xfrm>
            <a:off x="5837170" y="4824499"/>
            <a:ext cx="1165859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altLang="zh-TW" sz="2400" b="1" dirty="0">
                <a:solidFill>
                  <a:prstClr val="black"/>
                </a:solidFill>
                <a:latin typeface="Calibri"/>
              </a:rPr>
              <a:t>Output Layer</a:t>
            </a:r>
            <a:endParaRPr lang="zh-TW" altLang="en-US" sz="2400" b="1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65" name="文字方塊 64"/>
          <p:cNvSpPr txBox="1"/>
          <p:nvPr/>
        </p:nvSpPr>
        <p:spPr>
          <a:xfrm>
            <a:off x="2883916" y="5172079"/>
            <a:ext cx="206664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altLang="zh-TW" sz="2400" b="1" dirty="0">
                <a:solidFill>
                  <a:prstClr val="black"/>
                </a:solidFill>
                <a:latin typeface="Calibri"/>
              </a:rPr>
              <a:t>Hidden Layers</a:t>
            </a:r>
            <a:endParaRPr lang="zh-TW" altLang="en-US" sz="2400" b="1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66" name="右大括弧 65"/>
          <p:cNvSpPr/>
          <p:nvPr/>
        </p:nvSpPr>
        <p:spPr>
          <a:xfrm rot="5400000">
            <a:off x="3844836" y="3524807"/>
            <a:ext cx="181728" cy="2939290"/>
          </a:xfrm>
          <a:prstGeom prst="rightBrace">
            <a:avLst>
              <a:gd name="adj1" fmla="val 175868"/>
              <a:gd name="adj2" fmla="val 50000"/>
            </a:avLst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zh-TW" altLang="en-US" sz="1800">
              <a:solidFill>
                <a:prstClr val="black"/>
              </a:solidFill>
            </a:endParaRPr>
          </a:p>
        </p:txBody>
      </p:sp>
      <p:sp>
        <p:nvSpPr>
          <p:cNvPr id="59" name="矩形 58"/>
          <p:cNvSpPr/>
          <p:nvPr/>
        </p:nvSpPr>
        <p:spPr>
          <a:xfrm>
            <a:off x="1321462" y="2252513"/>
            <a:ext cx="498951" cy="2625052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zh-TW" altLang="en-US" sz="1800">
              <a:solidFill>
                <a:prstClr val="black"/>
              </a:solidFill>
            </a:endParaRPr>
          </a:p>
        </p:txBody>
      </p:sp>
      <p:sp>
        <p:nvSpPr>
          <p:cNvPr id="60" name="文字方塊 59"/>
          <p:cNvSpPr txBox="1"/>
          <p:nvPr/>
        </p:nvSpPr>
        <p:spPr>
          <a:xfrm>
            <a:off x="1120750" y="4829478"/>
            <a:ext cx="928762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altLang="zh-TW" sz="2400" b="1" dirty="0">
                <a:solidFill>
                  <a:prstClr val="black"/>
                </a:solidFill>
                <a:latin typeface="Calibri"/>
              </a:rPr>
              <a:t>Input Layer</a:t>
            </a:r>
            <a:endParaRPr lang="zh-TW" altLang="en-US" sz="2400" b="1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TW" dirty="0"/>
              <a:t>Neural </a:t>
            </a:r>
            <a:r>
              <a:rPr lang="en-US" altLang="zh-TW" dirty="0" smtClean="0"/>
              <a:t>Network</a:t>
            </a:r>
            <a:endParaRPr lang="zh-TW" altLang="en-US" dirty="0"/>
          </a:p>
        </p:txBody>
      </p:sp>
      <p:sp>
        <p:nvSpPr>
          <p:cNvPr id="7" name="文字方塊 6"/>
          <p:cNvSpPr txBox="1"/>
          <p:nvPr/>
        </p:nvSpPr>
        <p:spPr>
          <a:xfrm>
            <a:off x="993976" y="1770729"/>
            <a:ext cx="113464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altLang="zh-TW" sz="2400" dirty="0">
                <a:solidFill>
                  <a:prstClr val="black"/>
                </a:solidFill>
                <a:latin typeface="Calibri"/>
              </a:rPr>
              <a:t>Input</a:t>
            </a:r>
          </a:p>
        </p:txBody>
      </p:sp>
      <p:sp>
        <p:nvSpPr>
          <p:cNvPr id="8" name="文字方塊 7"/>
          <p:cNvSpPr txBox="1"/>
          <p:nvPr/>
        </p:nvSpPr>
        <p:spPr>
          <a:xfrm>
            <a:off x="7138018" y="1770729"/>
            <a:ext cx="113464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altLang="zh-TW" sz="2400" dirty="0">
                <a:solidFill>
                  <a:prstClr val="black"/>
                </a:solidFill>
                <a:latin typeface="Calibri"/>
              </a:rPr>
              <a:t>Output</a:t>
            </a:r>
          </a:p>
        </p:txBody>
      </p:sp>
      <p:cxnSp>
        <p:nvCxnSpPr>
          <p:cNvPr id="11" name="直線單箭頭接點 10"/>
          <p:cNvCxnSpPr/>
          <p:nvPr/>
        </p:nvCxnSpPr>
        <p:spPr>
          <a:xfrm>
            <a:off x="6433736" y="3273292"/>
            <a:ext cx="1018599" cy="0"/>
          </a:xfrm>
          <a:prstGeom prst="straightConnector1">
            <a:avLst/>
          </a:prstGeom>
          <a:ln w="254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直線單箭頭接點 11"/>
          <p:cNvCxnSpPr/>
          <p:nvPr/>
        </p:nvCxnSpPr>
        <p:spPr>
          <a:xfrm>
            <a:off x="6543052" y="4519182"/>
            <a:ext cx="905748" cy="0"/>
          </a:xfrm>
          <a:prstGeom prst="straightConnector1">
            <a:avLst/>
          </a:prstGeom>
          <a:ln w="254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直線單箭頭接點 12"/>
          <p:cNvCxnSpPr/>
          <p:nvPr/>
        </p:nvCxnSpPr>
        <p:spPr>
          <a:xfrm>
            <a:off x="6409852" y="2494489"/>
            <a:ext cx="1050372" cy="0"/>
          </a:xfrm>
          <a:prstGeom prst="straightConnector1">
            <a:avLst/>
          </a:prstGeom>
          <a:ln w="254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矩形 13"/>
          <p:cNvSpPr/>
          <p:nvPr/>
        </p:nvSpPr>
        <p:spPr>
          <a:xfrm>
            <a:off x="1389850" y="2970206"/>
            <a:ext cx="342900" cy="342900"/>
          </a:xfrm>
          <a:prstGeom prst="rect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zh-TW" altLang="en-US" sz="1800">
              <a:solidFill>
                <a:prstClr val="black"/>
              </a:solidFill>
            </a:endParaRPr>
          </a:p>
        </p:txBody>
      </p:sp>
      <p:sp>
        <p:nvSpPr>
          <p:cNvPr id="15" name="矩形 14"/>
          <p:cNvSpPr/>
          <p:nvPr/>
        </p:nvSpPr>
        <p:spPr>
          <a:xfrm>
            <a:off x="1395668" y="2399877"/>
            <a:ext cx="342900" cy="342900"/>
          </a:xfrm>
          <a:prstGeom prst="rect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zh-TW" altLang="en-US" sz="1800">
              <a:solidFill>
                <a:prstClr val="black"/>
              </a:solidFill>
            </a:endParaRPr>
          </a:p>
        </p:txBody>
      </p:sp>
      <p:graphicFrame>
        <p:nvGraphicFramePr>
          <p:cNvPr id="16" name="Object 12"/>
          <p:cNvGraphicFramePr>
            <a:graphicFrameLocks noChangeAspect="1"/>
          </p:cNvGraphicFramePr>
          <p:nvPr>
            <p:extLst/>
          </p:nvPr>
        </p:nvGraphicFramePr>
        <p:xfrm>
          <a:off x="1408367" y="2304627"/>
          <a:ext cx="325438" cy="46196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2635" name="方程式" r:id="rId4" imgW="152280" imgH="215640" progId="Equation.3">
                  <p:embed/>
                </p:oleObj>
              </mc:Choice>
              <mc:Fallback>
                <p:oleObj name="方程式" r:id="rId4" imgW="152280" imgH="215640" progId="Equation.3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08367" y="2304627"/>
                        <a:ext cx="325438" cy="461962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7" name="Object 12"/>
          <p:cNvGraphicFramePr>
            <a:graphicFrameLocks noChangeAspect="1"/>
          </p:cNvGraphicFramePr>
          <p:nvPr>
            <p:extLst/>
          </p:nvPr>
        </p:nvGraphicFramePr>
        <p:xfrm>
          <a:off x="1413663" y="2887356"/>
          <a:ext cx="352425" cy="4619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2636" name="方程式" r:id="rId6" imgW="164880" imgH="215640" progId="Equation.3">
                  <p:embed/>
                </p:oleObj>
              </mc:Choice>
              <mc:Fallback>
                <p:oleObj name="方程式" r:id="rId6" imgW="164880" imgH="215640" progId="Equation.3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13663" y="2887356"/>
                        <a:ext cx="352425" cy="461963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9" name="群組 77"/>
          <p:cNvGrpSpPr/>
          <p:nvPr/>
        </p:nvGrpSpPr>
        <p:grpSpPr>
          <a:xfrm>
            <a:off x="2332137" y="1770729"/>
            <a:ext cx="1134648" cy="3130011"/>
            <a:chOff x="2332137" y="1770729"/>
            <a:chExt cx="1134648" cy="3130011"/>
          </a:xfrm>
        </p:grpSpPr>
        <p:sp>
          <p:nvSpPr>
            <p:cNvPr id="61" name="矩形 60"/>
            <p:cNvSpPr/>
            <p:nvPr/>
          </p:nvSpPr>
          <p:spPr>
            <a:xfrm>
              <a:off x="2504565" y="2224872"/>
              <a:ext cx="746342" cy="2675868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zh-TW" altLang="en-US" sz="1800">
                <a:solidFill>
                  <a:prstClr val="black"/>
                </a:solidFill>
              </a:endParaRPr>
            </a:p>
          </p:txBody>
        </p:sp>
        <p:sp>
          <p:nvSpPr>
            <p:cNvPr id="4" name="文字方塊 3"/>
            <p:cNvSpPr txBox="1"/>
            <p:nvPr/>
          </p:nvSpPr>
          <p:spPr>
            <a:xfrm>
              <a:off x="2332137" y="1770729"/>
              <a:ext cx="1134648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</a:pPr>
              <a:r>
                <a:rPr lang="en-US" altLang="zh-TW" sz="2400" dirty="0">
                  <a:solidFill>
                    <a:prstClr val="black"/>
                  </a:solidFill>
                  <a:latin typeface="Calibri"/>
                </a:rPr>
                <a:t>Layer 1</a:t>
              </a:r>
              <a:endParaRPr lang="zh-TW" altLang="en-US" sz="2400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18" name="橢圓 17"/>
            <p:cNvSpPr/>
            <p:nvPr/>
          </p:nvSpPr>
          <p:spPr>
            <a:xfrm>
              <a:off x="2601675" y="2235874"/>
              <a:ext cx="574158" cy="574158"/>
            </a:xfrm>
            <a:prstGeom prst="ellipse">
              <a:avLst/>
            </a:prstGeom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zh-TW" altLang="en-US" sz="1800">
                <a:solidFill>
                  <a:prstClr val="black"/>
                </a:solidFill>
              </a:endParaRPr>
            </a:p>
          </p:txBody>
        </p:sp>
        <p:sp>
          <p:nvSpPr>
            <p:cNvPr id="19" name="橢圓 18"/>
            <p:cNvSpPr/>
            <p:nvPr/>
          </p:nvSpPr>
          <p:spPr>
            <a:xfrm>
              <a:off x="2604017" y="3014444"/>
              <a:ext cx="574158" cy="574158"/>
            </a:xfrm>
            <a:prstGeom prst="ellipse">
              <a:avLst/>
            </a:prstGeom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zh-TW" altLang="en-US" sz="1800">
                <a:solidFill>
                  <a:prstClr val="black"/>
                </a:solidFill>
              </a:endParaRPr>
            </a:p>
          </p:txBody>
        </p:sp>
        <p:sp>
          <p:nvSpPr>
            <p:cNvPr id="20" name="橢圓 19"/>
            <p:cNvSpPr/>
            <p:nvPr/>
          </p:nvSpPr>
          <p:spPr>
            <a:xfrm>
              <a:off x="2592384" y="4242456"/>
              <a:ext cx="574158" cy="574158"/>
            </a:xfrm>
            <a:prstGeom prst="ellipse">
              <a:avLst/>
            </a:prstGeom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zh-TW" altLang="en-US" sz="1800">
                <a:solidFill>
                  <a:prstClr val="black"/>
                </a:solidFill>
              </a:endParaRPr>
            </a:p>
          </p:txBody>
        </p:sp>
        <p:sp>
          <p:nvSpPr>
            <p:cNvPr id="21" name="文字方塊 20"/>
            <p:cNvSpPr txBox="1"/>
            <p:nvPr/>
          </p:nvSpPr>
          <p:spPr>
            <a:xfrm rot="5400000">
              <a:off x="2589637" y="3664749"/>
              <a:ext cx="769257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</a:pPr>
              <a:r>
                <a:rPr lang="en-US" altLang="zh-TW" sz="2800" dirty="0">
                  <a:solidFill>
                    <a:prstClr val="black"/>
                  </a:solidFill>
                  <a:latin typeface="Calibri"/>
                </a:rPr>
                <a:t>……</a:t>
              </a:r>
              <a:endParaRPr lang="zh-TW" altLang="en-US" sz="2800" dirty="0">
                <a:solidFill>
                  <a:prstClr val="black"/>
                </a:solidFill>
                <a:latin typeface="Calibri"/>
              </a:endParaRPr>
            </a:p>
          </p:txBody>
        </p:sp>
      </p:grpSp>
      <p:sp>
        <p:nvSpPr>
          <p:cNvPr id="22" name="矩形 21"/>
          <p:cNvSpPr/>
          <p:nvPr/>
        </p:nvSpPr>
        <p:spPr>
          <a:xfrm>
            <a:off x="1399375" y="4367963"/>
            <a:ext cx="342900" cy="342900"/>
          </a:xfrm>
          <a:prstGeom prst="rect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zh-TW" altLang="en-US" sz="1800">
              <a:solidFill>
                <a:prstClr val="black"/>
              </a:solidFill>
            </a:endParaRPr>
          </a:p>
        </p:txBody>
      </p:sp>
      <p:graphicFrame>
        <p:nvGraphicFramePr>
          <p:cNvPr id="23" name="Object 12"/>
          <p:cNvGraphicFramePr>
            <a:graphicFrameLocks noChangeAspect="1"/>
          </p:cNvGraphicFramePr>
          <p:nvPr>
            <p:extLst/>
          </p:nvPr>
        </p:nvGraphicFramePr>
        <p:xfrm>
          <a:off x="1396259" y="4271709"/>
          <a:ext cx="407988" cy="4889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2637" name="方程式" r:id="rId8" imgW="190440" imgH="228600" progId="Equation.3">
                  <p:embed/>
                </p:oleObj>
              </mc:Choice>
              <mc:Fallback>
                <p:oleObj name="方程式" r:id="rId8" imgW="190440" imgH="228600" progId="Equation.3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96259" y="4271709"/>
                        <a:ext cx="407988" cy="4889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文字方塊 23"/>
          <p:cNvSpPr txBox="1"/>
          <p:nvPr/>
        </p:nvSpPr>
        <p:spPr>
          <a:xfrm rot="5400000">
            <a:off x="1275307" y="3652905"/>
            <a:ext cx="76925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altLang="zh-TW" sz="2800" dirty="0">
                <a:solidFill>
                  <a:prstClr val="black"/>
                </a:solidFill>
                <a:latin typeface="Calibri"/>
              </a:rPr>
              <a:t>……</a:t>
            </a:r>
            <a:endParaRPr lang="zh-TW" altLang="en-US" sz="2800" dirty="0">
              <a:solidFill>
                <a:prstClr val="black"/>
              </a:solidFill>
              <a:latin typeface="Calibri"/>
            </a:endParaRPr>
          </a:p>
        </p:txBody>
      </p:sp>
      <p:grpSp>
        <p:nvGrpSpPr>
          <p:cNvPr id="58" name="群組 78"/>
          <p:cNvGrpSpPr/>
          <p:nvPr/>
        </p:nvGrpSpPr>
        <p:grpSpPr>
          <a:xfrm>
            <a:off x="3657035" y="1770729"/>
            <a:ext cx="1134648" cy="3113664"/>
            <a:chOff x="3657035" y="1770729"/>
            <a:chExt cx="1134648" cy="3113664"/>
          </a:xfrm>
        </p:grpSpPr>
        <p:sp>
          <p:nvSpPr>
            <p:cNvPr id="62" name="矩形 61"/>
            <p:cNvSpPr/>
            <p:nvPr/>
          </p:nvSpPr>
          <p:spPr>
            <a:xfrm>
              <a:off x="3830151" y="2208525"/>
              <a:ext cx="746342" cy="2675868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zh-TW" altLang="en-US" sz="1800">
                <a:solidFill>
                  <a:prstClr val="black"/>
                </a:solidFill>
              </a:endParaRPr>
            </a:p>
          </p:txBody>
        </p:sp>
        <p:sp>
          <p:nvSpPr>
            <p:cNvPr id="5" name="文字方塊 4"/>
            <p:cNvSpPr txBox="1"/>
            <p:nvPr/>
          </p:nvSpPr>
          <p:spPr>
            <a:xfrm>
              <a:off x="3657035" y="1770729"/>
              <a:ext cx="1134648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</a:pPr>
              <a:r>
                <a:rPr lang="en-US" altLang="zh-TW" sz="2400" dirty="0">
                  <a:solidFill>
                    <a:prstClr val="black"/>
                  </a:solidFill>
                  <a:latin typeface="Calibri"/>
                </a:rPr>
                <a:t>Layer 2</a:t>
              </a:r>
              <a:endParaRPr lang="zh-TW" altLang="en-US" sz="2400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25" name="橢圓 24"/>
            <p:cNvSpPr/>
            <p:nvPr/>
          </p:nvSpPr>
          <p:spPr>
            <a:xfrm>
              <a:off x="3917237" y="2235874"/>
              <a:ext cx="574158" cy="574158"/>
            </a:xfrm>
            <a:prstGeom prst="ellipse">
              <a:avLst/>
            </a:prstGeom>
          </p:spPr>
          <p:style>
            <a:lnRef idx="1">
              <a:schemeClr val="accent2"/>
            </a:lnRef>
            <a:fillRef idx="2">
              <a:schemeClr val="accent2"/>
            </a:fillRef>
            <a:effectRef idx="1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zh-TW" altLang="en-US" sz="1800">
                <a:solidFill>
                  <a:prstClr val="black"/>
                </a:solidFill>
              </a:endParaRPr>
            </a:p>
          </p:txBody>
        </p:sp>
        <p:sp>
          <p:nvSpPr>
            <p:cNvPr id="26" name="橢圓 25"/>
            <p:cNvSpPr/>
            <p:nvPr/>
          </p:nvSpPr>
          <p:spPr>
            <a:xfrm>
              <a:off x="3919579" y="3014444"/>
              <a:ext cx="574158" cy="574158"/>
            </a:xfrm>
            <a:prstGeom prst="ellipse">
              <a:avLst/>
            </a:prstGeom>
          </p:spPr>
          <p:style>
            <a:lnRef idx="1">
              <a:schemeClr val="accent2"/>
            </a:lnRef>
            <a:fillRef idx="2">
              <a:schemeClr val="accent2"/>
            </a:fillRef>
            <a:effectRef idx="1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zh-TW" altLang="en-US" sz="1800">
                <a:solidFill>
                  <a:prstClr val="black"/>
                </a:solidFill>
              </a:endParaRPr>
            </a:p>
          </p:txBody>
        </p:sp>
        <p:sp>
          <p:nvSpPr>
            <p:cNvPr id="27" name="橢圓 26"/>
            <p:cNvSpPr/>
            <p:nvPr/>
          </p:nvSpPr>
          <p:spPr>
            <a:xfrm>
              <a:off x="3907946" y="4242456"/>
              <a:ext cx="574158" cy="574158"/>
            </a:xfrm>
            <a:prstGeom prst="ellipse">
              <a:avLst/>
            </a:prstGeom>
          </p:spPr>
          <p:style>
            <a:lnRef idx="1">
              <a:schemeClr val="accent2"/>
            </a:lnRef>
            <a:fillRef idx="2">
              <a:schemeClr val="accent2"/>
            </a:fillRef>
            <a:effectRef idx="1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zh-TW" altLang="en-US" sz="1800">
                <a:solidFill>
                  <a:prstClr val="black"/>
                </a:solidFill>
              </a:endParaRPr>
            </a:p>
          </p:txBody>
        </p:sp>
        <p:sp>
          <p:nvSpPr>
            <p:cNvPr id="28" name="文字方塊 27"/>
            <p:cNvSpPr txBox="1"/>
            <p:nvPr/>
          </p:nvSpPr>
          <p:spPr>
            <a:xfrm rot="5400000">
              <a:off x="3905199" y="3664749"/>
              <a:ext cx="769257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</a:pPr>
              <a:r>
                <a:rPr lang="en-US" altLang="zh-TW" sz="2800" dirty="0">
                  <a:solidFill>
                    <a:prstClr val="black"/>
                  </a:solidFill>
                  <a:latin typeface="Calibri"/>
                </a:rPr>
                <a:t>……</a:t>
              </a:r>
              <a:endParaRPr lang="zh-TW" altLang="en-US" sz="2800" dirty="0">
                <a:solidFill>
                  <a:prstClr val="black"/>
                </a:solidFill>
                <a:latin typeface="Calibri"/>
              </a:endParaRPr>
            </a:p>
          </p:txBody>
        </p:sp>
      </p:grpSp>
      <p:grpSp>
        <p:nvGrpSpPr>
          <p:cNvPr id="69" name="群組 79"/>
          <p:cNvGrpSpPr/>
          <p:nvPr/>
        </p:nvGrpSpPr>
        <p:grpSpPr>
          <a:xfrm>
            <a:off x="5868381" y="1770729"/>
            <a:ext cx="1134648" cy="3130011"/>
            <a:chOff x="5868381" y="1770729"/>
            <a:chExt cx="1134648" cy="3130011"/>
          </a:xfrm>
        </p:grpSpPr>
        <p:sp>
          <p:nvSpPr>
            <p:cNvPr id="63" name="矩形 62"/>
            <p:cNvSpPr/>
            <p:nvPr/>
          </p:nvSpPr>
          <p:spPr>
            <a:xfrm>
              <a:off x="6046929" y="2224872"/>
              <a:ext cx="746342" cy="2675868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zh-TW" altLang="en-US" sz="1800">
                <a:solidFill>
                  <a:prstClr val="black"/>
                </a:solidFill>
              </a:endParaRPr>
            </a:p>
          </p:txBody>
        </p:sp>
        <p:sp>
          <p:nvSpPr>
            <p:cNvPr id="6" name="文字方塊 5"/>
            <p:cNvSpPr txBox="1"/>
            <p:nvPr/>
          </p:nvSpPr>
          <p:spPr>
            <a:xfrm>
              <a:off x="5868381" y="1770729"/>
              <a:ext cx="1134648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</a:pPr>
              <a:r>
                <a:rPr lang="en-US" altLang="zh-TW" sz="2400" dirty="0">
                  <a:solidFill>
                    <a:prstClr val="black"/>
                  </a:solidFill>
                  <a:latin typeface="Calibri"/>
                </a:rPr>
                <a:t>Layer L</a:t>
              </a:r>
              <a:endParaRPr lang="zh-TW" altLang="en-US" sz="2400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29" name="橢圓 28"/>
            <p:cNvSpPr/>
            <p:nvPr/>
          </p:nvSpPr>
          <p:spPr>
            <a:xfrm>
              <a:off x="6122773" y="2216766"/>
              <a:ext cx="574158" cy="574158"/>
            </a:xfrm>
            <a:prstGeom prst="ellipse">
              <a:avLst/>
            </a:prstGeom>
          </p:spPr>
          <p:style>
            <a:lnRef idx="1">
              <a:schemeClr val="accent6"/>
            </a:lnRef>
            <a:fillRef idx="2">
              <a:schemeClr val="accent6"/>
            </a:fillRef>
            <a:effectRef idx="1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zh-TW" altLang="en-US" sz="1800">
                <a:solidFill>
                  <a:prstClr val="black"/>
                </a:solidFill>
              </a:endParaRPr>
            </a:p>
          </p:txBody>
        </p:sp>
        <p:sp>
          <p:nvSpPr>
            <p:cNvPr id="30" name="橢圓 29"/>
            <p:cNvSpPr/>
            <p:nvPr/>
          </p:nvSpPr>
          <p:spPr>
            <a:xfrm>
              <a:off x="6125115" y="2976675"/>
              <a:ext cx="574158" cy="574158"/>
            </a:xfrm>
            <a:prstGeom prst="ellipse">
              <a:avLst/>
            </a:prstGeom>
          </p:spPr>
          <p:style>
            <a:lnRef idx="1">
              <a:schemeClr val="accent6"/>
            </a:lnRef>
            <a:fillRef idx="2">
              <a:schemeClr val="accent6"/>
            </a:fillRef>
            <a:effectRef idx="1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zh-TW" altLang="en-US" sz="1800">
                <a:solidFill>
                  <a:prstClr val="black"/>
                </a:solidFill>
              </a:endParaRPr>
            </a:p>
          </p:txBody>
        </p:sp>
        <p:sp>
          <p:nvSpPr>
            <p:cNvPr id="31" name="橢圓 30"/>
            <p:cNvSpPr/>
            <p:nvPr/>
          </p:nvSpPr>
          <p:spPr>
            <a:xfrm>
              <a:off x="6132143" y="4223348"/>
              <a:ext cx="574158" cy="574158"/>
            </a:xfrm>
            <a:prstGeom prst="ellipse">
              <a:avLst/>
            </a:prstGeom>
          </p:spPr>
          <p:style>
            <a:lnRef idx="1">
              <a:schemeClr val="accent6"/>
            </a:lnRef>
            <a:fillRef idx="2">
              <a:schemeClr val="accent6"/>
            </a:fillRef>
            <a:effectRef idx="1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zh-TW" altLang="en-US" sz="1800">
                <a:solidFill>
                  <a:prstClr val="black"/>
                </a:solidFill>
              </a:endParaRPr>
            </a:p>
          </p:txBody>
        </p:sp>
        <p:sp>
          <p:nvSpPr>
            <p:cNvPr id="32" name="文字方塊 31"/>
            <p:cNvSpPr txBox="1"/>
            <p:nvPr/>
          </p:nvSpPr>
          <p:spPr>
            <a:xfrm rot="5400000">
              <a:off x="6129396" y="3642478"/>
              <a:ext cx="769257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</a:pPr>
              <a:r>
                <a:rPr lang="en-US" altLang="zh-TW" sz="2800" dirty="0">
                  <a:solidFill>
                    <a:prstClr val="black"/>
                  </a:solidFill>
                  <a:latin typeface="Calibri"/>
                </a:rPr>
                <a:t>……</a:t>
              </a:r>
              <a:endParaRPr lang="zh-TW" altLang="en-US" sz="2800" dirty="0">
                <a:solidFill>
                  <a:prstClr val="black"/>
                </a:solidFill>
                <a:latin typeface="Calibri"/>
              </a:endParaRPr>
            </a:p>
          </p:txBody>
        </p:sp>
      </p:grpSp>
      <p:sp>
        <p:nvSpPr>
          <p:cNvPr id="33" name="文字方塊 32"/>
          <p:cNvSpPr txBox="1"/>
          <p:nvPr/>
        </p:nvSpPr>
        <p:spPr>
          <a:xfrm>
            <a:off x="4600123" y="2191862"/>
            <a:ext cx="76925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altLang="zh-TW" sz="2800" dirty="0">
                <a:solidFill>
                  <a:prstClr val="black"/>
                </a:solidFill>
                <a:latin typeface="Calibri"/>
              </a:rPr>
              <a:t>……</a:t>
            </a:r>
            <a:endParaRPr lang="zh-TW" altLang="en-US" sz="2800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34" name="文字方塊 33"/>
          <p:cNvSpPr txBox="1"/>
          <p:nvPr/>
        </p:nvSpPr>
        <p:spPr>
          <a:xfrm>
            <a:off x="4607072" y="2952849"/>
            <a:ext cx="76925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altLang="zh-TW" sz="2800" dirty="0">
                <a:solidFill>
                  <a:prstClr val="black"/>
                </a:solidFill>
                <a:latin typeface="Calibri"/>
              </a:rPr>
              <a:t>……</a:t>
            </a:r>
            <a:endParaRPr lang="zh-TW" altLang="en-US" sz="2800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35" name="文字方塊 34"/>
          <p:cNvSpPr txBox="1"/>
          <p:nvPr/>
        </p:nvSpPr>
        <p:spPr>
          <a:xfrm>
            <a:off x="4636088" y="4168184"/>
            <a:ext cx="76925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altLang="zh-TW" sz="2800" dirty="0">
                <a:solidFill>
                  <a:prstClr val="black"/>
                </a:solidFill>
                <a:latin typeface="Calibri"/>
              </a:rPr>
              <a:t>……</a:t>
            </a:r>
            <a:endParaRPr lang="zh-TW" altLang="en-US" sz="2800" dirty="0">
              <a:solidFill>
                <a:prstClr val="black"/>
              </a:solidFill>
              <a:latin typeface="Calibri"/>
            </a:endParaRPr>
          </a:p>
        </p:txBody>
      </p:sp>
      <p:grpSp>
        <p:nvGrpSpPr>
          <p:cNvPr id="78" name="群組 80"/>
          <p:cNvGrpSpPr/>
          <p:nvPr/>
        </p:nvGrpSpPr>
        <p:grpSpPr>
          <a:xfrm>
            <a:off x="3166542" y="2522953"/>
            <a:ext cx="753037" cy="2013721"/>
            <a:chOff x="3166542" y="2522953"/>
            <a:chExt cx="753037" cy="2013721"/>
          </a:xfrm>
        </p:grpSpPr>
        <p:cxnSp>
          <p:nvCxnSpPr>
            <p:cNvPr id="36" name="直線單箭頭接點 35"/>
            <p:cNvCxnSpPr>
              <a:stCxn id="18" idx="6"/>
              <a:endCxn id="25" idx="2"/>
            </p:cNvCxnSpPr>
            <p:nvPr/>
          </p:nvCxnSpPr>
          <p:spPr>
            <a:xfrm>
              <a:off x="3175833" y="2522953"/>
              <a:ext cx="741404" cy="0"/>
            </a:xfrm>
            <a:prstGeom prst="straightConnector1">
              <a:avLst/>
            </a:prstGeom>
            <a:ln w="254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直線單箭頭接點 36"/>
            <p:cNvCxnSpPr/>
            <p:nvPr/>
          </p:nvCxnSpPr>
          <p:spPr>
            <a:xfrm>
              <a:off x="3175833" y="3314705"/>
              <a:ext cx="741404" cy="0"/>
            </a:xfrm>
            <a:prstGeom prst="straightConnector1">
              <a:avLst/>
            </a:prstGeom>
            <a:ln w="254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直線單箭頭接點 37"/>
            <p:cNvCxnSpPr/>
            <p:nvPr/>
          </p:nvCxnSpPr>
          <p:spPr>
            <a:xfrm>
              <a:off x="3166542" y="4536674"/>
              <a:ext cx="741404" cy="0"/>
            </a:xfrm>
            <a:prstGeom prst="straightConnector1">
              <a:avLst/>
            </a:prstGeom>
            <a:ln w="254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直線單箭頭接點 38"/>
            <p:cNvCxnSpPr>
              <a:stCxn id="19" idx="6"/>
              <a:endCxn id="25" idx="2"/>
            </p:cNvCxnSpPr>
            <p:nvPr/>
          </p:nvCxnSpPr>
          <p:spPr>
            <a:xfrm flipV="1">
              <a:off x="3178175" y="2522953"/>
              <a:ext cx="739062" cy="778570"/>
            </a:xfrm>
            <a:prstGeom prst="straightConnector1">
              <a:avLst/>
            </a:prstGeom>
            <a:ln w="254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直線單箭頭接點 39"/>
            <p:cNvCxnSpPr>
              <a:stCxn id="18" idx="6"/>
              <a:endCxn id="26" idx="2"/>
            </p:cNvCxnSpPr>
            <p:nvPr/>
          </p:nvCxnSpPr>
          <p:spPr>
            <a:xfrm>
              <a:off x="3175833" y="2522953"/>
              <a:ext cx="743746" cy="778570"/>
            </a:xfrm>
            <a:prstGeom prst="straightConnector1">
              <a:avLst/>
            </a:prstGeom>
            <a:ln w="254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直線單箭頭接點 40"/>
            <p:cNvCxnSpPr>
              <a:stCxn id="18" idx="6"/>
              <a:endCxn id="27" idx="2"/>
            </p:cNvCxnSpPr>
            <p:nvPr/>
          </p:nvCxnSpPr>
          <p:spPr>
            <a:xfrm>
              <a:off x="3175833" y="2522953"/>
              <a:ext cx="732113" cy="2006582"/>
            </a:xfrm>
            <a:prstGeom prst="straightConnector1">
              <a:avLst/>
            </a:prstGeom>
            <a:ln w="254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直線單箭頭接點 41"/>
            <p:cNvCxnSpPr>
              <a:stCxn id="19" idx="6"/>
              <a:endCxn id="27" idx="2"/>
            </p:cNvCxnSpPr>
            <p:nvPr/>
          </p:nvCxnSpPr>
          <p:spPr>
            <a:xfrm>
              <a:off x="3178175" y="3301523"/>
              <a:ext cx="729771" cy="1228012"/>
            </a:xfrm>
            <a:prstGeom prst="straightConnector1">
              <a:avLst/>
            </a:prstGeom>
            <a:ln w="254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直線單箭頭接點 42"/>
            <p:cNvCxnSpPr>
              <a:stCxn id="20" idx="6"/>
              <a:endCxn id="25" idx="2"/>
            </p:cNvCxnSpPr>
            <p:nvPr/>
          </p:nvCxnSpPr>
          <p:spPr>
            <a:xfrm flipV="1">
              <a:off x="3166542" y="2522953"/>
              <a:ext cx="750695" cy="2006582"/>
            </a:xfrm>
            <a:prstGeom prst="straightConnector1">
              <a:avLst/>
            </a:prstGeom>
            <a:ln w="254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直線單箭頭接點 43"/>
            <p:cNvCxnSpPr>
              <a:stCxn id="20" idx="6"/>
              <a:endCxn id="26" idx="2"/>
            </p:cNvCxnSpPr>
            <p:nvPr/>
          </p:nvCxnSpPr>
          <p:spPr>
            <a:xfrm flipV="1">
              <a:off x="3166542" y="3301523"/>
              <a:ext cx="753037" cy="1228012"/>
            </a:xfrm>
            <a:prstGeom prst="straightConnector1">
              <a:avLst/>
            </a:prstGeom>
            <a:ln w="254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45" name="直線單箭頭接點 44"/>
          <p:cNvCxnSpPr>
            <a:endCxn id="18" idx="2"/>
          </p:cNvCxnSpPr>
          <p:nvPr/>
        </p:nvCxnSpPr>
        <p:spPr>
          <a:xfrm flipV="1">
            <a:off x="1742275" y="2522953"/>
            <a:ext cx="859400" cy="29993"/>
          </a:xfrm>
          <a:prstGeom prst="straightConnector1">
            <a:avLst/>
          </a:prstGeom>
          <a:ln w="254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直線單箭頭接點 45"/>
          <p:cNvCxnSpPr>
            <a:stCxn id="15" idx="3"/>
            <a:endCxn id="19" idx="2"/>
          </p:cNvCxnSpPr>
          <p:nvPr/>
        </p:nvCxnSpPr>
        <p:spPr>
          <a:xfrm>
            <a:off x="1738568" y="2571327"/>
            <a:ext cx="865449" cy="730196"/>
          </a:xfrm>
          <a:prstGeom prst="straightConnector1">
            <a:avLst/>
          </a:prstGeom>
          <a:ln w="254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直線單箭頭接點 46"/>
          <p:cNvCxnSpPr>
            <a:stCxn id="15" idx="3"/>
            <a:endCxn id="20" idx="2"/>
          </p:cNvCxnSpPr>
          <p:nvPr/>
        </p:nvCxnSpPr>
        <p:spPr>
          <a:xfrm>
            <a:off x="1738568" y="2571327"/>
            <a:ext cx="853816" cy="1958208"/>
          </a:xfrm>
          <a:prstGeom prst="straightConnector1">
            <a:avLst/>
          </a:prstGeom>
          <a:ln w="254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直線單箭頭接點 47"/>
          <p:cNvCxnSpPr>
            <a:stCxn id="17" idx="3"/>
            <a:endCxn id="18" idx="2"/>
          </p:cNvCxnSpPr>
          <p:nvPr/>
        </p:nvCxnSpPr>
        <p:spPr>
          <a:xfrm flipV="1">
            <a:off x="1766088" y="2522953"/>
            <a:ext cx="835587" cy="595384"/>
          </a:xfrm>
          <a:prstGeom prst="straightConnector1">
            <a:avLst/>
          </a:prstGeom>
          <a:ln w="254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直線單箭頭接點 48"/>
          <p:cNvCxnSpPr>
            <a:stCxn id="14" idx="3"/>
            <a:endCxn id="19" idx="2"/>
          </p:cNvCxnSpPr>
          <p:nvPr/>
        </p:nvCxnSpPr>
        <p:spPr>
          <a:xfrm>
            <a:off x="1732750" y="3141656"/>
            <a:ext cx="871267" cy="159867"/>
          </a:xfrm>
          <a:prstGeom prst="straightConnector1">
            <a:avLst/>
          </a:prstGeom>
          <a:ln w="254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直線單箭頭接點 49"/>
          <p:cNvCxnSpPr>
            <a:stCxn id="14" idx="3"/>
            <a:endCxn id="20" idx="2"/>
          </p:cNvCxnSpPr>
          <p:nvPr/>
        </p:nvCxnSpPr>
        <p:spPr>
          <a:xfrm>
            <a:off x="1732750" y="3141656"/>
            <a:ext cx="859634" cy="1387879"/>
          </a:xfrm>
          <a:prstGeom prst="straightConnector1">
            <a:avLst/>
          </a:prstGeom>
          <a:ln w="254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直線單箭頭接點 50"/>
          <p:cNvCxnSpPr>
            <a:stCxn id="23" idx="3"/>
            <a:endCxn id="18" idx="2"/>
          </p:cNvCxnSpPr>
          <p:nvPr/>
        </p:nvCxnSpPr>
        <p:spPr>
          <a:xfrm flipV="1">
            <a:off x="1804247" y="2522953"/>
            <a:ext cx="797428" cy="1993231"/>
          </a:xfrm>
          <a:prstGeom prst="straightConnector1">
            <a:avLst/>
          </a:prstGeom>
          <a:ln w="254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直線單箭頭接點 51"/>
          <p:cNvCxnSpPr>
            <a:stCxn id="23" idx="3"/>
            <a:endCxn id="19" idx="2"/>
          </p:cNvCxnSpPr>
          <p:nvPr/>
        </p:nvCxnSpPr>
        <p:spPr>
          <a:xfrm flipV="1">
            <a:off x="1777878" y="3301523"/>
            <a:ext cx="826139" cy="1214606"/>
          </a:xfrm>
          <a:prstGeom prst="straightConnector1">
            <a:avLst/>
          </a:prstGeom>
          <a:ln w="254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直線單箭頭接點 52"/>
          <p:cNvCxnSpPr>
            <a:stCxn id="23" idx="3"/>
            <a:endCxn id="20" idx="2"/>
          </p:cNvCxnSpPr>
          <p:nvPr/>
        </p:nvCxnSpPr>
        <p:spPr>
          <a:xfrm>
            <a:off x="1777878" y="4516129"/>
            <a:ext cx="814506" cy="13406"/>
          </a:xfrm>
          <a:prstGeom prst="straightConnector1">
            <a:avLst/>
          </a:prstGeom>
          <a:ln w="254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" name="文字方塊 53"/>
          <p:cNvSpPr txBox="1"/>
          <p:nvPr/>
        </p:nvSpPr>
        <p:spPr>
          <a:xfrm rot="5400000">
            <a:off x="7402414" y="3673450"/>
            <a:ext cx="76925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altLang="zh-TW" sz="2800" dirty="0">
                <a:solidFill>
                  <a:prstClr val="black"/>
                </a:solidFill>
                <a:latin typeface="Calibri"/>
              </a:rPr>
              <a:t>……</a:t>
            </a:r>
            <a:endParaRPr lang="zh-TW" altLang="en-US" sz="2800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55" name="文字方塊 54"/>
          <p:cNvSpPr txBox="1"/>
          <p:nvPr/>
        </p:nvSpPr>
        <p:spPr>
          <a:xfrm>
            <a:off x="7471507" y="2154629"/>
            <a:ext cx="63106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altLang="zh-TW" sz="2800" dirty="0">
                <a:solidFill>
                  <a:prstClr val="black"/>
                </a:solidFill>
                <a:latin typeface="Calibri"/>
              </a:rPr>
              <a:t>y</a:t>
            </a:r>
            <a:r>
              <a:rPr lang="en-US" altLang="zh-TW" sz="2800" baseline="-25000" dirty="0">
                <a:solidFill>
                  <a:prstClr val="black"/>
                </a:solidFill>
                <a:latin typeface="Calibri"/>
              </a:rPr>
              <a:t>1</a:t>
            </a:r>
            <a:endParaRPr lang="zh-TW" altLang="en-US" sz="2800" baseline="-25000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56" name="文字方塊 55"/>
          <p:cNvSpPr txBox="1"/>
          <p:nvPr/>
        </p:nvSpPr>
        <p:spPr>
          <a:xfrm>
            <a:off x="7460224" y="2952849"/>
            <a:ext cx="63106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altLang="zh-TW" sz="2800" dirty="0">
                <a:solidFill>
                  <a:prstClr val="black"/>
                </a:solidFill>
                <a:latin typeface="Calibri"/>
              </a:rPr>
              <a:t>y</a:t>
            </a:r>
            <a:r>
              <a:rPr lang="en-US" altLang="zh-TW" sz="2800" baseline="-25000" dirty="0">
                <a:solidFill>
                  <a:prstClr val="black"/>
                </a:solidFill>
                <a:latin typeface="Calibri"/>
              </a:rPr>
              <a:t>2</a:t>
            </a:r>
            <a:endParaRPr lang="zh-TW" altLang="en-US" sz="2800" baseline="-25000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57" name="文字方塊 56"/>
          <p:cNvSpPr txBox="1"/>
          <p:nvPr/>
        </p:nvSpPr>
        <p:spPr>
          <a:xfrm>
            <a:off x="7460224" y="4219081"/>
            <a:ext cx="63106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altLang="zh-TW" sz="2800" dirty="0" err="1">
                <a:solidFill>
                  <a:prstClr val="black"/>
                </a:solidFill>
                <a:latin typeface="Calibri"/>
              </a:rPr>
              <a:t>y</a:t>
            </a:r>
            <a:r>
              <a:rPr lang="en-US" altLang="zh-TW" sz="2800" baseline="-25000" dirty="0" err="1">
                <a:solidFill>
                  <a:prstClr val="black"/>
                </a:solidFill>
                <a:latin typeface="Calibri"/>
              </a:rPr>
              <a:t>M</a:t>
            </a:r>
            <a:endParaRPr lang="zh-TW" altLang="en-US" sz="2800" baseline="-25000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68" name="文字方塊 67"/>
          <p:cNvSpPr txBox="1"/>
          <p:nvPr/>
        </p:nvSpPr>
        <p:spPr>
          <a:xfrm>
            <a:off x="2136850" y="5937293"/>
            <a:ext cx="5239013" cy="523220"/>
          </a:xfrm>
          <a:prstGeom prst="rect">
            <a:avLst/>
          </a:prstGeom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altLang="zh-TW" sz="2800" dirty="0">
                <a:solidFill>
                  <a:prstClr val="white"/>
                </a:solidFill>
              </a:rPr>
              <a:t>Deep means many hidden layers</a:t>
            </a:r>
            <a:endParaRPr lang="zh-TW" altLang="en-US" sz="2800" dirty="0">
              <a:solidFill>
                <a:prstClr val="white"/>
              </a:solidFill>
            </a:endParaRPr>
          </a:p>
        </p:txBody>
      </p:sp>
      <p:grpSp>
        <p:nvGrpSpPr>
          <p:cNvPr id="79" name="群組 81"/>
          <p:cNvGrpSpPr/>
          <p:nvPr/>
        </p:nvGrpSpPr>
        <p:grpSpPr>
          <a:xfrm>
            <a:off x="5357094" y="2515814"/>
            <a:ext cx="753037" cy="2013721"/>
            <a:chOff x="5357094" y="2515814"/>
            <a:chExt cx="753037" cy="2013721"/>
          </a:xfrm>
        </p:grpSpPr>
        <p:cxnSp>
          <p:nvCxnSpPr>
            <p:cNvPr id="67" name="直線單箭頭接點 66"/>
            <p:cNvCxnSpPr/>
            <p:nvPr/>
          </p:nvCxnSpPr>
          <p:spPr>
            <a:xfrm>
              <a:off x="5366385" y="2515814"/>
              <a:ext cx="741404" cy="0"/>
            </a:xfrm>
            <a:prstGeom prst="straightConnector1">
              <a:avLst/>
            </a:prstGeom>
            <a:ln w="254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直線單箭頭接點 69"/>
            <p:cNvCxnSpPr/>
            <p:nvPr/>
          </p:nvCxnSpPr>
          <p:spPr>
            <a:xfrm>
              <a:off x="5366385" y="3307566"/>
              <a:ext cx="741404" cy="0"/>
            </a:xfrm>
            <a:prstGeom prst="straightConnector1">
              <a:avLst/>
            </a:prstGeom>
            <a:ln w="254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直線單箭頭接點 70"/>
            <p:cNvCxnSpPr/>
            <p:nvPr/>
          </p:nvCxnSpPr>
          <p:spPr>
            <a:xfrm>
              <a:off x="5357094" y="4529535"/>
              <a:ext cx="741404" cy="0"/>
            </a:xfrm>
            <a:prstGeom prst="straightConnector1">
              <a:avLst/>
            </a:prstGeom>
            <a:ln w="254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直線單箭頭接點 71"/>
            <p:cNvCxnSpPr/>
            <p:nvPr/>
          </p:nvCxnSpPr>
          <p:spPr>
            <a:xfrm flipV="1">
              <a:off x="5368727" y="2515814"/>
              <a:ext cx="739062" cy="778570"/>
            </a:xfrm>
            <a:prstGeom prst="straightConnector1">
              <a:avLst/>
            </a:prstGeom>
            <a:ln w="254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3" name="直線單箭頭接點 72"/>
            <p:cNvCxnSpPr/>
            <p:nvPr/>
          </p:nvCxnSpPr>
          <p:spPr>
            <a:xfrm>
              <a:off x="5366385" y="2515814"/>
              <a:ext cx="743746" cy="778570"/>
            </a:xfrm>
            <a:prstGeom prst="straightConnector1">
              <a:avLst/>
            </a:prstGeom>
            <a:ln w="254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4" name="直線單箭頭接點 73"/>
            <p:cNvCxnSpPr/>
            <p:nvPr/>
          </p:nvCxnSpPr>
          <p:spPr>
            <a:xfrm>
              <a:off x="5366385" y="2515814"/>
              <a:ext cx="732113" cy="2006582"/>
            </a:xfrm>
            <a:prstGeom prst="straightConnector1">
              <a:avLst/>
            </a:prstGeom>
            <a:ln w="254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5" name="直線單箭頭接點 74"/>
            <p:cNvCxnSpPr/>
            <p:nvPr/>
          </p:nvCxnSpPr>
          <p:spPr>
            <a:xfrm>
              <a:off x="5368727" y="3294384"/>
              <a:ext cx="729771" cy="1228012"/>
            </a:xfrm>
            <a:prstGeom prst="straightConnector1">
              <a:avLst/>
            </a:prstGeom>
            <a:ln w="254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6" name="直線單箭頭接點 75"/>
            <p:cNvCxnSpPr/>
            <p:nvPr/>
          </p:nvCxnSpPr>
          <p:spPr>
            <a:xfrm flipV="1">
              <a:off x="5357094" y="2515814"/>
              <a:ext cx="750695" cy="2006582"/>
            </a:xfrm>
            <a:prstGeom prst="straightConnector1">
              <a:avLst/>
            </a:prstGeom>
            <a:ln w="254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7" name="直線單箭頭接點 76"/>
            <p:cNvCxnSpPr/>
            <p:nvPr/>
          </p:nvCxnSpPr>
          <p:spPr>
            <a:xfrm flipV="1">
              <a:off x="5357094" y="3294384"/>
              <a:ext cx="753037" cy="1228012"/>
            </a:xfrm>
            <a:prstGeom prst="straightConnector1">
              <a:avLst/>
            </a:prstGeom>
            <a:ln w="254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文字方塊 2"/>
          <p:cNvSpPr txBox="1"/>
          <p:nvPr/>
        </p:nvSpPr>
        <p:spPr>
          <a:xfrm>
            <a:off x="4984751" y="1165844"/>
            <a:ext cx="1181585" cy="461665"/>
          </a:xfrm>
          <a:prstGeom prst="rect">
            <a:avLst/>
          </a:prstGeom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altLang="zh-TW" sz="2400" dirty="0">
                <a:solidFill>
                  <a:prstClr val="white"/>
                </a:solidFill>
              </a:rPr>
              <a:t>neuron</a:t>
            </a:r>
            <a:endParaRPr lang="zh-TW" altLang="en-US" sz="2400" dirty="0">
              <a:solidFill>
                <a:prstClr val="white"/>
              </a:solidFill>
            </a:endParaRPr>
          </a:p>
        </p:txBody>
      </p:sp>
      <p:cxnSp>
        <p:nvCxnSpPr>
          <p:cNvPr id="10" name="直線單箭頭接點 9"/>
          <p:cNvCxnSpPr>
            <a:endCxn id="3" idx="2"/>
          </p:cNvCxnSpPr>
          <p:nvPr/>
        </p:nvCxnSpPr>
        <p:spPr>
          <a:xfrm flipV="1">
            <a:off x="4159624" y="1627509"/>
            <a:ext cx="1415920" cy="943818"/>
          </a:xfrm>
          <a:prstGeom prst="straightConnector1">
            <a:avLst/>
          </a:prstGeom>
          <a:ln w="38100">
            <a:solidFill>
              <a:srgbClr val="0000F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7414997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7" fill="hold">
                      <p:stCondLst>
                        <p:cond delay="indefinite"/>
                      </p:stCondLst>
                      <p:childTnLst>
                        <p:par>
                          <p:cTn id="68" fill="hold">
                            <p:stCondLst>
                              <p:cond delay="0"/>
                            </p:stCondLst>
                            <p:childTnLst>
                              <p:par>
                                <p:cTn id="6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5" fill="hold">
                      <p:stCondLst>
                        <p:cond delay="indefinite"/>
                      </p:stCondLst>
                      <p:childTnLst>
                        <p:par>
                          <p:cTn id="86" fill="hold">
                            <p:stCondLst>
                              <p:cond delay="0"/>
                            </p:stCondLst>
                            <p:childTnLst>
                              <p:par>
                                <p:cTn id="8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9" fill="hold">
                      <p:stCondLst>
                        <p:cond delay="indefinite"/>
                      </p:stCondLst>
                      <p:childTnLst>
                        <p:par>
                          <p:cTn id="90" fill="hold">
                            <p:stCondLst>
                              <p:cond delay="0"/>
                            </p:stCondLst>
                            <p:childTnLst>
                              <p:par>
                                <p:cTn id="9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3" fill="hold">
                      <p:stCondLst>
                        <p:cond delay="indefinite"/>
                      </p:stCondLst>
                      <p:childTnLst>
                        <p:par>
                          <p:cTn id="94" fill="hold">
                            <p:stCondLst>
                              <p:cond delay="0"/>
                            </p:stCondLst>
                            <p:childTnLst>
                              <p:par>
                                <p:cTn id="9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9" fill="hold">
                      <p:stCondLst>
                        <p:cond delay="indefinite"/>
                      </p:stCondLst>
                      <p:childTnLst>
                        <p:par>
                          <p:cTn id="100" fill="hold">
                            <p:stCondLst>
                              <p:cond delay="0"/>
                            </p:stCondLst>
                            <p:childTnLst>
                              <p:par>
                                <p:cTn id="10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4" grpId="0"/>
      <p:bldP spid="65" grpId="0"/>
      <p:bldP spid="66" grpId="0" animBg="1"/>
      <p:bldP spid="59" grpId="0" animBg="1"/>
      <p:bldP spid="60" grpId="0"/>
      <p:bldP spid="7" grpId="0"/>
      <p:bldP spid="8" grpId="0"/>
      <p:bldP spid="14" grpId="0" animBg="1"/>
      <p:bldP spid="15" grpId="0" animBg="1"/>
      <p:bldP spid="22" grpId="0" animBg="1"/>
      <p:bldP spid="24" grpId="0"/>
      <p:bldP spid="33" grpId="0"/>
      <p:bldP spid="34" grpId="0"/>
      <p:bldP spid="35" grpId="0"/>
      <p:bldP spid="54" grpId="0"/>
      <p:bldP spid="55" grpId="0"/>
      <p:bldP spid="56" grpId="0"/>
      <p:bldP spid="57" grpId="0"/>
      <p:bldP spid="68" grpId="0" animBg="1"/>
      <p:bldP spid="3" grpId="0" animBg="1"/>
    </p:bldLst>
  </p:timing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8" name="矩形 77"/>
          <p:cNvSpPr/>
          <p:nvPr/>
        </p:nvSpPr>
        <p:spPr>
          <a:xfrm>
            <a:off x="7180166" y="1554096"/>
            <a:ext cx="498951" cy="2625052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zh-TW" altLang="en-US" sz="1800">
              <a:solidFill>
                <a:prstClr val="black"/>
              </a:solidFill>
            </a:endParaRPr>
          </a:p>
        </p:txBody>
      </p:sp>
      <p:sp>
        <p:nvSpPr>
          <p:cNvPr id="74" name="矩形 73"/>
          <p:cNvSpPr/>
          <p:nvPr/>
        </p:nvSpPr>
        <p:spPr>
          <a:xfrm>
            <a:off x="3029726" y="1606514"/>
            <a:ext cx="746342" cy="2675868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zh-TW" altLang="en-US" sz="1800">
              <a:solidFill>
                <a:prstClr val="black"/>
              </a:solidFill>
            </a:endParaRPr>
          </a:p>
        </p:txBody>
      </p:sp>
      <p:sp>
        <p:nvSpPr>
          <p:cNvPr id="75" name="矩形 74"/>
          <p:cNvSpPr/>
          <p:nvPr/>
        </p:nvSpPr>
        <p:spPr>
          <a:xfrm>
            <a:off x="4355312" y="1590167"/>
            <a:ext cx="746342" cy="2675868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zh-TW" altLang="en-US" sz="1800">
              <a:solidFill>
                <a:prstClr val="black"/>
              </a:solidFill>
            </a:endParaRPr>
          </a:p>
        </p:txBody>
      </p:sp>
      <p:sp>
        <p:nvSpPr>
          <p:cNvPr id="76" name="矩形 75"/>
          <p:cNvSpPr/>
          <p:nvPr/>
        </p:nvSpPr>
        <p:spPr>
          <a:xfrm>
            <a:off x="5766871" y="1606514"/>
            <a:ext cx="746342" cy="2675868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zh-TW" altLang="en-US" sz="1800">
              <a:solidFill>
                <a:prstClr val="black"/>
              </a:solidFill>
            </a:endParaRPr>
          </a:p>
        </p:txBody>
      </p:sp>
      <p:sp>
        <p:nvSpPr>
          <p:cNvPr id="77" name="矩形 76"/>
          <p:cNvSpPr/>
          <p:nvPr/>
        </p:nvSpPr>
        <p:spPr>
          <a:xfrm>
            <a:off x="1846623" y="1634155"/>
            <a:ext cx="498951" cy="2625052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zh-TW" altLang="en-US" sz="1800">
              <a:solidFill>
                <a:prstClr val="black"/>
              </a:solidFill>
            </a:endParaRPr>
          </a:p>
        </p:txBody>
      </p:sp>
      <p:cxnSp>
        <p:nvCxnSpPr>
          <p:cNvPr id="93" name="直線單箭頭接點 92"/>
          <p:cNvCxnSpPr/>
          <p:nvPr/>
        </p:nvCxnSpPr>
        <p:spPr>
          <a:xfrm>
            <a:off x="6153678" y="2654934"/>
            <a:ext cx="1018599" cy="0"/>
          </a:xfrm>
          <a:prstGeom prst="straightConnector1">
            <a:avLst/>
          </a:prstGeom>
          <a:ln w="254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直線單箭頭接點 93"/>
          <p:cNvCxnSpPr/>
          <p:nvPr/>
        </p:nvCxnSpPr>
        <p:spPr>
          <a:xfrm>
            <a:off x="6262994" y="3900824"/>
            <a:ext cx="905748" cy="0"/>
          </a:xfrm>
          <a:prstGeom prst="straightConnector1">
            <a:avLst/>
          </a:prstGeom>
          <a:ln w="254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5" name="直線單箭頭接點 94"/>
          <p:cNvCxnSpPr/>
          <p:nvPr/>
        </p:nvCxnSpPr>
        <p:spPr>
          <a:xfrm>
            <a:off x="6129794" y="1876131"/>
            <a:ext cx="1050372" cy="0"/>
          </a:xfrm>
          <a:prstGeom prst="straightConnector1">
            <a:avLst/>
          </a:prstGeom>
          <a:ln w="254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6" name="矩形 95"/>
          <p:cNvSpPr/>
          <p:nvPr/>
        </p:nvSpPr>
        <p:spPr>
          <a:xfrm>
            <a:off x="1915011" y="2351848"/>
            <a:ext cx="342900" cy="342900"/>
          </a:xfrm>
          <a:prstGeom prst="rect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zh-TW" altLang="en-US" sz="1800">
              <a:solidFill>
                <a:prstClr val="black"/>
              </a:solidFill>
            </a:endParaRPr>
          </a:p>
        </p:txBody>
      </p:sp>
      <p:sp>
        <p:nvSpPr>
          <p:cNvPr id="97" name="矩形 96"/>
          <p:cNvSpPr/>
          <p:nvPr/>
        </p:nvSpPr>
        <p:spPr>
          <a:xfrm>
            <a:off x="1920829" y="1781519"/>
            <a:ext cx="342900" cy="342900"/>
          </a:xfrm>
          <a:prstGeom prst="rect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zh-TW" altLang="en-US" sz="1800">
              <a:solidFill>
                <a:prstClr val="black"/>
              </a:solidFill>
            </a:endParaRPr>
          </a:p>
        </p:txBody>
      </p:sp>
      <p:graphicFrame>
        <p:nvGraphicFramePr>
          <p:cNvPr id="98" name="Object 12"/>
          <p:cNvGraphicFramePr>
            <a:graphicFrameLocks noChangeAspect="1"/>
          </p:cNvGraphicFramePr>
          <p:nvPr>
            <p:extLst/>
          </p:nvPr>
        </p:nvGraphicFramePr>
        <p:xfrm>
          <a:off x="1933528" y="1686269"/>
          <a:ext cx="325438" cy="46196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59" name="方程式" r:id="rId4" imgW="152280" imgH="215640" progId="Equation.3">
                  <p:embed/>
                </p:oleObj>
              </mc:Choice>
              <mc:Fallback>
                <p:oleObj name="方程式" r:id="rId4" imgW="152280" imgH="215640" progId="Equation.3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33528" y="1686269"/>
                        <a:ext cx="325438" cy="461962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9" name="Object 12"/>
          <p:cNvGraphicFramePr>
            <a:graphicFrameLocks noChangeAspect="1"/>
          </p:cNvGraphicFramePr>
          <p:nvPr>
            <p:extLst/>
          </p:nvPr>
        </p:nvGraphicFramePr>
        <p:xfrm>
          <a:off x="1938824" y="2268998"/>
          <a:ext cx="352425" cy="4619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60" name="方程式" r:id="rId6" imgW="164880" imgH="215640" progId="Equation.3">
                  <p:embed/>
                </p:oleObj>
              </mc:Choice>
              <mc:Fallback>
                <p:oleObj name="方程式" r:id="rId6" imgW="164880" imgH="215640" progId="Equation.3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38824" y="2268998"/>
                        <a:ext cx="352425" cy="461963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0" name="橢圓 99"/>
          <p:cNvSpPr/>
          <p:nvPr/>
        </p:nvSpPr>
        <p:spPr>
          <a:xfrm>
            <a:off x="3126836" y="1617516"/>
            <a:ext cx="574158" cy="574158"/>
          </a:xfrm>
          <a:prstGeom prst="ellipse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zh-TW" altLang="en-US" sz="1800">
              <a:solidFill>
                <a:prstClr val="black"/>
              </a:solidFill>
            </a:endParaRPr>
          </a:p>
        </p:txBody>
      </p:sp>
      <p:sp>
        <p:nvSpPr>
          <p:cNvPr id="101" name="橢圓 100"/>
          <p:cNvSpPr/>
          <p:nvPr/>
        </p:nvSpPr>
        <p:spPr>
          <a:xfrm>
            <a:off x="3129178" y="2396086"/>
            <a:ext cx="574158" cy="574158"/>
          </a:xfrm>
          <a:prstGeom prst="ellipse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zh-TW" altLang="en-US" sz="1800">
              <a:solidFill>
                <a:prstClr val="black"/>
              </a:solidFill>
            </a:endParaRPr>
          </a:p>
        </p:txBody>
      </p:sp>
      <p:sp>
        <p:nvSpPr>
          <p:cNvPr id="102" name="橢圓 101"/>
          <p:cNvSpPr/>
          <p:nvPr/>
        </p:nvSpPr>
        <p:spPr>
          <a:xfrm>
            <a:off x="3117545" y="3624098"/>
            <a:ext cx="574158" cy="574158"/>
          </a:xfrm>
          <a:prstGeom prst="ellipse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zh-TW" altLang="en-US" sz="1800">
              <a:solidFill>
                <a:prstClr val="black"/>
              </a:solidFill>
            </a:endParaRPr>
          </a:p>
        </p:txBody>
      </p:sp>
      <p:sp>
        <p:nvSpPr>
          <p:cNvPr id="103" name="文字方塊 102"/>
          <p:cNvSpPr txBox="1"/>
          <p:nvPr/>
        </p:nvSpPr>
        <p:spPr>
          <a:xfrm rot="5400000">
            <a:off x="3114798" y="3046391"/>
            <a:ext cx="76925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altLang="zh-TW" sz="2800" dirty="0">
                <a:solidFill>
                  <a:prstClr val="black"/>
                </a:solidFill>
                <a:latin typeface="Calibri"/>
              </a:rPr>
              <a:t>……</a:t>
            </a:r>
            <a:endParaRPr lang="zh-TW" altLang="en-US" sz="2800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04" name="矩形 103"/>
          <p:cNvSpPr/>
          <p:nvPr/>
        </p:nvSpPr>
        <p:spPr>
          <a:xfrm>
            <a:off x="1924536" y="3749605"/>
            <a:ext cx="342900" cy="342900"/>
          </a:xfrm>
          <a:prstGeom prst="rect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zh-TW" altLang="en-US" sz="1800">
              <a:solidFill>
                <a:prstClr val="black"/>
              </a:solidFill>
            </a:endParaRPr>
          </a:p>
        </p:txBody>
      </p:sp>
      <p:graphicFrame>
        <p:nvGraphicFramePr>
          <p:cNvPr id="105" name="Object 12"/>
          <p:cNvGraphicFramePr>
            <a:graphicFrameLocks noChangeAspect="1"/>
          </p:cNvGraphicFramePr>
          <p:nvPr>
            <p:extLst/>
          </p:nvPr>
        </p:nvGraphicFramePr>
        <p:xfrm>
          <a:off x="1921420" y="3653351"/>
          <a:ext cx="407988" cy="4889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61" name="方程式" r:id="rId8" imgW="190440" imgH="228600" progId="Equation.3">
                  <p:embed/>
                </p:oleObj>
              </mc:Choice>
              <mc:Fallback>
                <p:oleObj name="方程式" r:id="rId8" imgW="190440" imgH="228600" progId="Equation.3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21420" y="3653351"/>
                        <a:ext cx="407988" cy="4889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6" name="文字方塊 105"/>
          <p:cNvSpPr txBox="1"/>
          <p:nvPr/>
        </p:nvSpPr>
        <p:spPr>
          <a:xfrm rot="5400000">
            <a:off x="1800468" y="3034547"/>
            <a:ext cx="76925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altLang="zh-TW" sz="2800" dirty="0">
                <a:solidFill>
                  <a:prstClr val="black"/>
                </a:solidFill>
                <a:latin typeface="Calibri"/>
              </a:rPr>
              <a:t>……</a:t>
            </a:r>
            <a:endParaRPr lang="zh-TW" altLang="en-US" sz="2800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07" name="橢圓 106"/>
          <p:cNvSpPr/>
          <p:nvPr/>
        </p:nvSpPr>
        <p:spPr>
          <a:xfrm>
            <a:off x="4442398" y="1617516"/>
            <a:ext cx="574158" cy="574158"/>
          </a:xfrm>
          <a:prstGeom prst="ellipse">
            <a:avLst/>
          </a:prstGeo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zh-TW" altLang="en-US" sz="1800">
              <a:solidFill>
                <a:prstClr val="black"/>
              </a:solidFill>
            </a:endParaRPr>
          </a:p>
        </p:txBody>
      </p:sp>
      <p:sp>
        <p:nvSpPr>
          <p:cNvPr id="108" name="橢圓 107"/>
          <p:cNvSpPr/>
          <p:nvPr/>
        </p:nvSpPr>
        <p:spPr>
          <a:xfrm>
            <a:off x="4444740" y="2396086"/>
            <a:ext cx="574158" cy="574158"/>
          </a:xfrm>
          <a:prstGeom prst="ellipse">
            <a:avLst/>
          </a:prstGeo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zh-TW" altLang="en-US" sz="1800">
              <a:solidFill>
                <a:prstClr val="black"/>
              </a:solidFill>
            </a:endParaRPr>
          </a:p>
        </p:txBody>
      </p:sp>
      <p:sp>
        <p:nvSpPr>
          <p:cNvPr id="109" name="橢圓 108"/>
          <p:cNvSpPr/>
          <p:nvPr/>
        </p:nvSpPr>
        <p:spPr>
          <a:xfrm>
            <a:off x="4433107" y="3624098"/>
            <a:ext cx="574158" cy="574158"/>
          </a:xfrm>
          <a:prstGeom prst="ellipse">
            <a:avLst/>
          </a:prstGeo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zh-TW" altLang="en-US" sz="1800">
              <a:solidFill>
                <a:prstClr val="black"/>
              </a:solidFill>
            </a:endParaRPr>
          </a:p>
        </p:txBody>
      </p:sp>
      <p:sp>
        <p:nvSpPr>
          <p:cNvPr id="110" name="文字方塊 109"/>
          <p:cNvSpPr txBox="1"/>
          <p:nvPr/>
        </p:nvSpPr>
        <p:spPr>
          <a:xfrm rot="5400000">
            <a:off x="4430360" y="3046391"/>
            <a:ext cx="76925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altLang="zh-TW" sz="2800" dirty="0">
                <a:solidFill>
                  <a:prstClr val="black"/>
                </a:solidFill>
                <a:latin typeface="Calibri"/>
              </a:rPr>
              <a:t>……</a:t>
            </a:r>
            <a:endParaRPr lang="zh-TW" altLang="en-US" sz="2800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11" name="橢圓 110"/>
          <p:cNvSpPr/>
          <p:nvPr/>
        </p:nvSpPr>
        <p:spPr>
          <a:xfrm>
            <a:off x="5842715" y="1598408"/>
            <a:ext cx="574158" cy="574158"/>
          </a:xfrm>
          <a:prstGeom prst="ellipse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zh-TW" altLang="en-US" sz="1800">
              <a:solidFill>
                <a:prstClr val="black"/>
              </a:solidFill>
            </a:endParaRPr>
          </a:p>
        </p:txBody>
      </p:sp>
      <p:sp>
        <p:nvSpPr>
          <p:cNvPr id="112" name="橢圓 111"/>
          <p:cNvSpPr/>
          <p:nvPr/>
        </p:nvSpPr>
        <p:spPr>
          <a:xfrm>
            <a:off x="5845057" y="2358317"/>
            <a:ext cx="574158" cy="574158"/>
          </a:xfrm>
          <a:prstGeom prst="ellipse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zh-TW" altLang="en-US" sz="1800">
              <a:solidFill>
                <a:prstClr val="black"/>
              </a:solidFill>
            </a:endParaRPr>
          </a:p>
        </p:txBody>
      </p:sp>
      <p:sp>
        <p:nvSpPr>
          <p:cNvPr id="113" name="橢圓 112"/>
          <p:cNvSpPr/>
          <p:nvPr/>
        </p:nvSpPr>
        <p:spPr>
          <a:xfrm>
            <a:off x="5852085" y="3604990"/>
            <a:ext cx="574158" cy="574158"/>
          </a:xfrm>
          <a:prstGeom prst="ellipse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zh-TW" altLang="en-US" sz="1800">
              <a:solidFill>
                <a:prstClr val="black"/>
              </a:solidFill>
            </a:endParaRPr>
          </a:p>
        </p:txBody>
      </p:sp>
      <p:sp>
        <p:nvSpPr>
          <p:cNvPr id="114" name="文字方塊 113"/>
          <p:cNvSpPr txBox="1"/>
          <p:nvPr/>
        </p:nvSpPr>
        <p:spPr>
          <a:xfrm rot="5400000">
            <a:off x="5849338" y="3024120"/>
            <a:ext cx="76925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altLang="zh-TW" sz="2800" dirty="0">
                <a:solidFill>
                  <a:prstClr val="black"/>
                </a:solidFill>
                <a:latin typeface="Calibri"/>
              </a:rPr>
              <a:t>……</a:t>
            </a:r>
            <a:endParaRPr lang="zh-TW" altLang="en-US" sz="2800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15" name="文字方塊 114"/>
          <p:cNvSpPr txBox="1"/>
          <p:nvPr/>
        </p:nvSpPr>
        <p:spPr>
          <a:xfrm>
            <a:off x="5014443" y="1558932"/>
            <a:ext cx="76925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altLang="zh-TW" sz="2800" dirty="0">
                <a:solidFill>
                  <a:prstClr val="black"/>
                </a:solidFill>
                <a:latin typeface="Calibri"/>
              </a:rPr>
              <a:t>……</a:t>
            </a:r>
            <a:endParaRPr lang="zh-TW" altLang="en-US" sz="2800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16" name="文字方塊 115"/>
          <p:cNvSpPr txBox="1"/>
          <p:nvPr/>
        </p:nvSpPr>
        <p:spPr>
          <a:xfrm>
            <a:off x="5032066" y="2344431"/>
            <a:ext cx="76925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altLang="zh-TW" sz="2800" dirty="0">
                <a:solidFill>
                  <a:prstClr val="black"/>
                </a:solidFill>
                <a:latin typeface="Calibri"/>
              </a:rPr>
              <a:t>……</a:t>
            </a:r>
            <a:endParaRPr lang="zh-TW" altLang="en-US" sz="2800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17" name="文字方塊 116"/>
          <p:cNvSpPr txBox="1"/>
          <p:nvPr/>
        </p:nvSpPr>
        <p:spPr>
          <a:xfrm>
            <a:off x="5044246" y="3600723"/>
            <a:ext cx="76925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altLang="zh-TW" sz="2800" dirty="0">
                <a:solidFill>
                  <a:prstClr val="black"/>
                </a:solidFill>
                <a:latin typeface="Calibri"/>
              </a:rPr>
              <a:t>……</a:t>
            </a:r>
            <a:endParaRPr lang="zh-TW" altLang="en-US" sz="2800" dirty="0">
              <a:solidFill>
                <a:prstClr val="black"/>
              </a:solidFill>
              <a:latin typeface="Calibri"/>
            </a:endParaRPr>
          </a:p>
        </p:txBody>
      </p:sp>
      <p:cxnSp>
        <p:nvCxnSpPr>
          <p:cNvPr id="118" name="直線單箭頭接點 117"/>
          <p:cNvCxnSpPr>
            <a:stCxn id="100" idx="6"/>
            <a:endCxn id="107" idx="2"/>
          </p:cNvCxnSpPr>
          <p:nvPr/>
        </p:nvCxnSpPr>
        <p:spPr>
          <a:xfrm>
            <a:off x="3700994" y="1904595"/>
            <a:ext cx="741404" cy="0"/>
          </a:xfrm>
          <a:prstGeom prst="straightConnector1">
            <a:avLst/>
          </a:prstGeom>
          <a:ln w="254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9" name="直線單箭頭接點 118"/>
          <p:cNvCxnSpPr/>
          <p:nvPr/>
        </p:nvCxnSpPr>
        <p:spPr>
          <a:xfrm>
            <a:off x="3700994" y="2696347"/>
            <a:ext cx="741404" cy="0"/>
          </a:xfrm>
          <a:prstGeom prst="straightConnector1">
            <a:avLst/>
          </a:prstGeom>
          <a:ln w="254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0" name="直線單箭頭接點 119"/>
          <p:cNvCxnSpPr/>
          <p:nvPr/>
        </p:nvCxnSpPr>
        <p:spPr>
          <a:xfrm>
            <a:off x="3691703" y="3918316"/>
            <a:ext cx="741404" cy="0"/>
          </a:xfrm>
          <a:prstGeom prst="straightConnector1">
            <a:avLst/>
          </a:prstGeom>
          <a:ln w="254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1" name="直線單箭頭接點 120"/>
          <p:cNvCxnSpPr>
            <a:stCxn id="101" idx="6"/>
            <a:endCxn id="107" idx="2"/>
          </p:cNvCxnSpPr>
          <p:nvPr/>
        </p:nvCxnSpPr>
        <p:spPr>
          <a:xfrm flipV="1">
            <a:off x="3703336" y="1904595"/>
            <a:ext cx="739062" cy="778570"/>
          </a:xfrm>
          <a:prstGeom prst="straightConnector1">
            <a:avLst/>
          </a:prstGeom>
          <a:ln w="254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2" name="直線單箭頭接點 121"/>
          <p:cNvCxnSpPr>
            <a:stCxn id="100" idx="6"/>
            <a:endCxn id="108" idx="2"/>
          </p:cNvCxnSpPr>
          <p:nvPr/>
        </p:nvCxnSpPr>
        <p:spPr>
          <a:xfrm>
            <a:off x="3700994" y="1904595"/>
            <a:ext cx="743746" cy="778570"/>
          </a:xfrm>
          <a:prstGeom prst="straightConnector1">
            <a:avLst/>
          </a:prstGeom>
          <a:ln w="254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3" name="直線單箭頭接點 122"/>
          <p:cNvCxnSpPr>
            <a:stCxn id="100" idx="6"/>
            <a:endCxn id="109" idx="2"/>
          </p:cNvCxnSpPr>
          <p:nvPr/>
        </p:nvCxnSpPr>
        <p:spPr>
          <a:xfrm>
            <a:off x="3700994" y="1904595"/>
            <a:ext cx="732113" cy="2006582"/>
          </a:xfrm>
          <a:prstGeom prst="straightConnector1">
            <a:avLst/>
          </a:prstGeom>
          <a:ln w="254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4" name="直線單箭頭接點 123"/>
          <p:cNvCxnSpPr>
            <a:stCxn id="101" idx="6"/>
            <a:endCxn id="109" idx="2"/>
          </p:cNvCxnSpPr>
          <p:nvPr/>
        </p:nvCxnSpPr>
        <p:spPr>
          <a:xfrm>
            <a:off x="3703336" y="2683165"/>
            <a:ext cx="729771" cy="1228012"/>
          </a:xfrm>
          <a:prstGeom prst="straightConnector1">
            <a:avLst/>
          </a:prstGeom>
          <a:ln w="254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5" name="直線單箭頭接點 124"/>
          <p:cNvCxnSpPr>
            <a:stCxn id="102" idx="6"/>
            <a:endCxn id="107" idx="2"/>
          </p:cNvCxnSpPr>
          <p:nvPr/>
        </p:nvCxnSpPr>
        <p:spPr>
          <a:xfrm flipV="1">
            <a:off x="3691703" y="1904595"/>
            <a:ext cx="750695" cy="2006582"/>
          </a:xfrm>
          <a:prstGeom prst="straightConnector1">
            <a:avLst/>
          </a:prstGeom>
          <a:ln w="254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6" name="直線單箭頭接點 125"/>
          <p:cNvCxnSpPr>
            <a:stCxn id="102" idx="6"/>
            <a:endCxn id="108" idx="2"/>
          </p:cNvCxnSpPr>
          <p:nvPr/>
        </p:nvCxnSpPr>
        <p:spPr>
          <a:xfrm flipV="1">
            <a:off x="3691703" y="2683165"/>
            <a:ext cx="753037" cy="1228012"/>
          </a:xfrm>
          <a:prstGeom prst="straightConnector1">
            <a:avLst/>
          </a:prstGeom>
          <a:ln w="254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7" name="直線單箭頭接點 126"/>
          <p:cNvCxnSpPr>
            <a:endCxn id="100" idx="2"/>
          </p:cNvCxnSpPr>
          <p:nvPr/>
        </p:nvCxnSpPr>
        <p:spPr>
          <a:xfrm flipV="1">
            <a:off x="2267436" y="1904595"/>
            <a:ext cx="859400" cy="29993"/>
          </a:xfrm>
          <a:prstGeom prst="straightConnector1">
            <a:avLst/>
          </a:prstGeom>
          <a:ln w="254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8" name="直線單箭頭接點 127"/>
          <p:cNvCxnSpPr>
            <a:stCxn id="97" idx="3"/>
            <a:endCxn id="101" idx="2"/>
          </p:cNvCxnSpPr>
          <p:nvPr/>
        </p:nvCxnSpPr>
        <p:spPr>
          <a:xfrm>
            <a:off x="2263729" y="1952969"/>
            <a:ext cx="865449" cy="730196"/>
          </a:xfrm>
          <a:prstGeom prst="straightConnector1">
            <a:avLst/>
          </a:prstGeom>
          <a:ln w="254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9" name="直線單箭頭接點 128"/>
          <p:cNvCxnSpPr>
            <a:stCxn id="97" idx="3"/>
            <a:endCxn id="102" idx="2"/>
          </p:cNvCxnSpPr>
          <p:nvPr/>
        </p:nvCxnSpPr>
        <p:spPr>
          <a:xfrm>
            <a:off x="2263729" y="1952969"/>
            <a:ext cx="853816" cy="1958208"/>
          </a:xfrm>
          <a:prstGeom prst="straightConnector1">
            <a:avLst/>
          </a:prstGeom>
          <a:ln w="254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0" name="直線單箭頭接點 129"/>
          <p:cNvCxnSpPr>
            <a:stCxn id="99" idx="3"/>
            <a:endCxn id="100" idx="2"/>
          </p:cNvCxnSpPr>
          <p:nvPr/>
        </p:nvCxnSpPr>
        <p:spPr>
          <a:xfrm flipV="1">
            <a:off x="2291249" y="1904595"/>
            <a:ext cx="835587" cy="595384"/>
          </a:xfrm>
          <a:prstGeom prst="straightConnector1">
            <a:avLst/>
          </a:prstGeom>
          <a:ln w="254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1" name="直線單箭頭接點 130"/>
          <p:cNvCxnSpPr>
            <a:stCxn id="96" idx="3"/>
            <a:endCxn id="101" idx="2"/>
          </p:cNvCxnSpPr>
          <p:nvPr/>
        </p:nvCxnSpPr>
        <p:spPr>
          <a:xfrm>
            <a:off x="2257911" y="2523298"/>
            <a:ext cx="871267" cy="159867"/>
          </a:xfrm>
          <a:prstGeom prst="straightConnector1">
            <a:avLst/>
          </a:prstGeom>
          <a:ln w="254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2" name="直線單箭頭接點 131"/>
          <p:cNvCxnSpPr>
            <a:stCxn id="96" idx="3"/>
            <a:endCxn id="102" idx="2"/>
          </p:cNvCxnSpPr>
          <p:nvPr/>
        </p:nvCxnSpPr>
        <p:spPr>
          <a:xfrm>
            <a:off x="2257911" y="2523298"/>
            <a:ext cx="859634" cy="1387879"/>
          </a:xfrm>
          <a:prstGeom prst="straightConnector1">
            <a:avLst/>
          </a:prstGeom>
          <a:ln w="254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3" name="直線單箭頭接點 132"/>
          <p:cNvCxnSpPr>
            <a:stCxn id="105" idx="3"/>
            <a:endCxn id="100" idx="2"/>
          </p:cNvCxnSpPr>
          <p:nvPr/>
        </p:nvCxnSpPr>
        <p:spPr>
          <a:xfrm flipV="1">
            <a:off x="2329408" y="1904595"/>
            <a:ext cx="797428" cy="1993231"/>
          </a:xfrm>
          <a:prstGeom prst="straightConnector1">
            <a:avLst/>
          </a:prstGeom>
          <a:ln w="254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4" name="直線單箭頭接點 133"/>
          <p:cNvCxnSpPr>
            <a:stCxn id="105" idx="3"/>
            <a:endCxn id="101" idx="2"/>
          </p:cNvCxnSpPr>
          <p:nvPr/>
        </p:nvCxnSpPr>
        <p:spPr>
          <a:xfrm flipV="1">
            <a:off x="2303039" y="2683165"/>
            <a:ext cx="826139" cy="1214606"/>
          </a:xfrm>
          <a:prstGeom prst="straightConnector1">
            <a:avLst/>
          </a:prstGeom>
          <a:ln w="254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5" name="直線單箭頭接點 134"/>
          <p:cNvCxnSpPr>
            <a:stCxn id="105" idx="3"/>
            <a:endCxn id="102" idx="2"/>
          </p:cNvCxnSpPr>
          <p:nvPr/>
        </p:nvCxnSpPr>
        <p:spPr>
          <a:xfrm>
            <a:off x="2303039" y="3897771"/>
            <a:ext cx="814506" cy="13406"/>
          </a:xfrm>
          <a:prstGeom prst="straightConnector1">
            <a:avLst/>
          </a:prstGeom>
          <a:ln w="254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6" name="文字方塊 135"/>
          <p:cNvSpPr txBox="1"/>
          <p:nvPr/>
        </p:nvSpPr>
        <p:spPr>
          <a:xfrm rot="5400000">
            <a:off x="7122356" y="3055092"/>
            <a:ext cx="76925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altLang="zh-TW" sz="2800" dirty="0">
                <a:solidFill>
                  <a:prstClr val="black"/>
                </a:solidFill>
                <a:latin typeface="Calibri"/>
              </a:rPr>
              <a:t>……</a:t>
            </a:r>
            <a:endParaRPr lang="zh-TW" altLang="en-US" sz="2800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37" name="文字方塊 136"/>
          <p:cNvSpPr txBox="1"/>
          <p:nvPr/>
        </p:nvSpPr>
        <p:spPr>
          <a:xfrm>
            <a:off x="7191449" y="1536271"/>
            <a:ext cx="63106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altLang="zh-TW" sz="2800" dirty="0">
                <a:solidFill>
                  <a:prstClr val="black"/>
                </a:solidFill>
                <a:latin typeface="Calibri"/>
              </a:rPr>
              <a:t>y</a:t>
            </a:r>
            <a:r>
              <a:rPr lang="en-US" altLang="zh-TW" sz="2800" baseline="-25000" dirty="0">
                <a:solidFill>
                  <a:prstClr val="black"/>
                </a:solidFill>
                <a:latin typeface="Calibri"/>
              </a:rPr>
              <a:t>1</a:t>
            </a:r>
            <a:endParaRPr lang="zh-TW" altLang="en-US" sz="2800" baseline="-25000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38" name="文字方塊 137"/>
          <p:cNvSpPr txBox="1"/>
          <p:nvPr/>
        </p:nvSpPr>
        <p:spPr>
          <a:xfrm>
            <a:off x="7180166" y="2334491"/>
            <a:ext cx="63106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altLang="zh-TW" sz="2800" dirty="0">
                <a:solidFill>
                  <a:prstClr val="black"/>
                </a:solidFill>
                <a:latin typeface="Calibri"/>
              </a:rPr>
              <a:t>y</a:t>
            </a:r>
            <a:r>
              <a:rPr lang="en-US" altLang="zh-TW" sz="2800" baseline="-25000" dirty="0">
                <a:solidFill>
                  <a:prstClr val="black"/>
                </a:solidFill>
                <a:latin typeface="Calibri"/>
              </a:rPr>
              <a:t>2</a:t>
            </a:r>
            <a:endParaRPr lang="zh-TW" altLang="en-US" sz="2800" baseline="-25000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39" name="文字方塊 138"/>
          <p:cNvSpPr txBox="1"/>
          <p:nvPr/>
        </p:nvSpPr>
        <p:spPr>
          <a:xfrm>
            <a:off x="7180166" y="3600723"/>
            <a:ext cx="63106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altLang="zh-TW" sz="2800" dirty="0" err="1">
                <a:solidFill>
                  <a:prstClr val="black"/>
                </a:solidFill>
                <a:latin typeface="Calibri"/>
              </a:rPr>
              <a:t>y</a:t>
            </a:r>
            <a:r>
              <a:rPr lang="en-US" altLang="zh-TW" sz="2800" baseline="-25000" dirty="0" err="1">
                <a:solidFill>
                  <a:prstClr val="black"/>
                </a:solidFill>
                <a:latin typeface="Calibri"/>
              </a:rPr>
              <a:t>M</a:t>
            </a:r>
            <a:endParaRPr lang="zh-TW" altLang="en-US" sz="2800" baseline="-25000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TW" dirty="0"/>
              <a:t>Neural Network </a:t>
            </a:r>
            <a:endParaRPr lang="zh-TW" altLang="en-US" dirty="0"/>
          </a:p>
        </p:txBody>
      </p:sp>
      <p:sp>
        <p:nvSpPr>
          <p:cNvPr id="70" name="矩形 69"/>
          <p:cNvSpPr/>
          <p:nvPr/>
        </p:nvSpPr>
        <p:spPr>
          <a:xfrm>
            <a:off x="2318544" y="2185783"/>
            <a:ext cx="807843" cy="832399"/>
          </a:xfrm>
          <a:prstGeom prst="rect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altLang="zh-TW" sz="2400" dirty="0">
                <a:solidFill>
                  <a:prstClr val="black"/>
                </a:solidFill>
              </a:rPr>
              <a:t>W</a:t>
            </a:r>
            <a:r>
              <a:rPr lang="en-US" altLang="zh-TW" sz="2400" baseline="30000" dirty="0">
                <a:solidFill>
                  <a:prstClr val="black"/>
                </a:solidFill>
              </a:rPr>
              <a:t>1</a:t>
            </a:r>
            <a:endParaRPr lang="zh-TW" altLang="en-US" sz="2400" baseline="30000" dirty="0">
              <a:solidFill>
                <a:prstClr val="black"/>
              </a:solidFill>
            </a:endParaRPr>
          </a:p>
        </p:txBody>
      </p:sp>
      <p:sp>
        <p:nvSpPr>
          <p:cNvPr id="79" name="矩形 78"/>
          <p:cNvSpPr/>
          <p:nvPr/>
        </p:nvSpPr>
        <p:spPr>
          <a:xfrm>
            <a:off x="3706747" y="2193987"/>
            <a:ext cx="807843" cy="832399"/>
          </a:xfrm>
          <a:prstGeom prst="rect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altLang="zh-TW" sz="2400" dirty="0">
                <a:solidFill>
                  <a:prstClr val="black"/>
                </a:solidFill>
              </a:rPr>
              <a:t>W</a:t>
            </a:r>
            <a:r>
              <a:rPr lang="en-US" altLang="zh-TW" sz="2400" baseline="30000" dirty="0">
                <a:solidFill>
                  <a:prstClr val="black"/>
                </a:solidFill>
              </a:rPr>
              <a:t>2</a:t>
            </a:r>
            <a:endParaRPr lang="zh-TW" altLang="en-US" sz="2400" baseline="30000" dirty="0">
              <a:solidFill>
                <a:prstClr val="black"/>
              </a:solidFill>
            </a:endParaRPr>
          </a:p>
        </p:txBody>
      </p:sp>
      <p:sp>
        <p:nvSpPr>
          <p:cNvPr id="80" name="矩形 79"/>
          <p:cNvSpPr/>
          <p:nvPr/>
        </p:nvSpPr>
        <p:spPr>
          <a:xfrm>
            <a:off x="5172752" y="2187088"/>
            <a:ext cx="807843" cy="832399"/>
          </a:xfrm>
          <a:prstGeom prst="rect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altLang="zh-TW" sz="2400" dirty="0">
                <a:solidFill>
                  <a:prstClr val="black"/>
                </a:solidFill>
              </a:rPr>
              <a:t>W</a:t>
            </a:r>
            <a:r>
              <a:rPr lang="en-US" altLang="zh-TW" sz="2400" baseline="30000" dirty="0">
                <a:solidFill>
                  <a:prstClr val="black"/>
                </a:solidFill>
              </a:rPr>
              <a:t>L</a:t>
            </a:r>
            <a:endParaRPr lang="zh-TW" altLang="en-US" sz="2400" baseline="30000" dirty="0">
              <a:solidFill>
                <a:prstClr val="black"/>
              </a:solidFill>
            </a:endParaRPr>
          </a:p>
        </p:txBody>
      </p:sp>
      <p:sp>
        <p:nvSpPr>
          <p:cNvPr id="82" name="矩形 81"/>
          <p:cNvSpPr/>
          <p:nvPr/>
        </p:nvSpPr>
        <p:spPr>
          <a:xfrm>
            <a:off x="4322227" y="2527382"/>
            <a:ext cx="450868" cy="854551"/>
          </a:xfrm>
          <a:prstGeom prst="rect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altLang="zh-TW" sz="2400" dirty="0">
                <a:solidFill>
                  <a:prstClr val="black"/>
                </a:solidFill>
              </a:rPr>
              <a:t>b</a:t>
            </a:r>
            <a:r>
              <a:rPr lang="en-US" altLang="zh-TW" sz="2400" baseline="30000" dirty="0">
                <a:solidFill>
                  <a:prstClr val="black"/>
                </a:solidFill>
              </a:rPr>
              <a:t>2</a:t>
            </a:r>
            <a:endParaRPr lang="zh-TW" altLang="en-US" sz="2400" baseline="30000" dirty="0">
              <a:solidFill>
                <a:prstClr val="black"/>
              </a:solidFill>
            </a:endParaRPr>
          </a:p>
        </p:txBody>
      </p:sp>
      <p:sp>
        <p:nvSpPr>
          <p:cNvPr id="83" name="矩形 82"/>
          <p:cNvSpPr/>
          <p:nvPr/>
        </p:nvSpPr>
        <p:spPr>
          <a:xfrm>
            <a:off x="5812126" y="2503875"/>
            <a:ext cx="450868" cy="854551"/>
          </a:xfrm>
          <a:prstGeom prst="rect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altLang="zh-TW" sz="2400" dirty="0" err="1">
                <a:solidFill>
                  <a:prstClr val="black"/>
                </a:solidFill>
              </a:rPr>
              <a:t>b</a:t>
            </a:r>
            <a:r>
              <a:rPr lang="en-US" altLang="zh-TW" sz="2400" baseline="30000" dirty="0" err="1">
                <a:solidFill>
                  <a:prstClr val="black"/>
                </a:solidFill>
              </a:rPr>
              <a:t>L</a:t>
            </a:r>
            <a:endParaRPr lang="zh-TW" altLang="en-US" sz="2400" baseline="30000" dirty="0">
              <a:solidFill>
                <a:prstClr val="black"/>
              </a:solidFill>
            </a:endParaRPr>
          </a:p>
        </p:txBody>
      </p:sp>
      <p:sp>
        <p:nvSpPr>
          <p:cNvPr id="88" name="矩形 87"/>
          <p:cNvSpPr/>
          <p:nvPr/>
        </p:nvSpPr>
        <p:spPr>
          <a:xfrm>
            <a:off x="2230673" y="3581029"/>
            <a:ext cx="441359" cy="877076"/>
          </a:xfrm>
          <a:prstGeom prst="rect">
            <a:avLst/>
          </a:prstGeom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altLang="zh-TW" sz="2400" dirty="0">
                <a:solidFill>
                  <a:prstClr val="black"/>
                </a:solidFill>
              </a:rPr>
              <a:t>x</a:t>
            </a:r>
            <a:endParaRPr lang="zh-TW" altLang="en-US" sz="2400" dirty="0">
              <a:solidFill>
                <a:prstClr val="black"/>
              </a:solidFill>
            </a:endParaRPr>
          </a:p>
        </p:txBody>
      </p:sp>
      <p:sp>
        <p:nvSpPr>
          <p:cNvPr id="89" name="矩形 88"/>
          <p:cNvSpPr/>
          <p:nvPr/>
        </p:nvSpPr>
        <p:spPr>
          <a:xfrm>
            <a:off x="3540087" y="3581029"/>
            <a:ext cx="441359" cy="877076"/>
          </a:xfrm>
          <a:prstGeom prst="rect">
            <a:avLst/>
          </a:prstGeom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altLang="zh-TW" sz="2400" dirty="0">
                <a:solidFill>
                  <a:prstClr val="black"/>
                </a:solidFill>
              </a:rPr>
              <a:t>a</a:t>
            </a:r>
            <a:r>
              <a:rPr lang="en-US" altLang="zh-TW" sz="2400" baseline="30000" dirty="0">
                <a:solidFill>
                  <a:prstClr val="black"/>
                </a:solidFill>
              </a:rPr>
              <a:t>1</a:t>
            </a:r>
            <a:endParaRPr lang="zh-TW" altLang="en-US" sz="2400" baseline="30000" dirty="0">
              <a:solidFill>
                <a:prstClr val="black"/>
              </a:solidFill>
            </a:endParaRPr>
          </a:p>
        </p:txBody>
      </p:sp>
      <p:sp>
        <p:nvSpPr>
          <p:cNvPr id="90" name="矩形 89"/>
          <p:cNvSpPr/>
          <p:nvPr/>
        </p:nvSpPr>
        <p:spPr>
          <a:xfrm>
            <a:off x="4875211" y="3594769"/>
            <a:ext cx="441359" cy="877076"/>
          </a:xfrm>
          <a:prstGeom prst="rect">
            <a:avLst/>
          </a:prstGeom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altLang="zh-TW" sz="2400" dirty="0">
                <a:solidFill>
                  <a:prstClr val="black"/>
                </a:solidFill>
              </a:rPr>
              <a:t>a</a:t>
            </a:r>
            <a:r>
              <a:rPr lang="en-US" altLang="zh-TW" sz="2400" baseline="30000" dirty="0">
                <a:solidFill>
                  <a:prstClr val="black"/>
                </a:solidFill>
              </a:rPr>
              <a:t>2</a:t>
            </a:r>
            <a:endParaRPr lang="zh-TW" altLang="en-US" sz="2400" baseline="30000" dirty="0">
              <a:solidFill>
                <a:prstClr val="black"/>
              </a:solidFill>
            </a:endParaRPr>
          </a:p>
        </p:txBody>
      </p:sp>
      <p:sp>
        <p:nvSpPr>
          <p:cNvPr id="92" name="矩形 91"/>
          <p:cNvSpPr/>
          <p:nvPr/>
        </p:nvSpPr>
        <p:spPr>
          <a:xfrm>
            <a:off x="6464825" y="3589712"/>
            <a:ext cx="441359" cy="877076"/>
          </a:xfrm>
          <a:prstGeom prst="rect">
            <a:avLst/>
          </a:prstGeom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altLang="zh-TW" sz="2400" dirty="0">
                <a:solidFill>
                  <a:prstClr val="black"/>
                </a:solidFill>
              </a:rPr>
              <a:t>y</a:t>
            </a:r>
            <a:endParaRPr lang="zh-TW" altLang="en-US" sz="2400" baseline="30000" dirty="0">
              <a:solidFill>
                <a:prstClr val="black"/>
              </a:solidFill>
            </a:endParaRPr>
          </a:p>
        </p:txBody>
      </p:sp>
      <p:grpSp>
        <p:nvGrpSpPr>
          <p:cNvPr id="4" name="群組 3"/>
          <p:cNvGrpSpPr/>
          <p:nvPr/>
        </p:nvGrpSpPr>
        <p:grpSpPr>
          <a:xfrm>
            <a:off x="162373" y="4820851"/>
            <a:ext cx="3002489" cy="877076"/>
            <a:chOff x="522337" y="4911258"/>
            <a:chExt cx="3002489" cy="877076"/>
          </a:xfrm>
        </p:grpSpPr>
        <p:sp>
          <p:nvSpPr>
            <p:cNvPr id="71" name="矩形 70"/>
            <p:cNvSpPr/>
            <p:nvPr/>
          </p:nvSpPr>
          <p:spPr>
            <a:xfrm>
              <a:off x="2804292" y="4913061"/>
              <a:ext cx="450868" cy="854551"/>
            </a:xfrm>
            <a:prstGeom prst="rect">
              <a:avLst/>
            </a:prstGeom>
          </p:spPr>
          <p:style>
            <a:lnRef idx="1">
              <a:schemeClr val="accent6"/>
            </a:lnRef>
            <a:fillRef idx="2">
              <a:schemeClr val="accent6"/>
            </a:fillRef>
            <a:effectRef idx="1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</a:pPr>
              <a:r>
                <a:rPr lang="en-US" altLang="zh-TW" sz="2400" dirty="0">
                  <a:solidFill>
                    <a:prstClr val="black"/>
                  </a:solidFill>
                </a:rPr>
                <a:t>b</a:t>
              </a:r>
              <a:r>
                <a:rPr lang="en-US" altLang="zh-TW" sz="2400" baseline="30000" dirty="0">
                  <a:solidFill>
                    <a:prstClr val="black"/>
                  </a:solidFill>
                </a:rPr>
                <a:t>1</a:t>
              </a:r>
              <a:endParaRPr lang="zh-TW" altLang="en-US" sz="2400" baseline="30000" dirty="0">
                <a:solidFill>
                  <a:prstClr val="black"/>
                </a:solidFill>
              </a:endParaRPr>
            </a:p>
          </p:txBody>
        </p:sp>
        <p:sp>
          <p:nvSpPr>
            <p:cNvPr id="143" name="矩形 142"/>
            <p:cNvSpPr/>
            <p:nvPr/>
          </p:nvSpPr>
          <p:spPr>
            <a:xfrm>
              <a:off x="982807" y="4935213"/>
              <a:ext cx="807843" cy="832399"/>
            </a:xfrm>
            <a:prstGeom prst="rect">
              <a:avLst/>
            </a:prstGeom>
          </p:spPr>
          <p:style>
            <a:lnRef idx="1">
              <a:schemeClr val="accent4"/>
            </a:lnRef>
            <a:fillRef idx="2">
              <a:schemeClr val="accent4"/>
            </a:fillRef>
            <a:effectRef idx="1">
              <a:schemeClr val="accent4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</a:pPr>
              <a:r>
                <a:rPr lang="en-US" altLang="zh-TW" sz="2400" dirty="0">
                  <a:solidFill>
                    <a:prstClr val="black"/>
                  </a:solidFill>
                </a:rPr>
                <a:t>W</a:t>
              </a:r>
              <a:r>
                <a:rPr lang="en-US" altLang="zh-TW" sz="2400" baseline="30000" dirty="0">
                  <a:solidFill>
                    <a:prstClr val="black"/>
                  </a:solidFill>
                </a:rPr>
                <a:t>1</a:t>
              </a:r>
              <a:endParaRPr lang="zh-TW" altLang="en-US" sz="2400" baseline="30000" dirty="0">
                <a:solidFill>
                  <a:prstClr val="black"/>
                </a:solidFill>
              </a:endParaRPr>
            </a:p>
          </p:txBody>
        </p:sp>
        <p:sp>
          <p:nvSpPr>
            <p:cNvPr id="144" name="矩形 143"/>
            <p:cNvSpPr/>
            <p:nvPr/>
          </p:nvSpPr>
          <p:spPr>
            <a:xfrm>
              <a:off x="1883749" y="4911258"/>
              <a:ext cx="441359" cy="877076"/>
            </a:xfrm>
            <a:prstGeom prst="rect">
              <a:avLst/>
            </a:prstGeom>
          </p:spPr>
          <p:style>
            <a:lnRef idx="1">
              <a:schemeClr val="accent5"/>
            </a:lnRef>
            <a:fillRef idx="2">
              <a:schemeClr val="accent5"/>
            </a:fillRef>
            <a:effectRef idx="1">
              <a:schemeClr val="accent5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</a:pPr>
              <a:r>
                <a:rPr lang="en-US" altLang="zh-TW" sz="2400" dirty="0">
                  <a:solidFill>
                    <a:prstClr val="black"/>
                  </a:solidFill>
                </a:rPr>
                <a:t>x</a:t>
              </a:r>
              <a:endParaRPr lang="zh-TW" altLang="en-US" sz="2400" dirty="0">
                <a:solidFill>
                  <a:prstClr val="black"/>
                </a:solidFill>
              </a:endParaRPr>
            </a:p>
          </p:txBody>
        </p:sp>
        <p:sp>
          <p:nvSpPr>
            <p:cNvPr id="3" name="文字方塊 2"/>
            <p:cNvSpPr txBox="1"/>
            <p:nvPr/>
          </p:nvSpPr>
          <p:spPr>
            <a:xfrm>
              <a:off x="2384389" y="5106861"/>
              <a:ext cx="360621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</a:pPr>
              <a:r>
                <a:rPr lang="en-US" altLang="zh-TW" sz="2400" dirty="0">
                  <a:solidFill>
                    <a:prstClr val="black"/>
                  </a:solidFill>
                  <a:latin typeface="Calibri"/>
                </a:rPr>
                <a:t>+</a:t>
              </a:r>
              <a:endParaRPr lang="zh-TW" altLang="en-US" sz="2400" dirty="0">
                <a:solidFill>
                  <a:prstClr val="black"/>
                </a:solidFill>
                <a:latin typeface="Calibri"/>
              </a:endParaRPr>
            </a:p>
          </p:txBody>
        </p: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145" name="文字方塊 144"/>
                <p:cNvSpPr txBox="1"/>
                <p:nvPr/>
              </p:nvSpPr>
              <p:spPr>
                <a:xfrm>
                  <a:off x="522337" y="5165130"/>
                  <a:ext cx="3002489" cy="369332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>
                  <a:spAutoFit/>
                </a:bodyPr>
                <a:lstStyle/>
                <a:p>
                  <a:pPr eaLnBrk="1" fontAlgn="auto" hangingPunct="1">
                    <a:spcBef>
                      <a:spcPts val="0"/>
                    </a:spcBef>
                    <a:spcAft>
                      <a:spcPts val="0"/>
                    </a:spcAft>
                  </a:pPr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a:rPr lang="zh-TW" altLang="en-US" sz="2400" i="1">
                            <a:solidFill>
                              <a:prstClr val="black"/>
                            </a:solidFill>
                            <a:latin typeface="Cambria Math" panose="02040503050406030204" pitchFamily="18" charset="0"/>
                          </a:rPr>
                          <m:t>𝜎</m:t>
                        </m:r>
                        <m:d>
                          <m:dPr>
                            <m:ctrlPr>
                              <a:rPr lang="en-US" altLang="zh-TW" sz="2400" i="1">
                                <a:solidFill>
                                  <a:prstClr val="black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dPr>
                          <m:e>
                            <m:r>
                              <a:rPr lang="en-US" altLang="zh-TW" sz="2400" i="1">
                                <a:solidFill>
                                  <a:prstClr val="black"/>
                                </a:solidFill>
                                <a:latin typeface="Cambria Math" panose="02040503050406030204" pitchFamily="18" charset="0"/>
                              </a:rPr>
                              <m:t>                                    </m:t>
                            </m:r>
                          </m:e>
                        </m:d>
                      </m:oMath>
                    </m:oMathPara>
                  </a14:m>
                  <a:endParaRPr lang="zh-TW" altLang="en-US" sz="2400" dirty="0">
                    <a:solidFill>
                      <a:prstClr val="black"/>
                    </a:solidFill>
                    <a:latin typeface="Calibri"/>
                  </a:endParaRPr>
                </a:p>
              </p:txBody>
            </p:sp>
          </mc:Choice>
          <mc:Fallback xmlns="">
            <p:sp>
              <p:nvSpPr>
                <p:cNvPr id="145" name="文字方塊 144"/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522337" y="5165130"/>
                  <a:ext cx="3002489" cy="369332"/>
                </a:xfrm>
                <a:prstGeom prst="rect">
                  <a:avLst/>
                </a:prstGeom>
                <a:blipFill rotWithShape="0">
                  <a:blip r:embed="rId10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en-US">
                      <a:noFill/>
                    </a:rPr>
                    <a:t> </a:t>
                  </a:r>
                </a:p>
              </p:txBody>
            </p:sp>
          </mc:Fallback>
        </mc:AlternateContent>
      </p:grpSp>
      <p:grpSp>
        <p:nvGrpSpPr>
          <p:cNvPr id="5" name="群組 158"/>
          <p:cNvGrpSpPr/>
          <p:nvPr/>
        </p:nvGrpSpPr>
        <p:grpSpPr>
          <a:xfrm>
            <a:off x="3164862" y="5192193"/>
            <a:ext cx="3002489" cy="877076"/>
            <a:chOff x="522337" y="4911258"/>
            <a:chExt cx="3002489" cy="877076"/>
          </a:xfrm>
        </p:grpSpPr>
        <p:sp>
          <p:nvSpPr>
            <p:cNvPr id="160" name="矩形 159"/>
            <p:cNvSpPr/>
            <p:nvPr/>
          </p:nvSpPr>
          <p:spPr>
            <a:xfrm>
              <a:off x="2804292" y="4913061"/>
              <a:ext cx="450868" cy="854551"/>
            </a:xfrm>
            <a:prstGeom prst="rect">
              <a:avLst/>
            </a:prstGeom>
          </p:spPr>
          <p:style>
            <a:lnRef idx="1">
              <a:schemeClr val="accent6"/>
            </a:lnRef>
            <a:fillRef idx="2">
              <a:schemeClr val="accent6"/>
            </a:fillRef>
            <a:effectRef idx="1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</a:pPr>
              <a:r>
                <a:rPr lang="en-US" altLang="zh-TW" sz="2400" dirty="0">
                  <a:solidFill>
                    <a:prstClr val="black"/>
                  </a:solidFill>
                </a:rPr>
                <a:t>b</a:t>
              </a:r>
              <a:r>
                <a:rPr lang="en-US" altLang="zh-TW" sz="2400" baseline="30000" dirty="0">
                  <a:solidFill>
                    <a:prstClr val="black"/>
                  </a:solidFill>
                </a:rPr>
                <a:t>2</a:t>
              </a:r>
              <a:endParaRPr lang="zh-TW" altLang="en-US" sz="2400" baseline="30000" dirty="0">
                <a:solidFill>
                  <a:prstClr val="black"/>
                </a:solidFill>
              </a:endParaRPr>
            </a:p>
          </p:txBody>
        </p:sp>
        <p:sp>
          <p:nvSpPr>
            <p:cNvPr id="161" name="矩形 160"/>
            <p:cNvSpPr/>
            <p:nvPr/>
          </p:nvSpPr>
          <p:spPr>
            <a:xfrm>
              <a:off x="982807" y="4935213"/>
              <a:ext cx="807843" cy="832399"/>
            </a:xfrm>
            <a:prstGeom prst="rect">
              <a:avLst/>
            </a:prstGeom>
          </p:spPr>
          <p:style>
            <a:lnRef idx="1">
              <a:schemeClr val="accent4"/>
            </a:lnRef>
            <a:fillRef idx="2">
              <a:schemeClr val="accent4"/>
            </a:fillRef>
            <a:effectRef idx="1">
              <a:schemeClr val="accent4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</a:pPr>
              <a:r>
                <a:rPr lang="en-US" altLang="zh-TW" sz="2400" dirty="0">
                  <a:solidFill>
                    <a:prstClr val="black"/>
                  </a:solidFill>
                </a:rPr>
                <a:t>W</a:t>
              </a:r>
              <a:r>
                <a:rPr lang="en-US" altLang="zh-TW" sz="2400" baseline="30000" dirty="0">
                  <a:solidFill>
                    <a:prstClr val="black"/>
                  </a:solidFill>
                </a:rPr>
                <a:t>2</a:t>
              </a:r>
              <a:endParaRPr lang="zh-TW" altLang="en-US" sz="2400" baseline="30000" dirty="0">
                <a:solidFill>
                  <a:prstClr val="black"/>
                </a:solidFill>
              </a:endParaRPr>
            </a:p>
          </p:txBody>
        </p:sp>
        <p:sp>
          <p:nvSpPr>
            <p:cNvPr id="162" name="矩形 161"/>
            <p:cNvSpPr/>
            <p:nvPr/>
          </p:nvSpPr>
          <p:spPr>
            <a:xfrm>
              <a:off x="1883749" y="4911258"/>
              <a:ext cx="441359" cy="877076"/>
            </a:xfrm>
            <a:prstGeom prst="rect">
              <a:avLst/>
            </a:prstGeom>
          </p:spPr>
          <p:style>
            <a:lnRef idx="1">
              <a:schemeClr val="accent5"/>
            </a:lnRef>
            <a:fillRef idx="2">
              <a:schemeClr val="accent5"/>
            </a:fillRef>
            <a:effectRef idx="1">
              <a:schemeClr val="accent5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</a:pPr>
              <a:r>
                <a:rPr lang="en-US" altLang="zh-TW" sz="2400" dirty="0">
                  <a:solidFill>
                    <a:prstClr val="black"/>
                  </a:solidFill>
                </a:rPr>
                <a:t>a</a:t>
              </a:r>
              <a:r>
                <a:rPr lang="en-US" altLang="zh-TW" sz="2400" baseline="30000" dirty="0">
                  <a:solidFill>
                    <a:prstClr val="black"/>
                  </a:solidFill>
                </a:rPr>
                <a:t>1</a:t>
              </a:r>
              <a:endParaRPr lang="zh-TW" altLang="en-US" sz="2400" baseline="30000" dirty="0">
                <a:solidFill>
                  <a:prstClr val="black"/>
                </a:solidFill>
              </a:endParaRPr>
            </a:p>
          </p:txBody>
        </p:sp>
        <p:sp>
          <p:nvSpPr>
            <p:cNvPr id="163" name="文字方塊 162"/>
            <p:cNvSpPr txBox="1"/>
            <p:nvPr/>
          </p:nvSpPr>
          <p:spPr>
            <a:xfrm>
              <a:off x="2384389" y="5106861"/>
              <a:ext cx="360621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</a:pPr>
              <a:r>
                <a:rPr lang="en-US" altLang="zh-TW" sz="2400" dirty="0">
                  <a:solidFill>
                    <a:prstClr val="black"/>
                  </a:solidFill>
                  <a:latin typeface="Calibri"/>
                </a:rPr>
                <a:t>+</a:t>
              </a:r>
              <a:endParaRPr lang="zh-TW" altLang="en-US" sz="2400" dirty="0">
                <a:solidFill>
                  <a:prstClr val="black"/>
                </a:solidFill>
                <a:latin typeface="Calibri"/>
              </a:endParaRPr>
            </a:p>
          </p:txBody>
        </p: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164" name="文字方塊 163"/>
                <p:cNvSpPr txBox="1"/>
                <p:nvPr/>
              </p:nvSpPr>
              <p:spPr>
                <a:xfrm>
                  <a:off x="522337" y="5165130"/>
                  <a:ext cx="3002489" cy="369332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>
                  <a:spAutoFit/>
                </a:bodyPr>
                <a:lstStyle/>
                <a:p>
                  <a:pPr eaLnBrk="1" fontAlgn="auto" hangingPunct="1">
                    <a:spcBef>
                      <a:spcPts val="0"/>
                    </a:spcBef>
                    <a:spcAft>
                      <a:spcPts val="0"/>
                    </a:spcAft>
                  </a:pPr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a:rPr lang="zh-TW" altLang="en-US" sz="2400" i="1">
                            <a:solidFill>
                              <a:prstClr val="black"/>
                            </a:solidFill>
                            <a:latin typeface="Cambria Math" panose="02040503050406030204" pitchFamily="18" charset="0"/>
                          </a:rPr>
                          <m:t>𝜎</m:t>
                        </m:r>
                        <m:d>
                          <m:dPr>
                            <m:ctrlPr>
                              <a:rPr lang="en-US" altLang="zh-TW" sz="2400" i="1">
                                <a:solidFill>
                                  <a:prstClr val="black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dPr>
                          <m:e>
                            <m:r>
                              <a:rPr lang="en-US" altLang="zh-TW" sz="2400" i="1">
                                <a:solidFill>
                                  <a:prstClr val="black"/>
                                </a:solidFill>
                                <a:latin typeface="Cambria Math" panose="02040503050406030204" pitchFamily="18" charset="0"/>
                              </a:rPr>
                              <m:t>                                    </m:t>
                            </m:r>
                          </m:e>
                        </m:d>
                      </m:oMath>
                    </m:oMathPara>
                  </a14:m>
                  <a:endParaRPr lang="zh-TW" altLang="en-US" sz="2400" dirty="0">
                    <a:solidFill>
                      <a:prstClr val="black"/>
                    </a:solidFill>
                    <a:latin typeface="Calibri"/>
                  </a:endParaRPr>
                </a:p>
              </p:txBody>
            </p:sp>
          </mc:Choice>
          <mc:Fallback xmlns="">
            <p:sp>
              <p:nvSpPr>
                <p:cNvPr id="164" name="文字方塊 163"/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522337" y="5165130"/>
                  <a:ext cx="3002489" cy="369332"/>
                </a:xfrm>
                <a:prstGeom prst="rect">
                  <a:avLst/>
                </a:prstGeom>
                <a:blipFill rotWithShape="0">
                  <a:blip r:embed="rId11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en-US">
                      <a:noFill/>
                    </a:rPr>
                    <a:t> </a:t>
                  </a:r>
                </a:p>
              </p:txBody>
            </p:sp>
          </mc:Fallback>
        </mc:AlternateContent>
      </p:grpSp>
      <p:grpSp>
        <p:nvGrpSpPr>
          <p:cNvPr id="6" name="群組 164"/>
          <p:cNvGrpSpPr/>
          <p:nvPr/>
        </p:nvGrpSpPr>
        <p:grpSpPr>
          <a:xfrm>
            <a:off x="6003379" y="5784539"/>
            <a:ext cx="2867836" cy="877076"/>
            <a:chOff x="522337" y="4911258"/>
            <a:chExt cx="2867836" cy="877076"/>
          </a:xfrm>
        </p:grpSpPr>
        <p:sp>
          <p:nvSpPr>
            <p:cNvPr id="166" name="矩形 165"/>
            <p:cNvSpPr/>
            <p:nvPr/>
          </p:nvSpPr>
          <p:spPr>
            <a:xfrm>
              <a:off x="2743512" y="4913061"/>
              <a:ext cx="450868" cy="854551"/>
            </a:xfrm>
            <a:prstGeom prst="rect">
              <a:avLst/>
            </a:prstGeom>
          </p:spPr>
          <p:style>
            <a:lnRef idx="1">
              <a:schemeClr val="accent6"/>
            </a:lnRef>
            <a:fillRef idx="2">
              <a:schemeClr val="accent6"/>
            </a:fillRef>
            <a:effectRef idx="1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</a:pPr>
              <a:r>
                <a:rPr lang="en-US" altLang="zh-TW" sz="2400" dirty="0" err="1">
                  <a:solidFill>
                    <a:prstClr val="black"/>
                  </a:solidFill>
                </a:rPr>
                <a:t>b</a:t>
              </a:r>
              <a:r>
                <a:rPr lang="en-US" altLang="zh-TW" sz="2400" baseline="30000" dirty="0" err="1">
                  <a:solidFill>
                    <a:prstClr val="black"/>
                  </a:solidFill>
                </a:rPr>
                <a:t>L</a:t>
              </a:r>
              <a:endParaRPr lang="zh-TW" altLang="en-US" sz="2400" baseline="30000" dirty="0">
                <a:solidFill>
                  <a:prstClr val="black"/>
                </a:solidFill>
              </a:endParaRPr>
            </a:p>
          </p:txBody>
        </p:sp>
        <p:sp>
          <p:nvSpPr>
            <p:cNvPr id="167" name="矩形 166"/>
            <p:cNvSpPr/>
            <p:nvPr/>
          </p:nvSpPr>
          <p:spPr>
            <a:xfrm>
              <a:off x="982807" y="4935213"/>
              <a:ext cx="807843" cy="832399"/>
            </a:xfrm>
            <a:prstGeom prst="rect">
              <a:avLst/>
            </a:prstGeom>
          </p:spPr>
          <p:style>
            <a:lnRef idx="1">
              <a:schemeClr val="accent4"/>
            </a:lnRef>
            <a:fillRef idx="2">
              <a:schemeClr val="accent4"/>
            </a:fillRef>
            <a:effectRef idx="1">
              <a:schemeClr val="accent4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</a:pPr>
              <a:r>
                <a:rPr lang="en-US" altLang="zh-TW" sz="2400" dirty="0">
                  <a:solidFill>
                    <a:prstClr val="black"/>
                  </a:solidFill>
                </a:rPr>
                <a:t>W</a:t>
              </a:r>
              <a:r>
                <a:rPr lang="en-US" altLang="zh-TW" sz="2400" baseline="30000" dirty="0">
                  <a:solidFill>
                    <a:prstClr val="black"/>
                  </a:solidFill>
                </a:rPr>
                <a:t>L</a:t>
              </a:r>
              <a:endParaRPr lang="zh-TW" altLang="en-US" sz="2400" baseline="30000" dirty="0">
                <a:solidFill>
                  <a:prstClr val="black"/>
                </a:solidFill>
              </a:endParaRPr>
            </a:p>
          </p:txBody>
        </p:sp>
        <p:sp>
          <p:nvSpPr>
            <p:cNvPr id="168" name="矩形 167"/>
            <p:cNvSpPr/>
            <p:nvPr/>
          </p:nvSpPr>
          <p:spPr>
            <a:xfrm>
              <a:off x="1883749" y="4911258"/>
              <a:ext cx="441359" cy="877076"/>
            </a:xfrm>
            <a:prstGeom prst="rect">
              <a:avLst/>
            </a:prstGeom>
          </p:spPr>
          <p:style>
            <a:lnRef idx="1">
              <a:schemeClr val="accent5"/>
            </a:lnRef>
            <a:fillRef idx="2">
              <a:schemeClr val="accent5"/>
            </a:fillRef>
            <a:effectRef idx="1">
              <a:schemeClr val="accent5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zh-TW" altLang="en-US" sz="2400" baseline="30000" dirty="0">
                <a:solidFill>
                  <a:prstClr val="black"/>
                </a:solidFill>
              </a:endParaRPr>
            </a:p>
          </p:txBody>
        </p:sp>
        <p:sp>
          <p:nvSpPr>
            <p:cNvPr id="169" name="文字方塊 168"/>
            <p:cNvSpPr txBox="1"/>
            <p:nvPr/>
          </p:nvSpPr>
          <p:spPr>
            <a:xfrm>
              <a:off x="2384389" y="5106861"/>
              <a:ext cx="360621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</a:pPr>
              <a:r>
                <a:rPr lang="en-US" altLang="zh-TW" sz="2400" dirty="0">
                  <a:solidFill>
                    <a:prstClr val="black"/>
                  </a:solidFill>
                  <a:latin typeface="Calibri"/>
                </a:rPr>
                <a:t>+</a:t>
              </a:r>
              <a:endParaRPr lang="zh-TW" altLang="en-US" sz="2400" dirty="0">
                <a:solidFill>
                  <a:prstClr val="black"/>
                </a:solidFill>
                <a:latin typeface="Calibri"/>
              </a:endParaRPr>
            </a:p>
          </p:txBody>
        </p: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170" name="文字方塊 169"/>
                <p:cNvSpPr txBox="1"/>
                <p:nvPr/>
              </p:nvSpPr>
              <p:spPr>
                <a:xfrm>
                  <a:off x="522337" y="5165130"/>
                  <a:ext cx="2867836" cy="369332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>
                  <a:spAutoFit/>
                </a:bodyPr>
                <a:lstStyle/>
                <a:p>
                  <a:pPr eaLnBrk="1" fontAlgn="auto" hangingPunct="1">
                    <a:spcBef>
                      <a:spcPts val="0"/>
                    </a:spcBef>
                    <a:spcAft>
                      <a:spcPts val="0"/>
                    </a:spcAft>
                  </a:pPr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a:rPr lang="zh-TW" altLang="en-US" sz="2400" i="1">
                            <a:solidFill>
                              <a:prstClr val="black"/>
                            </a:solidFill>
                            <a:latin typeface="Cambria Math" panose="02040503050406030204" pitchFamily="18" charset="0"/>
                          </a:rPr>
                          <m:t>𝜎</m:t>
                        </m:r>
                        <m:d>
                          <m:dPr>
                            <m:ctrlPr>
                              <a:rPr lang="en-US" altLang="zh-TW" sz="2400" i="1">
                                <a:solidFill>
                                  <a:prstClr val="black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dPr>
                          <m:e>
                            <m:r>
                              <a:rPr lang="en-US" altLang="zh-TW" sz="2400" i="1">
                                <a:solidFill>
                                  <a:prstClr val="black"/>
                                </a:solidFill>
                                <a:latin typeface="Cambria Math" panose="02040503050406030204" pitchFamily="18" charset="0"/>
                              </a:rPr>
                              <m:t>                                   </m:t>
                            </m:r>
                          </m:e>
                        </m:d>
                      </m:oMath>
                    </m:oMathPara>
                  </a14:m>
                  <a:endParaRPr lang="zh-TW" altLang="en-US" sz="2400" dirty="0">
                    <a:solidFill>
                      <a:prstClr val="black"/>
                    </a:solidFill>
                    <a:latin typeface="Calibri"/>
                  </a:endParaRPr>
                </a:p>
              </p:txBody>
            </p:sp>
          </mc:Choice>
          <mc:Fallback xmlns="">
            <p:sp>
              <p:nvSpPr>
                <p:cNvPr id="170" name="文字方塊 169"/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522337" y="5165130"/>
                  <a:ext cx="2867836" cy="369332"/>
                </a:xfrm>
                <a:prstGeom prst="rect">
                  <a:avLst/>
                </a:prstGeom>
                <a:blipFill rotWithShape="0">
                  <a:blip r:embed="rId12"/>
                  <a:stretch>
                    <a:fillRect l="-1064"/>
                  </a:stretch>
                </a:blipFill>
              </p:spPr>
              <p:txBody>
                <a:bodyPr/>
                <a:lstStyle/>
                <a:p>
                  <a:r>
                    <a:rPr lang="en-US">
                      <a:noFill/>
                    </a:rPr>
                    <a:t> </a:t>
                  </a:r>
                </a:p>
              </p:txBody>
            </p:sp>
          </mc:Fallback>
        </mc:AlternateContent>
      </p:grpSp>
      <p:cxnSp>
        <p:nvCxnSpPr>
          <p:cNvPr id="7" name="直線單箭頭接點 6"/>
          <p:cNvCxnSpPr>
            <a:stCxn id="145" idx="3"/>
            <a:endCxn id="89" idx="2"/>
          </p:cNvCxnSpPr>
          <p:nvPr/>
        </p:nvCxnSpPr>
        <p:spPr>
          <a:xfrm flipV="1">
            <a:off x="3164862" y="4458105"/>
            <a:ext cx="595905" cy="801284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矩形 13"/>
          <p:cNvSpPr/>
          <p:nvPr/>
        </p:nvSpPr>
        <p:spPr>
          <a:xfrm>
            <a:off x="7306246" y="5985200"/>
            <a:ext cx="585417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altLang="zh-TW" sz="2400" dirty="0">
                <a:solidFill>
                  <a:prstClr val="black"/>
                </a:solidFill>
                <a:latin typeface="Calibri"/>
              </a:rPr>
              <a:t>a</a:t>
            </a:r>
            <a:r>
              <a:rPr lang="en-US" altLang="zh-TW" sz="2400" baseline="30000" dirty="0">
                <a:solidFill>
                  <a:prstClr val="black"/>
                </a:solidFill>
                <a:latin typeface="Calibri"/>
              </a:rPr>
              <a:t>L-1</a:t>
            </a:r>
            <a:endParaRPr lang="zh-TW" altLang="en-US" sz="2400" baseline="30000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73" name="矩形 172"/>
          <p:cNvSpPr/>
          <p:nvPr/>
        </p:nvSpPr>
        <p:spPr>
          <a:xfrm>
            <a:off x="2881004" y="2531687"/>
            <a:ext cx="450868" cy="854551"/>
          </a:xfrm>
          <a:prstGeom prst="rect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altLang="zh-TW" sz="2400" dirty="0">
                <a:solidFill>
                  <a:prstClr val="black"/>
                </a:solidFill>
              </a:rPr>
              <a:t>b</a:t>
            </a:r>
            <a:r>
              <a:rPr lang="en-US" altLang="zh-TW" sz="2400" baseline="30000" dirty="0">
                <a:solidFill>
                  <a:prstClr val="black"/>
                </a:solidFill>
              </a:rPr>
              <a:t>1</a:t>
            </a:r>
            <a:endParaRPr lang="zh-TW" altLang="en-US" sz="2400" baseline="30000" dirty="0">
              <a:solidFill>
                <a:prstClr val="black"/>
              </a:solidFill>
            </a:endParaRPr>
          </a:p>
        </p:txBody>
      </p:sp>
      <p:sp>
        <p:nvSpPr>
          <p:cNvPr id="24" name="手繪多邊形 23"/>
          <p:cNvSpPr/>
          <p:nvPr/>
        </p:nvSpPr>
        <p:spPr>
          <a:xfrm>
            <a:off x="5351489" y="4437089"/>
            <a:ext cx="882753" cy="1169232"/>
          </a:xfrm>
          <a:custGeom>
            <a:avLst/>
            <a:gdLst>
              <a:gd name="connsiteX0" fmla="*/ 749508 w 882753"/>
              <a:gd name="connsiteY0" fmla="*/ 1169232 h 1169232"/>
              <a:gd name="connsiteX1" fmla="*/ 824459 w 882753"/>
              <a:gd name="connsiteY1" fmla="*/ 779488 h 1169232"/>
              <a:gd name="connsiteX2" fmla="*/ 0 w 882753"/>
              <a:gd name="connsiteY2" fmla="*/ 0 h 11692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82753" h="1169232">
                <a:moveTo>
                  <a:pt x="749508" y="1169232"/>
                </a:moveTo>
                <a:cubicBezTo>
                  <a:pt x="849442" y="1071796"/>
                  <a:pt x="949377" y="974360"/>
                  <a:pt x="824459" y="779488"/>
                </a:cubicBezTo>
                <a:cubicBezTo>
                  <a:pt x="699541" y="584616"/>
                  <a:pt x="349770" y="292308"/>
                  <a:pt x="0" y="0"/>
                </a:cubicBezTo>
              </a:path>
            </a:pathLst>
          </a:custGeom>
          <a:noFill/>
          <a:ln w="38100"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zh-TW" altLang="en-US" sz="1800">
              <a:solidFill>
                <a:prstClr val="white"/>
              </a:solidFill>
            </a:endParaRPr>
          </a:p>
        </p:txBody>
      </p:sp>
      <p:sp>
        <p:nvSpPr>
          <p:cNvPr id="25" name="手繪多邊形 24"/>
          <p:cNvSpPr/>
          <p:nvPr/>
        </p:nvSpPr>
        <p:spPr>
          <a:xfrm>
            <a:off x="6925456" y="4407108"/>
            <a:ext cx="2027943" cy="1783830"/>
          </a:xfrm>
          <a:custGeom>
            <a:avLst/>
            <a:gdLst>
              <a:gd name="connsiteX0" fmla="*/ 1933731 w 2027943"/>
              <a:gd name="connsiteY0" fmla="*/ 1783830 h 1783830"/>
              <a:gd name="connsiteX1" fmla="*/ 1993692 w 2027943"/>
              <a:gd name="connsiteY1" fmla="*/ 1319135 h 1783830"/>
              <a:gd name="connsiteX2" fmla="*/ 1469036 w 2027943"/>
              <a:gd name="connsiteY2" fmla="*/ 449705 h 1783830"/>
              <a:gd name="connsiteX3" fmla="*/ 0 w 2027943"/>
              <a:gd name="connsiteY3" fmla="*/ 0 h 17838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027943" h="1783830">
                <a:moveTo>
                  <a:pt x="1933731" y="1783830"/>
                </a:moveTo>
                <a:cubicBezTo>
                  <a:pt x="2002436" y="1662659"/>
                  <a:pt x="2071141" y="1541489"/>
                  <a:pt x="1993692" y="1319135"/>
                </a:cubicBezTo>
                <a:cubicBezTo>
                  <a:pt x="1916243" y="1096781"/>
                  <a:pt x="1801318" y="669561"/>
                  <a:pt x="1469036" y="449705"/>
                </a:cubicBezTo>
                <a:cubicBezTo>
                  <a:pt x="1136754" y="229849"/>
                  <a:pt x="568377" y="114924"/>
                  <a:pt x="0" y="0"/>
                </a:cubicBezTo>
              </a:path>
            </a:pathLst>
          </a:custGeom>
          <a:noFill/>
          <a:ln w="38100"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zh-TW" altLang="en-US" sz="180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7710344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>
                      <p:stCondLst>
                        <p:cond delay="indefinite"/>
                      </p:stCondLst>
                      <p:childTnLst>
                        <p:par>
                          <p:cTn id="52" fill="hold">
                            <p:stCondLst>
                              <p:cond delay="0"/>
                            </p:stCondLst>
                            <p:childTnLst>
                              <p:par>
                                <p:cTn id="5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0" grpId="0" animBg="1"/>
      <p:bldP spid="79" grpId="0" animBg="1"/>
      <p:bldP spid="80" grpId="0" animBg="1"/>
      <p:bldP spid="82" grpId="0" animBg="1"/>
      <p:bldP spid="83" grpId="0" animBg="1"/>
      <p:bldP spid="88" grpId="0" animBg="1"/>
      <p:bldP spid="89" grpId="0" animBg="1"/>
      <p:bldP spid="90" grpId="0" animBg="1"/>
      <p:bldP spid="92" grpId="0" animBg="1"/>
      <p:bldP spid="14" grpId="0"/>
      <p:bldP spid="173" grpId="0" animBg="1"/>
      <p:bldP spid="24" grpId="0" animBg="1"/>
      <p:bldP spid="25" grpId="0" animBg="1"/>
    </p:bldLst>
  </p:timing>
</p:sld>
</file>

<file path=ppt/slides/slide7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173" name="文字方塊 172"/>
              <p:cNvSpPr txBox="1"/>
              <p:nvPr/>
            </p:nvSpPr>
            <p:spPr>
              <a:xfrm>
                <a:off x="321349" y="5960609"/>
                <a:ext cx="8501302" cy="369332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altLang="zh-TW" sz="2400" i="1">
                          <a:solidFill>
                            <a:prstClr val="black"/>
                          </a:solidFill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zh-TW" altLang="en-US" sz="2400" i="1">
                          <a:solidFill>
                            <a:prstClr val="black"/>
                          </a:solidFill>
                          <a:latin typeface="Cambria Math" panose="02040503050406030204" pitchFamily="18" charset="0"/>
                        </a:rPr>
                        <m:t>𝜎</m:t>
                      </m:r>
                      <m:d>
                        <m:dPr>
                          <m:ctrlPr>
                            <a:rPr lang="en-US" altLang="zh-TW" sz="2400" i="1">
                              <a:solidFill>
                                <a:prstClr val="black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altLang="zh-TW" sz="2400" i="1">
                              <a:solidFill>
                                <a:prstClr val="black"/>
                              </a:solidFill>
                              <a:latin typeface="Cambria Math" panose="02040503050406030204" pitchFamily="18" charset="0"/>
                            </a:rPr>
                            <m:t>                                                                                                                  </m:t>
                          </m:r>
                        </m:e>
                      </m:d>
                    </m:oMath>
                  </m:oMathPara>
                </a14:m>
                <a:endParaRPr lang="zh-TW" altLang="en-US" sz="2400" dirty="0">
                  <a:solidFill>
                    <a:prstClr val="black"/>
                  </a:solidFill>
                  <a:latin typeface="Calibri"/>
                </a:endParaRPr>
              </a:p>
            </p:txBody>
          </p:sp>
        </mc:Choice>
        <mc:Fallback xmlns="">
          <p:sp>
            <p:nvSpPr>
              <p:cNvPr id="173" name="文字方塊 172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21349" y="5960609"/>
                <a:ext cx="8501302" cy="369332"/>
              </a:xfrm>
              <a:prstGeom prst="rect">
                <a:avLst/>
              </a:prstGeom>
              <a:blipFill rotWithShape="0"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53" name="文字方塊 152"/>
              <p:cNvSpPr txBox="1"/>
              <p:nvPr/>
            </p:nvSpPr>
            <p:spPr>
              <a:xfrm>
                <a:off x="2399137" y="5965343"/>
                <a:ext cx="5156925" cy="369332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zh-TW" altLang="en-US" sz="2400" i="1">
                          <a:solidFill>
                            <a:prstClr val="black"/>
                          </a:solidFill>
                          <a:latin typeface="Cambria Math" panose="02040503050406030204" pitchFamily="18" charset="0"/>
                        </a:rPr>
                        <m:t>𝜎</m:t>
                      </m:r>
                      <m:d>
                        <m:dPr>
                          <m:ctrlPr>
                            <a:rPr lang="en-US" altLang="zh-TW" sz="2400" i="1">
                              <a:solidFill>
                                <a:prstClr val="black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altLang="zh-TW" sz="2400" i="1">
                              <a:solidFill>
                                <a:prstClr val="black"/>
                              </a:solidFill>
                              <a:latin typeface="Cambria Math" panose="02040503050406030204" pitchFamily="18" charset="0"/>
                            </a:rPr>
                            <m:t>                                                                     </m:t>
                          </m:r>
                        </m:e>
                      </m:d>
                    </m:oMath>
                  </m:oMathPara>
                </a14:m>
                <a:endParaRPr lang="zh-TW" altLang="en-US" sz="2400" dirty="0">
                  <a:solidFill>
                    <a:prstClr val="black"/>
                  </a:solidFill>
                  <a:latin typeface="Calibri"/>
                </a:endParaRPr>
              </a:p>
            </p:txBody>
          </p:sp>
        </mc:Choice>
        <mc:Fallback xmlns="">
          <p:sp>
            <p:nvSpPr>
              <p:cNvPr id="153" name="文字方塊 152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399137" y="5965343"/>
                <a:ext cx="5156925" cy="369332"/>
              </a:xfrm>
              <a:prstGeom prst="rect">
                <a:avLst/>
              </a:prstGeom>
              <a:blipFill rotWithShape="0">
                <a:blip r:embed="rId5"/>
                <a:stretch>
                  <a:fillRect l="-355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78" name="矩形 77"/>
          <p:cNvSpPr/>
          <p:nvPr/>
        </p:nvSpPr>
        <p:spPr>
          <a:xfrm>
            <a:off x="7180166" y="1554096"/>
            <a:ext cx="498951" cy="2625052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zh-TW" altLang="en-US" sz="1800">
              <a:solidFill>
                <a:prstClr val="black"/>
              </a:solidFill>
            </a:endParaRPr>
          </a:p>
        </p:txBody>
      </p:sp>
      <p:sp>
        <p:nvSpPr>
          <p:cNvPr id="74" name="矩形 73"/>
          <p:cNvSpPr/>
          <p:nvPr/>
        </p:nvSpPr>
        <p:spPr>
          <a:xfrm>
            <a:off x="3029726" y="1606514"/>
            <a:ext cx="746342" cy="2675868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zh-TW" altLang="en-US" sz="1800">
              <a:solidFill>
                <a:prstClr val="black"/>
              </a:solidFill>
            </a:endParaRPr>
          </a:p>
        </p:txBody>
      </p:sp>
      <p:sp>
        <p:nvSpPr>
          <p:cNvPr id="75" name="矩形 74"/>
          <p:cNvSpPr/>
          <p:nvPr/>
        </p:nvSpPr>
        <p:spPr>
          <a:xfrm>
            <a:off x="4355312" y="1590167"/>
            <a:ext cx="746342" cy="2675868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zh-TW" altLang="en-US" sz="1800">
              <a:solidFill>
                <a:prstClr val="black"/>
              </a:solidFill>
            </a:endParaRPr>
          </a:p>
        </p:txBody>
      </p:sp>
      <p:sp>
        <p:nvSpPr>
          <p:cNvPr id="76" name="矩形 75"/>
          <p:cNvSpPr/>
          <p:nvPr/>
        </p:nvSpPr>
        <p:spPr>
          <a:xfrm>
            <a:off x="5766871" y="1606514"/>
            <a:ext cx="746342" cy="2675868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zh-TW" altLang="en-US" sz="1800">
              <a:solidFill>
                <a:prstClr val="black"/>
              </a:solidFill>
            </a:endParaRPr>
          </a:p>
        </p:txBody>
      </p:sp>
      <p:sp>
        <p:nvSpPr>
          <p:cNvPr id="77" name="矩形 76"/>
          <p:cNvSpPr/>
          <p:nvPr/>
        </p:nvSpPr>
        <p:spPr>
          <a:xfrm>
            <a:off x="1846623" y="1634155"/>
            <a:ext cx="498951" cy="2625052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zh-TW" altLang="en-US" sz="1800">
              <a:solidFill>
                <a:prstClr val="black"/>
              </a:solidFill>
            </a:endParaRPr>
          </a:p>
        </p:txBody>
      </p:sp>
      <p:cxnSp>
        <p:nvCxnSpPr>
          <p:cNvPr id="93" name="直線單箭頭接點 92"/>
          <p:cNvCxnSpPr/>
          <p:nvPr/>
        </p:nvCxnSpPr>
        <p:spPr>
          <a:xfrm>
            <a:off x="6153678" y="2654934"/>
            <a:ext cx="1018599" cy="0"/>
          </a:xfrm>
          <a:prstGeom prst="straightConnector1">
            <a:avLst/>
          </a:prstGeom>
          <a:ln w="254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直線單箭頭接點 93"/>
          <p:cNvCxnSpPr/>
          <p:nvPr/>
        </p:nvCxnSpPr>
        <p:spPr>
          <a:xfrm>
            <a:off x="6262994" y="3900824"/>
            <a:ext cx="905748" cy="0"/>
          </a:xfrm>
          <a:prstGeom prst="straightConnector1">
            <a:avLst/>
          </a:prstGeom>
          <a:ln w="254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5" name="直線單箭頭接點 94"/>
          <p:cNvCxnSpPr/>
          <p:nvPr/>
        </p:nvCxnSpPr>
        <p:spPr>
          <a:xfrm>
            <a:off x="6129794" y="1876131"/>
            <a:ext cx="1050372" cy="0"/>
          </a:xfrm>
          <a:prstGeom prst="straightConnector1">
            <a:avLst/>
          </a:prstGeom>
          <a:ln w="254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6" name="矩形 95"/>
          <p:cNvSpPr/>
          <p:nvPr/>
        </p:nvSpPr>
        <p:spPr>
          <a:xfrm>
            <a:off x="1915011" y="2351848"/>
            <a:ext cx="342900" cy="342900"/>
          </a:xfrm>
          <a:prstGeom prst="rect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zh-TW" altLang="en-US" sz="1800">
              <a:solidFill>
                <a:prstClr val="black"/>
              </a:solidFill>
            </a:endParaRPr>
          </a:p>
        </p:txBody>
      </p:sp>
      <p:sp>
        <p:nvSpPr>
          <p:cNvPr id="97" name="矩形 96"/>
          <p:cNvSpPr/>
          <p:nvPr/>
        </p:nvSpPr>
        <p:spPr>
          <a:xfrm>
            <a:off x="1920829" y="1781519"/>
            <a:ext cx="342900" cy="342900"/>
          </a:xfrm>
          <a:prstGeom prst="rect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zh-TW" altLang="en-US" sz="1800">
              <a:solidFill>
                <a:prstClr val="black"/>
              </a:solidFill>
            </a:endParaRPr>
          </a:p>
        </p:txBody>
      </p:sp>
      <p:graphicFrame>
        <p:nvGraphicFramePr>
          <p:cNvPr id="98" name="Object 12"/>
          <p:cNvGraphicFramePr>
            <a:graphicFrameLocks noChangeAspect="1"/>
          </p:cNvGraphicFramePr>
          <p:nvPr>
            <p:extLst/>
          </p:nvPr>
        </p:nvGraphicFramePr>
        <p:xfrm>
          <a:off x="1933528" y="1686269"/>
          <a:ext cx="325438" cy="46196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683" name="方程式" r:id="rId6" imgW="152280" imgH="215640" progId="Equation.3">
                  <p:embed/>
                </p:oleObj>
              </mc:Choice>
              <mc:Fallback>
                <p:oleObj name="方程式" r:id="rId6" imgW="152280" imgH="215640" progId="Equation.3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33528" y="1686269"/>
                        <a:ext cx="325438" cy="461962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9" name="Object 12"/>
          <p:cNvGraphicFramePr>
            <a:graphicFrameLocks noChangeAspect="1"/>
          </p:cNvGraphicFramePr>
          <p:nvPr>
            <p:extLst/>
          </p:nvPr>
        </p:nvGraphicFramePr>
        <p:xfrm>
          <a:off x="1938824" y="2268998"/>
          <a:ext cx="352425" cy="4619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684" name="方程式" r:id="rId8" imgW="164880" imgH="215640" progId="Equation.3">
                  <p:embed/>
                </p:oleObj>
              </mc:Choice>
              <mc:Fallback>
                <p:oleObj name="方程式" r:id="rId8" imgW="164880" imgH="215640" progId="Equation.3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38824" y="2268998"/>
                        <a:ext cx="352425" cy="461963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0" name="橢圓 99"/>
          <p:cNvSpPr/>
          <p:nvPr/>
        </p:nvSpPr>
        <p:spPr>
          <a:xfrm>
            <a:off x="3126836" y="1617516"/>
            <a:ext cx="574158" cy="574158"/>
          </a:xfrm>
          <a:prstGeom prst="ellipse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zh-TW" altLang="en-US" sz="1800">
              <a:solidFill>
                <a:prstClr val="black"/>
              </a:solidFill>
            </a:endParaRPr>
          </a:p>
        </p:txBody>
      </p:sp>
      <p:sp>
        <p:nvSpPr>
          <p:cNvPr id="101" name="橢圓 100"/>
          <p:cNvSpPr/>
          <p:nvPr/>
        </p:nvSpPr>
        <p:spPr>
          <a:xfrm>
            <a:off x="3129178" y="2396086"/>
            <a:ext cx="574158" cy="574158"/>
          </a:xfrm>
          <a:prstGeom prst="ellipse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zh-TW" altLang="en-US" sz="1800">
              <a:solidFill>
                <a:prstClr val="black"/>
              </a:solidFill>
            </a:endParaRPr>
          </a:p>
        </p:txBody>
      </p:sp>
      <p:sp>
        <p:nvSpPr>
          <p:cNvPr id="102" name="橢圓 101"/>
          <p:cNvSpPr/>
          <p:nvPr/>
        </p:nvSpPr>
        <p:spPr>
          <a:xfrm>
            <a:off x="3117545" y="3624098"/>
            <a:ext cx="574158" cy="574158"/>
          </a:xfrm>
          <a:prstGeom prst="ellipse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zh-TW" altLang="en-US" sz="1800">
              <a:solidFill>
                <a:prstClr val="black"/>
              </a:solidFill>
            </a:endParaRPr>
          </a:p>
        </p:txBody>
      </p:sp>
      <p:sp>
        <p:nvSpPr>
          <p:cNvPr id="103" name="文字方塊 102"/>
          <p:cNvSpPr txBox="1"/>
          <p:nvPr/>
        </p:nvSpPr>
        <p:spPr>
          <a:xfrm rot="5400000">
            <a:off x="3114798" y="3046391"/>
            <a:ext cx="76925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altLang="zh-TW" sz="2800" dirty="0">
                <a:solidFill>
                  <a:prstClr val="black"/>
                </a:solidFill>
                <a:latin typeface="Calibri"/>
              </a:rPr>
              <a:t>……</a:t>
            </a:r>
            <a:endParaRPr lang="zh-TW" altLang="en-US" sz="2800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04" name="矩形 103"/>
          <p:cNvSpPr/>
          <p:nvPr/>
        </p:nvSpPr>
        <p:spPr>
          <a:xfrm>
            <a:off x="1924536" y="3749605"/>
            <a:ext cx="342900" cy="342900"/>
          </a:xfrm>
          <a:prstGeom prst="rect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zh-TW" altLang="en-US" sz="1800">
              <a:solidFill>
                <a:prstClr val="black"/>
              </a:solidFill>
            </a:endParaRPr>
          </a:p>
        </p:txBody>
      </p:sp>
      <p:graphicFrame>
        <p:nvGraphicFramePr>
          <p:cNvPr id="105" name="Object 12"/>
          <p:cNvGraphicFramePr>
            <a:graphicFrameLocks noChangeAspect="1"/>
          </p:cNvGraphicFramePr>
          <p:nvPr>
            <p:extLst/>
          </p:nvPr>
        </p:nvGraphicFramePr>
        <p:xfrm>
          <a:off x="1921420" y="3653351"/>
          <a:ext cx="407988" cy="4889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685" name="方程式" r:id="rId10" imgW="190440" imgH="228600" progId="Equation.3">
                  <p:embed/>
                </p:oleObj>
              </mc:Choice>
              <mc:Fallback>
                <p:oleObj name="方程式" r:id="rId10" imgW="190440" imgH="228600" progId="Equation.3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21420" y="3653351"/>
                        <a:ext cx="407988" cy="4889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6" name="文字方塊 105"/>
          <p:cNvSpPr txBox="1"/>
          <p:nvPr/>
        </p:nvSpPr>
        <p:spPr>
          <a:xfrm rot="5400000">
            <a:off x="1800468" y="3034547"/>
            <a:ext cx="76925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altLang="zh-TW" sz="2800" dirty="0">
                <a:solidFill>
                  <a:prstClr val="black"/>
                </a:solidFill>
                <a:latin typeface="Calibri"/>
              </a:rPr>
              <a:t>……</a:t>
            </a:r>
            <a:endParaRPr lang="zh-TW" altLang="en-US" sz="2800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07" name="橢圓 106"/>
          <p:cNvSpPr/>
          <p:nvPr/>
        </p:nvSpPr>
        <p:spPr>
          <a:xfrm>
            <a:off x="4442398" y="1617516"/>
            <a:ext cx="574158" cy="574158"/>
          </a:xfrm>
          <a:prstGeom prst="ellipse">
            <a:avLst/>
          </a:prstGeo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zh-TW" altLang="en-US" sz="1800">
              <a:solidFill>
                <a:prstClr val="black"/>
              </a:solidFill>
            </a:endParaRPr>
          </a:p>
        </p:txBody>
      </p:sp>
      <p:sp>
        <p:nvSpPr>
          <p:cNvPr id="108" name="橢圓 107"/>
          <p:cNvSpPr/>
          <p:nvPr/>
        </p:nvSpPr>
        <p:spPr>
          <a:xfrm>
            <a:off x="4444740" y="2396086"/>
            <a:ext cx="574158" cy="574158"/>
          </a:xfrm>
          <a:prstGeom prst="ellipse">
            <a:avLst/>
          </a:prstGeo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zh-TW" altLang="en-US" sz="1800">
              <a:solidFill>
                <a:prstClr val="black"/>
              </a:solidFill>
            </a:endParaRPr>
          </a:p>
        </p:txBody>
      </p:sp>
      <p:sp>
        <p:nvSpPr>
          <p:cNvPr id="109" name="橢圓 108"/>
          <p:cNvSpPr/>
          <p:nvPr/>
        </p:nvSpPr>
        <p:spPr>
          <a:xfrm>
            <a:off x="4433107" y="3624098"/>
            <a:ext cx="574158" cy="574158"/>
          </a:xfrm>
          <a:prstGeom prst="ellipse">
            <a:avLst/>
          </a:prstGeo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zh-TW" altLang="en-US" sz="1800">
              <a:solidFill>
                <a:prstClr val="black"/>
              </a:solidFill>
            </a:endParaRPr>
          </a:p>
        </p:txBody>
      </p:sp>
      <p:sp>
        <p:nvSpPr>
          <p:cNvPr id="110" name="文字方塊 109"/>
          <p:cNvSpPr txBox="1"/>
          <p:nvPr/>
        </p:nvSpPr>
        <p:spPr>
          <a:xfrm rot="5400000">
            <a:off x="4430360" y="3046391"/>
            <a:ext cx="76925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altLang="zh-TW" sz="2800" dirty="0">
                <a:solidFill>
                  <a:prstClr val="black"/>
                </a:solidFill>
                <a:latin typeface="Calibri"/>
              </a:rPr>
              <a:t>……</a:t>
            </a:r>
            <a:endParaRPr lang="zh-TW" altLang="en-US" sz="2800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11" name="橢圓 110"/>
          <p:cNvSpPr/>
          <p:nvPr/>
        </p:nvSpPr>
        <p:spPr>
          <a:xfrm>
            <a:off x="5842715" y="1598408"/>
            <a:ext cx="574158" cy="574158"/>
          </a:xfrm>
          <a:prstGeom prst="ellipse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zh-TW" altLang="en-US" sz="1800">
              <a:solidFill>
                <a:prstClr val="black"/>
              </a:solidFill>
            </a:endParaRPr>
          </a:p>
        </p:txBody>
      </p:sp>
      <p:sp>
        <p:nvSpPr>
          <p:cNvPr id="112" name="橢圓 111"/>
          <p:cNvSpPr/>
          <p:nvPr/>
        </p:nvSpPr>
        <p:spPr>
          <a:xfrm>
            <a:off x="5845057" y="2358317"/>
            <a:ext cx="574158" cy="574158"/>
          </a:xfrm>
          <a:prstGeom prst="ellipse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zh-TW" altLang="en-US" sz="1800">
              <a:solidFill>
                <a:prstClr val="black"/>
              </a:solidFill>
            </a:endParaRPr>
          </a:p>
        </p:txBody>
      </p:sp>
      <p:sp>
        <p:nvSpPr>
          <p:cNvPr id="113" name="橢圓 112"/>
          <p:cNvSpPr/>
          <p:nvPr/>
        </p:nvSpPr>
        <p:spPr>
          <a:xfrm>
            <a:off x="5852085" y="3604990"/>
            <a:ext cx="574158" cy="574158"/>
          </a:xfrm>
          <a:prstGeom prst="ellipse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zh-TW" altLang="en-US" sz="1800">
              <a:solidFill>
                <a:prstClr val="black"/>
              </a:solidFill>
            </a:endParaRPr>
          </a:p>
        </p:txBody>
      </p:sp>
      <p:sp>
        <p:nvSpPr>
          <p:cNvPr id="114" name="文字方塊 113"/>
          <p:cNvSpPr txBox="1"/>
          <p:nvPr/>
        </p:nvSpPr>
        <p:spPr>
          <a:xfrm rot="5400000">
            <a:off x="5849338" y="3024120"/>
            <a:ext cx="76925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altLang="zh-TW" sz="2800" dirty="0">
                <a:solidFill>
                  <a:prstClr val="black"/>
                </a:solidFill>
                <a:latin typeface="Calibri"/>
              </a:rPr>
              <a:t>……</a:t>
            </a:r>
            <a:endParaRPr lang="zh-TW" altLang="en-US" sz="2800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15" name="文字方塊 114"/>
          <p:cNvSpPr txBox="1"/>
          <p:nvPr/>
        </p:nvSpPr>
        <p:spPr>
          <a:xfrm>
            <a:off x="5014443" y="1558932"/>
            <a:ext cx="76925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altLang="zh-TW" sz="2800" dirty="0">
                <a:solidFill>
                  <a:prstClr val="black"/>
                </a:solidFill>
                <a:latin typeface="Calibri"/>
              </a:rPr>
              <a:t>……</a:t>
            </a:r>
            <a:endParaRPr lang="zh-TW" altLang="en-US" sz="2800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16" name="文字方塊 115"/>
          <p:cNvSpPr txBox="1"/>
          <p:nvPr/>
        </p:nvSpPr>
        <p:spPr>
          <a:xfrm>
            <a:off x="5032066" y="2344431"/>
            <a:ext cx="76925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altLang="zh-TW" sz="2800" dirty="0">
                <a:solidFill>
                  <a:prstClr val="black"/>
                </a:solidFill>
                <a:latin typeface="Calibri"/>
              </a:rPr>
              <a:t>……</a:t>
            </a:r>
            <a:endParaRPr lang="zh-TW" altLang="en-US" sz="2800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17" name="文字方塊 116"/>
          <p:cNvSpPr txBox="1"/>
          <p:nvPr/>
        </p:nvSpPr>
        <p:spPr>
          <a:xfrm>
            <a:off x="5044246" y="3600723"/>
            <a:ext cx="76925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altLang="zh-TW" sz="2800" dirty="0">
                <a:solidFill>
                  <a:prstClr val="black"/>
                </a:solidFill>
                <a:latin typeface="Calibri"/>
              </a:rPr>
              <a:t>……</a:t>
            </a:r>
            <a:endParaRPr lang="zh-TW" altLang="en-US" sz="2800" dirty="0">
              <a:solidFill>
                <a:prstClr val="black"/>
              </a:solidFill>
              <a:latin typeface="Calibri"/>
            </a:endParaRPr>
          </a:p>
        </p:txBody>
      </p:sp>
      <p:cxnSp>
        <p:nvCxnSpPr>
          <p:cNvPr id="118" name="直線單箭頭接點 117"/>
          <p:cNvCxnSpPr>
            <a:stCxn id="100" idx="6"/>
            <a:endCxn id="107" idx="2"/>
          </p:cNvCxnSpPr>
          <p:nvPr/>
        </p:nvCxnSpPr>
        <p:spPr>
          <a:xfrm>
            <a:off x="3700994" y="1904595"/>
            <a:ext cx="741404" cy="0"/>
          </a:xfrm>
          <a:prstGeom prst="straightConnector1">
            <a:avLst/>
          </a:prstGeom>
          <a:ln w="254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9" name="直線單箭頭接點 118"/>
          <p:cNvCxnSpPr/>
          <p:nvPr/>
        </p:nvCxnSpPr>
        <p:spPr>
          <a:xfrm>
            <a:off x="3700994" y="2696347"/>
            <a:ext cx="741404" cy="0"/>
          </a:xfrm>
          <a:prstGeom prst="straightConnector1">
            <a:avLst/>
          </a:prstGeom>
          <a:ln w="254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0" name="直線單箭頭接點 119"/>
          <p:cNvCxnSpPr/>
          <p:nvPr/>
        </p:nvCxnSpPr>
        <p:spPr>
          <a:xfrm>
            <a:off x="3691703" y="3918316"/>
            <a:ext cx="741404" cy="0"/>
          </a:xfrm>
          <a:prstGeom prst="straightConnector1">
            <a:avLst/>
          </a:prstGeom>
          <a:ln w="254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1" name="直線單箭頭接點 120"/>
          <p:cNvCxnSpPr>
            <a:stCxn id="101" idx="6"/>
            <a:endCxn id="107" idx="2"/>
          </p:cNvCxnSpPr>
          <p:nvPr/>
        </p:nvCxnSpPr>
        <p:spPr>
          <a:xfrm flipV="1">
            <a:off x="3703336" y="1904595"/>
            <a:ext cx="739062" cy="778570"/>
          </a:xfrm>
          <a:prstGeom prst="straightConnector1">
            <a:avLst/>
          </a:prstGeom>
          <a:ln w="254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2" name="直線單箭頭接點 121"/>
          <p:cNvCxnSpPr>
            <a:stCxn id="100" idx="6"/>
            <a:endCxn id="108" idx="2"/>
          </p:cNvCxnSpPr>
          <p:nvPr/>
        </p:nvCxnSpPr>
        <p:spPr>
          <a:xfrm>
            <a:off x="3700994" y="1904595"/>
            <a:ext cx="743746" cy="778570"/>
          </a:xfrm>
          <a:prstGeom prst="straightConnector1">
            <a:avLst/>
          </a:prstGeom>
          <a:ln w="254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3" name="直線單箭頭接點 122"/>
          <p:cNvCxnSpPr>
            <a:stCxn id="100" idx="6"/>
            <a:endCxn id="109" idx="2"/>
          </p:cNvCxnSpPr>
          <p:nvPr/>
        </p:nvCxnSpPr>
        <p:spPr>
          <a:xfrm>
            <a:off x="3700994" y="1904595"/>
            <a:ext cx="732113" cy="2006582"/>
          </a:xfrm>
          <a:prstGeom prst="straightConnector1">
            <a:avLst/>
          </a:prstGeom>
          <a:ln w="254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4" name="直線單箭頭接點 123"/>
          <p:cNvCxnSpPr>
            <a:stCxn id="101" idx="6"/>
            <a:endCxn id="109" idx="2"/>
          </p:cNvCxnSpPr>
          <p:nvPr/>
        </p:nvCxnSpPr>
        <p:spPr>
          <a:xfrm>
            <a:off x="3703336" y="2683165"/>
            <a:ext cx="729771" cy="1228012"/>
          </a:xfrm>
          <a:prstGeom prst="straightConnector1">
            <a:avLst/>
          </a:prstGeom>
          <a:ln w="254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5" name="直線單箭頭接點 124"/>
          <p:cNvCxnSpPr>
            <a:stCxn id="102" idx="6"/>
            <a:endCxn id="107" idx="2"/>
          </p:cNvCxnSpPr>
          <p:nvPr/>
        </p:nvCxnSpPr>
        <p:spPr>
          <a:xfrm flipV="1">
            <a:off x="3691703" y="1904595"/>
            <a:ext cx="750695" cy="2006582"/>
          </a:xfrm>
          <a:prstGeom prst="straightConnector1">
            <a:avLst/>
          </a:prstGeom>
          <a:ln w="254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6" name="直線單箭頭接點 125"/>
          <p:cNvCxnSpPr>
            <a:stCxn id="102" idx="6"/>
            <a:endCxn id="108" idx="2"/>
          </p:cNvCxnSpPr>
          <p:nvPr/>
        </p:nvCxnSpPr>
        <p:spPr>
          <a:xfrm flipV="1">
            <a:off x="3691703" y="2683165"/>
            <a:ext cx="753037" cy="1228012"/>
          </a:xfrm>
          <a:prstGeom prst="straightConnector1">
            <a:avLst/>
          </a:prstGeom>
          <a:ln w="254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7" name="直線單箭頭接點 126"/>
          <p:cNvCxnSpPr>
            <a:endCxn id="100" idx="2"/>
          </p:cNvCxnSpPr>
          <p:nvPr/>
        </p:nvCxnSpPr>
        <p:spPr>
          <a:xfrm flipV="1">
            <a:off x="2267436" y="1904595"/>
            <a:ext cx="859400" cy="29993"/>
          </a:xfrm>
          <a:prstGeom prst="straightConnector1">
            <a:avLst/>
          </a:prstGeom>
          <a:ln w="254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8" name="直線單箭頭接點 127"/>
          <p:cNvCxnSpPr>
            <a:stCxn id="97" idx="3"/>
            <a:endCxn id="101" idx="2"/>
          </p:cNvCxnSpPr>
          <p:nvPr/>
        </p:nvCxnSpPr>
        <p:spPr>
          <a:xfrm>
            <a:off x="2263729" y="1952969"/>
            <a:ext cx="865449" cy="730196"/>
          </a:xfrm>
          <a:prstGeom prst="straightConnector1">
            <a:avLst/>
          </a:prstGeom>
          <a:ln w="254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9" name="直線單箭頭接點 128"/>
          <p:cNvCxnSpPr>
            <a:stCxn id="97" idx="3"/>
            <a:endCxn id="102" idx="2"/>
          </p:cNvCxnSpPr>
          <p:nvPr/>
        </p:nvCxnSpPr>
        <p:spPr>
          <a:xfrm>
            <a:off x="2263729" y="1952969"/>
            <a:ext cx="853816" cy="1958208"/>
          </a:xfrm>
          <a:prstGeom prst="straightConnector1">
            <a:avLst/>
          </a:prstGeom>
          <a:ln w="254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0" name="直線單箭頭接點 129"/>
          <p:cNvCxnSpPr>
            <a:stCxn id="99" idx="3"/>
            <a:endCxn id="100" idx="2"/>
          </p:cNvCxnSpPr>
          <p:nvPr/>
        </p:nvCxnSpPr>
        <p:spPr>
          <a:xfrm flipV="1">
            <a:off x="2291249" y="1904595"/>
            <a:ext cx="835587" cy="595384"/>
          </a:xfrm>
          <a:prstGeom prst="straightConnector1">
            <a:avLst/>
          </a:prstGeom>
          <a:ln w="254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1" name="直線單箭頭接點 130"/>
          <p:cNvCxnSpPr>
            <a:stCxn id="96" idx="3"/>
            <a:endCxn id="101" idx="2"/>
          </p:cNvCxnSpPr>
          <p:nvPr/>
        </p:nvCxnSpPr>
        <p:spPr>
          <a:xfrm>
            <a:off x="2257911" y="2523298"/>
            <a:ext cx="871267" cy="159867"/>
          </a:xfrm>
          <a:prstGeom prst="straightConnector1">
            <a:avLst/>
          </a:prstGeom>
          <a:ln w="254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2" name="直線單箭頭接點 131"/>
          <p:cNvCxnSpPr>
            <a:stCxn id="96" idx="3"/>
            <a:endCxn id="102" idx="2"/>
          </p:cNvCxnSpPr>
          <p:nvPr/>
        </p:nvCxnSpPr>
        <p:spPr>
          <a:xfrm>
            <a:off x="2257911" y="2523298"/>
            <a:ext cx="859634" cy="1387879"/>
          </a:xfrm>
          <a:prstGeom prst="straightConnector1">
            <a:avLst/>
          </a:prstGeom>
          <a:ln w="254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3" name="直線單箭頭接點 132"/>
          <p:cNvCxnSpPr>
            <a:stCxn id="105" idx="3"/>
            <a:endCxn id="100" idx="2"/>
          </p:cNvCxnSpPr>
          <p:nvPr/>
        </p:nvCxnSpPr>
        <p:spPr>
          <a:xfrm flipV="1">
            <a:off x="2329408" y="1904595"/>
            <a:ext cx="797428" cy="1993231"/>
          </a:xfrm>
          <a:prstGeom prst="straightConnector1">
            <a:avLst/>
          </a:prstGeom>
          <a:ln w="254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4" name="直線單箭頭接點 133"/>
          <p:cNvCxnSpPr>
            <a:stCxn id="105" idx="3"/>
            <a:endCxn id="101" idx="2"/>
          </p:cNvCxnSpPr>
          <p:nvPr/>
        </p:nvCxnSpPr>
        <p:spPr>
          <a:xfrm flipV="1">
            <a:off x="2303039" y="2683165"/>
            <a:ext cx="826139" cy="1214606"/>
          </a:xfrm>
          <a:prstGeom prst="straightConnector1">
            <a:avLst/>
          </a:prstGeom>
          <a:ln w="254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5" name="直線單箭頭接點 134"/>
          <p:cNvCxnSpPr>
            <a:stCxn id="105" idx="3"/>
            <a:endCxn id="102" idx="2"/>
          </p:cNvCxnSpPr>
          <p:nvPr/>
        </p:nvCxnSpPr>
        <p:spPr>
          <a:xfrm>
            <a:off x="2303039" y="3897771"/>
            <a:ext cx="814506" cy="13406"/>
          </a:xfrm>
          <a:prstGeom prst="straightConnector1">
            <a:avLst/>
          </a:prstGeom>
          <a:ln w="254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6" name="文字方塊 135"/>
          <p:cNvSpPr txBox="1"/>
          <p:nvPr/>
        </p:nvSpPr>
        <p:spPr>
          <a:xfrm rot="5400000">
            <a:off x="7122356" y="3055092"/>
            <a:ext cx="76925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altLang="zh-TW" sz="2800" dirty="0">
                <a:solidFill>
                  <a:prstClr val="black"/>
                </a:solidFill>
                <a:latin typeface="Calibri"/>
              </a:rPr>
              <a:t>……</a:t>
            </a:r>
            <a:endParaRPr lang="zh-TW" altLang="en-US" sz="2800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37" name="文字方塊 136"/>
          <p:cNvSpPr txBox="1"/>
          <p:nvPr/>
        </p:nvSpPr>
        <p:spPr>
          <a:xfrm>
            <a:off x="7191449" y="1536271"/>
            <a:ext cx="63106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altLang="zh-TW" sz="2800" dirty="0">
                <a:solidFill>
                  <a:prstClr val="black"/>
                </a:solidFill>
                <a:latin typeface="Calibri"/>
              </a:rPr>
              <a:t>y</a:t>
            </a:r>
            <a:r>
              <a:rPr lang="en-US" altLang="zh-TW" sz="2800" baseline="-25000" dirty="0">
                <a:solidFill>
                  <a:prstClr val="black"/>
                </a:solidFill>
                <a:latin typeface="Calibri"/>
              </a:rPr>
              <a:t>1</a:t>
            </a:r>
            <a:endParaRPr lang="zh-TW" altLang="en-US" sz="2800" baseline="-25000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38" name="文字方塊 137"/>
          <p:cNvSpPr txBox="1"/>
          <p:nvPr/>
        </p:nvSpPr>
        <p:spPr>
          <a:xfrm>
            <a:off x="7180166" y="2334491"/>
            <a:ext cx="63106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altLang="zh-TW" sz="2800" dirty="0">
                <a:solidFill>
                  <a:prstClr val="black"/>
                </a:solidFill>
                <a:latin typeface="Calibri"/>
              </a:rPr>
              <a:t>y</a:t>
            </a:r>
            <a:r>
              <a:rPr lang="en-US" altLang="zh-TW" sz="2800" baseline="-25000" dirty="0">
                <a:solidFill>
                  <a:prstClr val="black"/>
                </a:solidFill>
                <a:latin typeface="Calibri"/>
              </a:rPr>
              <a:t>2</a:t>
            </a:r>
            <a:endParaRPr lang="zh-TW" altLang="en-US" sz="2800" baseline="-25000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39" name="文字方塊 138"/>
          <p:cNvSpPr txBox="1"/>
          <p:nvPr/>
        </p:nvSpPr>
        <p:spPr>
          <a:xfrm>
            <a:off x="7180166" y="3600723"/>
            <a:ext cx="63106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altLang="zh-TW" sz="2800" dirty="0" err="1">
                <a:solidFill>
                  <a:prstClr val="black"/>
                </a:solidFill>
                <a:latin typeface="Calibri"/>
              </a:rPr>
              <a:t>y</a:t>
            </a:r>
            <a:r>
              <a:rPr lang="en-US" altLang="zh-TW" sz="2800" baseline="-25000" dirty="0" err="1">
                <a:solidFill>
                  <a:prstClr val="black"/>
                </a:solidFill>
                <a:latin typeface="Calibri"/>
              </a:rPr>
              <a:t>M</a:t>
            </a:r>
            <a:endParaRPr lang="zh-TW" altLang="en-US" sz="2800" baseline="-25000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TW" dirty="0"/>
              <a:t>Neural Network </a:t>
            </a:r>
            <a:endParaRPr lang="zh-TW" altLang="en-US" dirty="0"/>
          </a:p>
        </p:txBody>
      </p:sp>
      <p:sp>
        <p:nvSpPr>
          <p:cNvPr id="70" name="矩形 69"/>
          <p:cNvSpPr/>
          <p:nvPr/>
        </p:nvSpPr>
        <p:spPr>
          <a:xfrm>
            <a:off x="2318544" y="2185783"/>
            <a:ext cx="807843" cy="832399"/>
          </a:xfrm>
          <a:prstGeom prst="rect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altLang="zh-TW" sz="2400" dirty="0">
                <a:solidFill>
                  <a:prstClr val="black"/>
                </a:solidFill>
              </a:rPr>
              <a:t>W</a:t>
            </a:r>
            <a:r>
              <a:rPr lang="en-US" altLang="zh-TW" sz="2400" baseline="30000" dirty="0">
                <a:solidFill>
                  <a:prstClr val="black"/>
                </a:solidFill>
              </a:rPr>
              <a:t>1</a:t>
            </a:r>
            <a:endParaRPr lang="zh-TW" altLang="en-US" sz="2400" baseline="30000" dirty="0">
              <a:solidFill>
                <a:prstClr val="black"/>
              </a:solidFill>
            </a:endParaRPr>
          </a:p>
        </p:txBody>
      </p:sp>
      <p:sp>
        <p:nvSpPr>
          <p:cNvPr id="79" name="矩形 78"/>
          <p:cNvSpPr/>
          <p:nvPr/>
        </p:nvSpPr>
        <p:spPr>
          <a:xfrm>
            <a:off x="3706747" y="2193987"/>
            <a:ext cx="807843" cy="832399"/>
          </a:xfrm>
          <a:prstGeom prst="rect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altLang="zh-TW" sz="2400" dirty="0">
                <a:solidFill>
                  <a:prstClr val="black"/>
                </a:solidFill>
              </a:rPr>
              <a:t>W</a:t>
            </a:r>
            <a:r>
              <a:rPr lang="en-US" altLang="zh-TW" sz="2400" baseline="30000" dirty="0">
                <a:solidFill>
                  <a:prstClr val="black"/>
                </a:solidFill>
              </a:rPr>
              <a:t>2</a:t>
            </a:r>
            <a:endParaRPr lang="zh-TW" altLang="en-US" sz="2400" baseline="30000" dirty="0">
              <a:solidFill>
                <a:prstClr val="black"/>
              </a:solidFill>
            </a:endParaRPr>
          </a:p>
        </p:txBody>
      </p:sp>
      <p:sp>
        <p:nvSpPr>
          <p:cNvPr id="80" name="矩形 79"/>
          <p:cNvSpPr/>
          <p:nvPr/>
        </p:nvSpPr>
        <p:spPr>
          <a:xfrm>
            <a:off x="5172752" y="2187088"/>
            <a:ext cx="807843" cy="832399"/>
          </a:xfrm>
          <a:prstGeom prst="rect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altLang="zh-TW" sz="2400" dirty="0">
                <a:solidFill>
                  <a:prstClr val="black"/>
                </a:solidFill>
              </a:rPr>
              <a:t>W</a:t>
            </a:r>
            <a:r>
              <a:rPr lang="en-US" altLang="zh-TW" sz="2400" baseline="30000" dirty="0">
                <a:solidFill>
                  <a:prstClr val="black"/>
                </a:solidFill>
              </a:rPr>
              <a:t>L</a:t>
            </a:r>
            <a:endParaRPr lang="zh-TW" altLang="en-US" sz="2400" baseline="30000" dirty="0">
              <a:solidFill>
                <a:prstClr val="black"/>
              </a:solidFill>
            </a:endParaRPr>
          </a:p>
        </p:txBody>
      </p:sp>
      <p:sp>
        <p:nvSpPr>
          <p:cNvPr id="82" name="矩形 81"/>
          <p:cNvSpPr/>
          <p:nvPr/>
        </p:nvSpPr>
        <p:spPr>
          <a:xfrm>
            <a:off x="4322227" y="2527382"/>
            <a:ext cx="450868" cy="854551"/>
          </a:xfrm>
          <a:prstGeom prst="rect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altLang="zh-TW" sz="2400" dirty="0">
                <a:solidFill>
                  <a:prstClr val="black"/>
                </a:solidFill>
              </a:rPr>
              <a:t>b</a:t>
            </a:r>
            <a:r>
              <a:rPr lang="en-US" altLang="zh-TW" sz="2400" baseline="30000" dirty="0">
                <a:solidFill>
                  <a:prstClr val="black"/>
                </a:solidFill>
              </a:rPr>
              <a:t>2</a:t>
            </a:r>
            <a:endParaRPr lang="zh-TW" altLang="en-US" sz="2400" baseline="30000" dirty="0">
              <a:solidFill>
                <a:prstClr val="black"/>
              </a:solidFill>
            </a:endParaRPr>
          </a:p>
        </p:txBody>
      </p:sp>
      <p:sp>
        <p:nvSpPr>
          <p:cNvPr id="83" name="矩形 82"/>
          <p:cNvSpPr/>
          <p:nvPr/>
        </p:nvSpPr>
        <p:spPr>
          <a:xfrm>
            <a:off x="5812126" y="2503875"/>
            <a:ext cx="450868" cy="854551"/>
          </a:xfrm>
          <a:prstGeom prst="rect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altLang="zh-TW" sz="2400" dirty="0" err="1">
                <a:solidFill>
                  <a:prstClr val="black"/>
                </a:solidFill>
              </a:rPr>
              <a:t>b</a:t>
            </a:r>
            <a:r>
              <a:rPr lang="en-US" altLang="zh-TW" sz="2400" baseline="30000" dirty="0" err="1">
                <a:solidFill>
                  <a:prstClr val="black"/>
                </a:solidFill>
              </a:rPr>
              <a:t>L</a:t>
            </a:r>
            <a:endParaRPr lang="zh-TW" altLang="en-US" sz="2400" baseline="30000" dirty="0">
              <a:solidFill>
                <a:prstClr val="black"/>
              </a:solidFill>
            </a:endParaRPr>
          </a:p>
        </p:txBody>
      </p:sp>
      <p:sp>
        <p:nvSpPr>
          <p:cNvPr id="88" name="矩形 87"/>
          <p:cNvSpPr/>
          <p:nvPr/>
        </p:nvSpPr>
        <p:spPr>
          <a:xfrm>
            <a:off x="2230673" y="3581029"/>
            <a:ext cx="441359" cy="877076"/>
          </a:xfrm>
          <a:prstGeom prst="rect">
            <a:avLst/>
          </a:prstGeom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altLang="zh-TW" sz="2400" dirty="0">
                <a:solidFill>
                  <a:prstClr val="black"/>
                </a:solidFill>
              </a:rPr>
              <a:t>x</a:t>
            </a:r>
            <a:endParaRPr lang="zh-TW" altLang="en-US" sz="2400" dirty="0">
              <a:solidFill>
                <a:prstClr val="black"/>
              </a:solidFill>
            </a:endParaRPr>
          </a:p>
        </p:txBody>
      </p:sp>
      <p:sp>
        <p:nvSpPr>
          <p:cNvPr id="89" name="矩形 88"/>
          <p:cNvSpPr/>
          <p:nvPr/>
        </p:nvSpPr>
        <p:spPr>
          <a:xfrm>
            <a:off x="3540087" y="3581029"/>
            <a:ext cx="441359" cy="877076"/>
          </a:xfrm>
          <a:prstGeom prst="rect">
            <a:avLst/>
          </a:prstGeom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altLang="zh-TW" sz="2400" dirty="0">
                <a:solidFill>
                  <a:prstClr val="black"/>
                </a:solidFill>
              </a:rPr>
              <a:t>a</a:t>
            </a:r>
            <a:r>
              <a:rPr lang="en-US" altLang="zh-TW" sz="2400" baseline="30000" dirty="0">
                <a:solidFill>
                  <a:prstClr val="black"/>
                </a:solidFill>
              </a:rPr>
              <a:t>1</a:t>
            </a:r>
            <a:endParaRPr lang="zh-TW" altLang="en-US" sz="2400" baseline="30000" dirty="0">
              <a:solidFill>
                <a:prstClr val="black"/>
              </a:solidFill>
            </a:endParaRPr>
          </a:p>
        </p:txBody>
      </p:sp>
      <p:sp>
        <p:nvSpPr>
          <p:cNvPr id="90" name="矩形 89"/>
          <p:cNvSpPr/>
          <p:nvPr/>
        </p:nvSpPr>
        <p:spPr>
          <a:xfrm>
            <a:off x="4875211" y="3594769"/>
            <a:ext cx="441359" cy="877076"/>
          </a:xfrm>
          <a:prstGeom prst="rect">
            <a:avLst/>
          </a:prstGeom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altLang="zh-TW" sz="2400" dirty="0">
                <a:solidFill>
                  <a:prstClr val="black"/>
                </a:solidFill>
              </a:rPr>
              <a:t>a</a:t>
            </a:r>
            <a:r>
              <a:rPr lang="en-US" altLang="zh-TW" sz="2400" baseline="30000" dirty="0">
                <a:solidFill>
                  <a:prstClr val="black"/>
                </a:solidFill>
              </a:rPr>
              <a:t>2</a:t>
            </a:r>
            <a:endParaRPr lang="zh-TW" altLang="en-US" sz="2400" baseline="30000" dirty="0">
              <a:solidFill>
                <a:prstClr val="black"/>
              </a:solidFill>
            </a:endParaRPr>
          </a:p>
        </p:txBody>
      </p:sp>
      <p:sp>
        <p:nvSpPr>
          <p:cNvPr id="92" name="矩形 91"/>
          <p:cNvSpPr/>
          <p:nvPr/>
        </p:nvSpPr>
        <p:spPr>
          <a:xfrm>
            <a:off x="6464825" y="3589712"/>
            <a:ext cx="441359" cy="877076"/>
          </a:xfrm>
          <a:prstGeom prst="rect">
            <a:avLst/>
          </a:prstGeom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altLang="zh-TW" sz="2400" dirty="0">
                <a:solidFill>
                  <a:prstClr val="black"/>
                </a:solidFill>
              </a:rPr>
              <a:t>y</a:t>
            </a:r>
            <a:endParaRPr lang="zh-TW" altLang="en-US" sz="2400" baseline="30000" dirty="0">
              <a:solidFill>
                <a:prstClr val="black"/>
              </a:solidFill>
            </a:endParaRPr>
          </a:p>
        </p:txBody>
      </p:sp>
      <p:sp>
        <p:nvSpPr>
          <p:cNvPr id="85" name="矩形 84"/>
          <p:cNvSpPr/>
          <p:nvPr/>
        </p:nvSpPr>
        <p:spPr>
          <a:xfrm>
            <a:off x="521225" y="4593012"/>
            <a:ext cx="441359" cy="877076"/>
          </a:xfrm>
          <a:prstGeom prst="rect">
            <a:avLst/>
          </a:prstGeom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altLang="zh-TW" sz="2400" dirty="0">
                <a:solidFill>
                  <a:prstClr val="black"/>
                </a:solidFill>
              </a:rPr>
              <a:t>y</a:t>
            </a:r>
            <a:endParaRPr lang="zh-TW" altLang="en-US" sz="2400" baseline="30000" dirty="0">
              <a:solidFill>
                <a:prstClr val="black"/>
              </a:solidFill>
            </a:endParaRPr>
          </a:p>
        </p:txBody>
      </p:sp>
      <p:grpSp>
        <p:nvGrpSpPr>
          <p:cNvPr id="3" name="群組 5"/>
          <p:cNvGrpSpPr/>
          <p:nvPr/>
        </p:nvGrpSpPr>
        <p:grpSpPr>
          <a:xfrm>
            <a:off x="1022727" y="4582414"/>
            <a:ext cx="1423980" cy="877076"/>
            <a:chOff x="3047770" y="5664328"/>
            <a:chExt cx="1423980" cy="877076"/>
          </a:xfrm>
        </p:grpSpPr>
        <mc:AlternateContent xmlns:mc="http://schemas.openxmlformats.org/markup-compatibility/2006" xmlns:a14="http://schemas.microsoft.com/office/drawing/2010/main">
          <mc:Choice Requires="a14">
            <p:sp>
              <p:nvSpPr>
                <p:cNvPr id="5" name="文字方塊 4"/>
                <p:cNvSpPr txBox="1"/>
                <p:nvPr/>
              </p:nvSpPr>
              <p:spPr>
                <a:xfrm>
                  <a:off x="3047770" y="5918200"/>
                  <a:ext cx="1423980" cy="369332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>
                  <a:spAutoFit/>
                </a:bodyPr>
                <a:lstStyle/>
                <a:p>
                  <a:pPr eaLnBrk="1" fontAlgn="auto" hangingPunct="1">
                    <a:spcBef>
                      <a:spcPts val="0"/>
                    </a:spcBef>
                    <a:spcAft>
                      <a:spcPts val="0"/>
                    </a:spcAft>
                  </a:pPr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a:rPr lang="en-US" altLang="zh-TW" sz="2400" i="1">
                            <a:solidFill>
                              <a:prstClr val="black"/>
                            </a:solidFill>
                            <a:latin typeface="Cambria Math" panose="02040503050406030204" pitchFamily="18" charset="0"/>
                          </a:rPr>
                          <m:t>=</m:t>
                        </m:r>
                        <m:r>
                          <a:rPr lang="en-US" altLang="zh-TW" sz="2400" i="1">
                            <a:solidFill>
                              <a:prstClr val="black"/>
                            </a:solidFill>
                            <a:latin typeface="Cambria Math" panose="02040503050406030204" pitchFamily="18" charset="0"/>
                          </a:rPr>
                          <m:t>𝑓</m:t>
                        </m:r>
                        <m:d>
                          <m:dPr>
                            <m:ctrlPr>
                              <a:rPr lang="en-US" altLang="zh-TW" sz="2400" i="1">
                                <a:solidFill>
                                  <a:prstClr val="black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dPr>
                          <m:e>
                            <m:r>
                              <a:rPr lang="en-US" altLang="zh-TW" sz="2400" i="1">
                                <a:solidFill>
                                  <a:prstClr val="black"/>
                                </a:solidFill>
                                <a:latin typeface="Cambria Math" panose="02040503050406030204" pitchFamily="18" charset="0"/>
                              </a:rPr>
                              <m:t>         </m:t>
                            </m:r>
                          </m:e>
                        </m:d>
                      </m:oMath>
                    </m:oMathPara>
                  </a14:m>
                  <a:endParaRPr lang="zh-TW" altLang="en-US" sz="2400" dirty="0">
                    <a:solidFill>
                      <a:prstClr val="black"/>
                    </a:solidFill>
                    <a:latin typeface="Calibri"/>
                  </a:endParaRPr>
                </a:p>
              </p:txBody>
            </p:sp>
          </mc:Choice>
          <mc:Fallback xmlns="">
            <p:sp>
              <p:nvSpPr>
                <p:cNvPr id="5" name="文字方塊 4"/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3047770" y="5918200"/>
                  <a:ext cx="1423980" cy="369332"/>
                </a:xfrm>
                <a:prstGeom prst="rect">
                  <a:avLst/>
                </a:prstGeom>
                <a:blipFill rotWithShape="0">
                  <a:blip r:embed="rId12"/>
                  <a:stretch>
                    <a:fillRect l="-1717" b="-34426"/>
                  </a:stretch>
                </a:blipFill>
              </p:spPr>
              <p:txBody>
                <a:bodyPr/>
                <a:lstStyle/>
                <a:p>
                  <a:r>
                    <a:rPr lang="en-US">
                      <a:noFill/>
                    </a:rPr>
                    <a:t> </a:t>
                  </a:r>
                </a:p>
              </p:txBody>
            </p:sp>
          </mc:Fallback>
        </mc:AlternateContent>
        <p:sp>
          <p:nvSpPr>
            <p:cNvPr id="87" name="矩形 86"/>
            <p:cNvSpPr/>
            <p:nvPr/>
          </p:nvSpPr>
          <p:spPr>
            <a:xfrm>
              <a:off x="3778163" y="5664328"/>
              <a:ext cx="441359" cy="877076"/>
            </a:xfrm>
            <a:prstGeom prst="rect">
              <a:avLst/>
            </a:prstGeom>
          </p:spPr>
          <p:style>
            <a:lnRef idx="1">
              <a:schemeClr val="accent5"/>
            </a:lnRef>
            <a:fillRef idx="2">
              <a:schemeClr val="accent5"/>
            </a:fillRef>
            <a:effectRef idx="1">
              <a:schemeClr val="accent5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</a:pPr>
              <a:r>
                <a:rPr lang="en-US" altLang="zh-TW" sz="2400" dirty="0">
                  <a:solidFill>
                    <a:prstClr val="black"/>
                  </a:solidFill>
                </a:rPr>
                <a:t>x</a:t>
              </a:r>
              <a:endParaRPr lang="zh-TW" altLang="en-US" sz="2400" dirty="0">
                <a:solidFill>
                  <a:prstClr val="black"/>
                </a:solidFill>
              </a:endParaRPr>
            </a:p>
          </p:txBody>
        </p:sp>
      </p:grpSp>
      <p:sp>
        <p:nvSpPr>
          <p:cNvPr id="140" name="矩形 139"/>
          <p:cNvSpPr/>
          <p:nvPr/>
        </p:nvSpPr>
        <p:spPr>
          <a:xfrm>
            <a:off x="5934446" y="5686811"/>
            <a:ext cx="450868" cy="854551"/>
          </a:xfrm>
          <a:prstGeom prst="rect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altLang="zh-TW" sz="2400" dirty="0">
                <a:solidFill>
                  <a:prstClr val="black"/>
                </a:solidFill>
              </a:rPr>
              <a:t>b</a:t>
            </a:r>
            <a:r>
              <a:rPr lang="en-US" altLang="zh-TW" sz="2400" baseline="30000" dirty="0">
                <a:solidFill>
                  <a:prstClr val="black"/>
                </a:solidFill>
              </a:rPr>
              <a:t>1</a:t>
            </a:r>
            <a:endParaRPr lang="zh-TW" altLang="en-US" sz="2400" baseline="30000" dirty="0">
              <a:solidFill>
                <a:prstClr val="black"/>
              </a:solidFill>
            </a:endParaRPr>
          </a:p>
        </p:txBody>
      </p:sp>
      <p:sp>
        <p:nvSpPr>
          <p:cNvPr id="141" name="矩形 140"/>
          <p:cNvSpPr/>
          <p:nvPr/>
        </p:nvSpPr>
        <p:spPr>
          <a:xfrm>
            <a:off x="4112961" y="5708963"/>
            <a:ext cx="807843" cy="832399"/>
          </a:xfrm>
          <a:prstGeom prst="rect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altLang="zh-TW" sz="2400" dirty="0">
                <a:solidFill>
                  <a:prstClr val="black"/>
                </a:solidFill>
              </a:rPr>
              <a:t>W</a:t>
            </a:r>
            <a:r>
              <a:rPr lang="en-US" altLang="zh-TW" sz="2400" baseline="30000" dirty="0">
                <a:solidFill>
                  <a:prstClr val="black"/>
                </a:solidFill>
              </a:rPr>
              <a:t>1</a:t>
            </a:r>
            <a:endParaRPr lang="zh-TW" altLang="en-US" sz="2400" baseline="30000" dirty="0">
              <a:solidFill>
                <a:prstClr val="black"/>
              </a:solidFill>
            </a:endParaRPr>
          </a:p>
        </p:txBody>
      </p:sp>
      <p:sp>
        <p:nvSpPr>
          <p:cNvPr id="142" name="矩形 141"/>
          <p:cNvSpPr/>
          <p:nvPr/>
        </p:nvSpPr>
        <p:spPr>
          <a:xfrm>
            <a:off x="5013903" y="5685008"/>
            <a:ext cx="441359" cy="877076"/>
          </a:xfrm>
          <a:prstGeom prst="rect">
            <a:avLst/>
          </a:prstGeom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altLang="zh-TW" sz="2400" dirty="0">
                <a:solidFill>
                  <a:prstClr val="black"/>
                </a:solidFill>
              </a:rPr>
              <a:t>x</a:t>
            </a:r>
            <a:endParaRPr lang="zh-TW" altLang="en-US" sz="2400" dirty="0">
              <a:solidFill>
                <a:prstClr val="black"/>
              </a:solidFill>
            </a:endParaRPr>
          </a:p>
        </p:txBody>
      </p:sp>
      <p:sp>
        <p:nvSpPr>
          <p:cNvPr id="146" name="文字方塊 145"/>
          <p:cNvSpPr txBox="1"/>
          <p:nvPr/>
        </p:nvSpPr>
        <p:spPr>
          <a:xfrm>
            <a:off x="5514543" y="5880611"/>
            <a:ext cx="36062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altLang="zh-TW" sz="2400" dirty="0">
                <a:solidFill>
                  <a:prstClr val="black"/>
                </a:solidFill>
                <a:latin typeface="Calibri"/>
              </a:rPr>
              <a:t>+</a:t>
            </a:r>
            <a:endParaRPr lang="zh-TW" altLang="en-US" sz="2400" dirty="0">
              <a:solidFill>
                <a:prstClr val="black"/>
              </a:solidFill>
              <a:latin typeface="Calibri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47" name="文字方塊 146"/>
              <p:cNvSpPr txBox="1"/>
              <p:nvPr/>
            </p:nvSpPr>
            <p:spPr>
              <a:xfrm>
                <a:off x="3652491" y="5938880"/>
                <a:ext cx="3002489" cy="369332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zh-TW" altLang="en-US" sz="2400" i="1">
                          <a:solidFill>
                            <a:prstClr val="black"/>
                          </a:solidFill>
                          <a:latin typeface="Cambria Math" panose="02040503050406030204" pitchFamily="18" charset="0"/>
                        </a:rPr>
                        <m:t>𝜎</m:t>
                      </m:r>
                      <m:d>
                        <m:dPr>
                          <m:ctrlPr>
                            <a:rPr lang="en-US" altLang="zh-TW" sz="2400" i="1">
                              <a:solidFill>
                                <a:prstClr val="black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altLang="zh-TW" sz="2400" i="1">
                              <a:solidFill>
                                <a:prstClr val="black"/>
                              </a:solidFill>
                              <a:latin typeface="Cambria Math" panose="02040503050406030204" pitchFamily="18" charset="0"/>
                            </a:rPr>
                            <m:t>                                    </m:t>
                          </m:r>
                        </m:e>
                      </m:d>
                    </m:oMath>
                  </m:oMathPara>
                </a14:m>
                <a:endParaRPr lang="zh-TW" altLang="en-US" sz="2400" dirty="0">
                  <a:solidFill>
                    <a:prstClr val="black"/>
                  </a:solidFill>
                  <a:latin typeface="Calibri"/>
                </a:endParaRPr>
              </a:p>
            </p:txBody>
          </p:sp>
        </mc:Choice>
        <mc:Fallback xmlns="">
          <p:sp>
            <p:nvSpPr>
              <p:cNvPr id="147" name="文字方塊 146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652491" y="5938880"/>
                <a:ext cx="3002489" cy="369332"/>
              </a:xfrm>
              <a:prstGeom prst="rect">
                <a:avLst/>
              </a:prstGeom>
              <a:blipFill rotWithShape="0">
                <a:blip r:embed="rId1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49" name="矩形 148"/>
          <p:cNvSpPr/>
          <p:nvPr/>
        </p:nvSpPr>
        <p:spPr>
          <a:xfrm>
            <a:off x="6876409" y="5703455"/>
            <a:ext cx="450868" cy="854551"/>
          </a:xfrm>
          <a:prstGeom prst="rect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altLang="zh-TW" sz="2400" dirty="0">
                <a:solidFill>
                  <a:prstClr val="black"/>
                </a:solidFill>
              </a:rPr>
              <a:t>b</a:t>
            </a:r>
            <a:r>
              <a:rPr lang="en-US" altLang="zh-TW" sz="2400" baseline="30000" dirty="0">
                <a:solidFill>
                  <a:prstClr val="black"/>
                </a:solidFill>
              </a:rPr>
              <a:t>2</a:t>
            </a:r>
            <a:endParaRPr lang="zh-TW" altLang="en-US" sz="2400" baseline="30000" dirty="0">
              <a:solidFill>
                <a:prstClr val="black"/>
              </a:solidFill>
            </a:endParaRPr>
          </a:p>
        </p:txBody>
      </p:sp>
      <p:sp>
        <p:nvSpPr>
          <p:cNvPr id="150" name="矩形 149"/>
          <p:cNvSpPr/>
          <p:nvPr/>
        </p:nvSpPr>
        <p:spPr>
          <a:xfrm>
            <a:off x="2825706" y="5725607"/>
            <a:ext cx="807843" cy="832399"/>
          </a:xfrm>
          <a:prstGeom prst="rect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altLang="zh-TW" sz="2400" dirty="0">
                <a:solidFill>
                  <a:prstClr val="black"/>
                </a:solidFill>
              </a:rPr>
              <a:t>W</a:t>
            </a:r>
            <a:r>
              <a:rPr lang="en-US" altLang="zh-TW" sz="2400" baseline="30000" dirty="0">
                <a:solidFill>
                  <a:prstClr val="black"/>
                </a:solidFill>
              </a:rPr>
              <a:t>2</a:t>
            </a:r>
            <a:endParaRPr lang="zh-TW" altLang="en-US" sz="2400" baseline="30000" dirty="0">
              <a:solidFill>
                <a:prstClr val="black"/>
              </a:solidFill>
            </a:endParaRPr>
          </a:p>
        </p:txBody>
      </p:sp>
      <p:sp>
        <p:nvSpPr>
          <p:cNvPr id="152" name="文字方塊 151"/>
          <p:cNvSpPr txBox="1"/>
          <p:nvPr/>
        </p:nvSpPr>
        <p:spPr>
          <a:xfrm>
            <a:off x="6521219" y="5892199"/>
            <a:ext cx="36062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altLang="zh-TW" sz="2400" dirty="0">
                <a:solidFill>
                  <a:prstClr val="black"/>
                </a:solidFill>
                <a:latin typeface="Calibri"/>
              </a:rPr>
              <a:t>+</a:t>
            </a:r>
            <a:endParaRPr lang="zh-TW" altLang="en-US" sz="2400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55" name="矩形 154"/>
          <p:cNvSpPr/>
          <p:nvPr/>
        </p:nvSpPr>
        <p:spPr>
          <a:xfrm>
            <a:off x="8091450" y="5685008"/>
            <a:ext cx="450868" cy="854551"/>
          </a:xfrm>
          <a:prstGeom prst="rect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altLang="zh-TW" sz="2400" dirty="0" err="1">
                <a:solidFill>
                  <a:prstClr val="black"/>
                </a:solidFill>
              </a:rPr>
              <a:t>b</a:t>
            </a:r>
            <a:r>
              <a:rPr lang="en-US" altLang="zh-TW" sz="2400" baseline="30000" dirty="0" err="1">
                <a:solidFill>
                  <a:prstClr val="black"/>
                </a:solidFill>
              </a:rPr>
              <a:t>L</a:t>
            </a:r>
            <a:endParaRPr lang="zh-TW" altLang="en-US" sz="2400" baseline="30000" dirty="0">
              <a:solidFill>
                <a:prstClr val="black"/>
              </a:solidFill>
            </a:endParaRPr>
          </a:p>
        </p:txBody>
      </p:sp>
      <p:sp>
        <p:nvSpPr>
          <p:cNvPr id="156" name="矩形 155"/>
          <p:cNvSpPr/>
          <p:nvPr/>
        </p:nvSpPr>
        <p:spPr>
          <a:xfrm>
            <a:off x="1129407" y="5718373"/>
            <a:ext cx="807843" cy="832399"/>
          </a:xfrm>
          <a:prstGeom prst="rect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altLang="zh-TW" sz="2400" dirty="0">
                <a:solidFill>
                  <a:prstClr val="black"/>
                </a:solidFill>
              </a:rPr>
              <a:t>W</a:t>
            </a:r>
            <a:r>
              <a:rPr lang="en-US" altLang="zh-TW" sz="2400" baseline="30000" dirty="0">
                <a:solidFill>
                  <a:prstClr val="black"/>
                </a:solidFill>
              </a:rPr>
              <a:t>L</a:t>
            </a:r>
            <a:endParaRPr lang="zh-TW" altLang="en-US" sz="2400" baseline="30000" dirty="0">
              <a:solidFill>
                <a:prstClr val="black"/>
              </a:solidFill>
            </a:endParaRPr>
          </a:p>
        </p:txBody>
      </p:sp>
      <p:sp>
        <p:nvSpPr>
          <p:cNvPr id="158" name="文字方塊 157"/>
          <p:cNvSpPr txBox="1"/>
          <p:nvPr/>
        </p:nvSpPr>
        <p:spPr>
          <a:xfrm>
            <a:off x="7780895" y="5884466"/>
            <a:ext cx="36062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altLang="zh-TW" sz="2400" dirty="0">
                <a:solidFill>
                  <a:prstClr val="black"/>
                </a:solidFill>
                <a:latin typeface="Calibri"/>
              </a:rPr>
              <a:t>+</a:t>
            </a:r>
            <a:endParaRPr lang="zh-TW" altLang="en-US" sz="2400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8" name="文字方塊 7"/>
          <p:cNvSpPr txBox="1"/>
          <p:nvPr/>
        </p:nvSpPr>
        <p:spPr>
          <a:xfrm>
            <a:off x="1860078" y="5819056"/>
            <a:ext cx="71911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altLang="zh-TW" sz="2800" dirty="0">
                <a:solidFill>
                  <a:prstClr val="black"/>
                </a:solidFill>
                <a:latin typeface="Calibri"/>
              </a:rPr>
              <a:t>…</a:t>
            </a:r>
            <a:endParaRPr lang="zh-TW" altLang="en-US" sz="2800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74" name="矩形 173"/>
          <p:cNvSpPr/>
          <p:nvPr/>
        </p:nvSpPr>
        <p:spPr>
          <a:xfrm>
            <a:off x="2881004" y="2531687"/>
            <a:ext cx="450868" cy="854551"/>
          </a:xfrm>
          <a:prstGeom prst="rect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altLang="zh-TW" sz="2400" dirty="0">
                <a:solidFill>
                  <a:prstClr val="black"/>
                </a:solidFill>
              </a:rPr>
              <a:t>b</a:t>
            </a:r>
            <a:r>
              <a:rPr lang="en-US" altLang="zh-TW" sz="2400" baseline="30000" dirty="0">
                <a:solidFill>
                  <a:prstClr val="black"/>
                </a:solidFill>
              </a:rPr>
              <a:t>1</a:t>
            </a:r>
            <a:endParaRPr lang="zh-TW" altLang="en-US" sz="2400" baseline="30000" dirty="0">
              <a:solidFill>
                <a:prstClr val="black"/>
              </a:solidFill>
            </a:endParaRPr>
          </a:p>
        </p:txBody>
      </p:sp>
      <p:sp>
        <p:nvSpPr>
          <p:cNvPr id="175" name="文字方塊 174"/>
          <p:cNvSpPr txBox="1"/>
          <p:nvPr/>
        </p:nvSpPr>
        <p:spPr>
          <a:xfrm>
            <a:off x="7372935" y="5774436"/>
            <a:ext cx="71911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altLang="zh-TW" sz="2800" dirty="0">
                <a:solidFill>
                  <a:prstClr val="black"/>
                </a:solidFill>
                <a:latin typeface="Calibri"/>
              </a:rPr>
              <a:t>…</a:t>
            </a:r>
            <a:endParaRPr lang="zh-TW" altLang="en-US" sz="2800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76" name="文字方塊 175"/>
          <p:cNvSpPr txBox="1"/>
          <p:nvPr/>
        </p:nvSpPr>
        <p:spPr>
          <a:xfrm>
            <a:off x="2777295" y="4572908"/>
            <a:ext cx="5539589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altLang="zh-TW" sz="2800" dirty="0">
                <a:solidFill>
                  <a:prstClr val="black"/>
                </a:solidFill>
                <a:latin typeface="Calibri"/>
              </a:rPr>
              <a:t>Using parallel computing techniques to speed up matrix operation</a:t>
            </a:r>
            <a:endParaRPr lang="zh-TW" altLang="en-US" sz="2800" dirty="0">
              <a:solidFill>
                <a:prstClr val="black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01518701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3" grpId="0" animBg="1"/>
      <p:bldP spid="153" grpId="0" animBg="1"/>
      <p:bldP spid="85" grpId="0" animBg="1"/>
      <p:bldP spid="140" grpId="0" animBg="1"/>
      <p:bldP spid="141" grpId="0" animBg="1"/>
      <p:bldP spid="142" grpId="0" animBg="1"/>
      <p:bldP spid="146" grpId="0"/>
      <p:bldP spid="147" grpId="0" animBg="1"/>
      <p:bldP spid="149" grpId="0" animBg="1"/>
      <p:bldP spid="150" grpId="0" animBg="1"/>
      <p:bldP spid="152" grpId="0"/>
      <p:bldP spid="155" grpId="0" animBg="1"/>
      <p:bldP spid="156" grpId="0" animBg="1"/>
      <p:bldP spid="158" grpId="0"/>
      <p:bldP spid="8" grpId="0"/>
      <p:bldP spid="175" grpId="0"/>
      <p:bldP spid="176" grpId="0"/>
    </p:bldLst>
  </p:timing>
</p:sld>
</file>

<file path=ppt/slides/slide7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TW" dirty="0" smtClean="0"/>
              <a:t>How to set network parameters</a:t>
            </a:r>
            <a:endParaRPr lang="zh-TW" altLang="en-US" dirty="0"/>
          </a:p>
        </p:txBody>
      </p:sp>
      <p:pic>
        <p:nvPicPr>
          <p:cNvPr id="33" name="圖片 3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60018" y="2227843"/>
            <a:ext cx="2130022" cy="2116455"/>
          </a:xfrm>
          <a:prstGeom prst="rect">
            <a:avLst/>
          </a:prstGeom>
        </p:spPr>
      </p:pic>
      <p:sp>
        <p:nvSpPr>
          <p:cNvPr id="8" name="文字方塊 7"/>
          <p:cNvSpPr txBox="1"/>
          <p:nvPr/>
        </p:nvSpPr>
        <p:spPr>
          <a:xfrm>
            <a:off x="407377" y="4331325"/>
            <a:ext cx="14478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altLang="zh-TW" sz="1800" dirty="0">
                <a:solidFill>
                  <a:prstClr val="black"/>
                </a:solidFill>
                <a:latin typeface="Calibri"/>
              </a:rPr>
              <a:t>16 x 16 = 256</a:t>
            </a:r>
            <a:endParaRPr lang="zh-TW" altLang="en-US" sz="1800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35" name="矩形 34"/>
          <p:cNvSpPr/>
          <p:nvPr/>
        </p:nvSpPr>
        <p:spPr>
          <a:xfrm>
            <a:off x="3702826" y="1897122"/>
            <a:ext cx="746342" cy="2675868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zh-TW" altLang="en-US" sz="1800">
              <a:solidFill>
                <a:prstClr val="black"/>
              </a:solidFill>
            </a:endParaRPr>
          </a:p>
        </p:txBody>
      </p:sp>
      <p:sp>
        <p:nvSpPr>
          <p:cNvPr id="40" name="矩形 39"/>
          <p:cNvSpPr/>
          <p:nvPr/>
        </p:nvSpPr>
        <p:spPr>
          <a:xfrm>
            <a:off x="2519723" y="1924763"/>
            <a:ext cx="498951" cy="2625052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zh-TW" altLang="en-US" sz="1800">
              <a:solidFill>
                <a:prstClr val="black"/>
              </a:solidFill>
            </a:endParaRPr>
          </a:p>
        </p:txBody>
      </p:sp>
      <p:sp>
        <p:nvSpPr>
          <p:cNvPr id="46" name="矩形 45"/>
          <p:cNvSpPr/>
          <p:nvPr/>
        </p:nvSpPr>
        <p:spPr>
          <a:xfrm>
            <a:off x="2588111" y="2642456"/>
            <a:ext cx="342900" cy="342900"/>
          </a:xfrm>
          <a:prstGeom prst="rect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zh-TW" altLang="en-US" sz="1800">
              <a:solidFill>
                <a:prstClr val="black"/>
              </a:solidFill>
            </a:endParaRPr>
          </a:p>
        </p:txBody>
      </p:sp>
      <p:sp>
        <p:nvSpPr>
          <p:cNvPr id="47" name="矩形 46"/>
          <p:cNvSpPr/>
          <p:nvPr/>
        </p:nvSpPr>
        <p:spPr>
          <a:xfrm>
            <a:off x="2593929" y="2072127"/>
            <a:ext cx="342900" cy="342900"/>
          </a:xfrm>
          <a:prstGeom prst="rect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zh-TW" altLang="en-US" sz="1800">
              <a:solidFill>
                <a:prstClr val="black"/>
              </a:solidFill>
            </a:endParaRPr>
          </a:p>
        </p:txBody>
      </p:sp>
      <p:graphicFrame>
        <p:nvGraphicFramePr>
          <p:cNvPr id="49" name="Object 12"/>
          <p:cNvGraphicFramePr>
            <a:graphicFrameLocks noChangeAspect="1"/>
          </p:cNvGraphicFramePr>
          <p:nvPr>
            <p:extLst/>
          </p:nvPr>
        </p:nvGraphicFramePr>
        <p:xfrm>
          <a:off x="2606628" y="1976877"/>
          <a:ext cx="325438" cy="46196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5707" name="方程式" r:id="rId4" imgW="152280" imgH="215640" progId="Equation.3">
                  <p:embed/>
                </p:oleObj>
              </mc:Choice>
              <mc:Fallback>
                <p:oleObj name="方程式" r:id="rId4" imgW="152280" imgH="215640" progId="Equation.3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606628" y="1976877"/>
                        <a:ext cx="325438" cy="461962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52" name="Object 12"/>
          <p:cNvGraphicFramePr>
            <a:graphicFrameLocks noChangeAspect="1"/>
          </p:cNvGraphicFramePr>
          <p:nvPr>
            <p:extLst/>
          </p:nvPr>
        </p:nvGraphicFramePr>
        <p:xfrm>
          <a:off x="2611924" y="2559606"/>
          <a:ext cx="352425" cy="4619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5708" name="方程式" r:id="rId6" imgW="164880" imgH="215640" progId="Equation.3">
                  <p:embed/>
                </p:oleObj>
              </mc:Choice>
              <mc:Fallback>
                <p:oleObj name="方程式" r:id="rId6" imgW="164880" imgH="215640" progId="Equation.3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611924" y="2559606"/>
                        <a:ext cx="352425" cy="461963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3" name="橢圓 52"/>
          <p:cNvSpPr/>
          <p:nvPr/>
        </p:nvSpPr>
        <p:spPr>
          <a:xfrm>
            <a:off x="3799936" y="1908124"/>
            <a:ext cx="574158" cy="574158"/>
          </a:xfrm>
          <a:prstGeom prst="ellipse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zh-TW" altLang="en-US" sz="1800">
              <a:solidFill>
                <a:prstClr val="black"/>
              </a:solidFill>
            </a:endParaRPr>
          </a:p>
        </p:txBody>
      </p:sp>
      <p:sp>
        <p:nvSpPr>
          <p:cNvPr id="54" name="橢圓 53"/>
          <p:cNvSpPr/>
          <p:nvPr/>
        </p:nvSpPr>
        <p:spPr>
          <a:xfrm>
            <a:off x="3802278" y="2686694"/>
            <a:ext cx="574158" cy="574158"/>
          </a:xfrm>
          <a:prstGeom prst="ellipse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zh-TW" altLang="en-US" sz="1800">
              <a:solidFill>
                <a:prstClr val="black"/>
              </a:solidFill>
            </a:endParaRPr>
          </a:p>
        </p:txBody>
      </p:sp>
      <p:sp>
        <p:nvSpPr>
          <p:cNvPr id="55" name="橢圓 54"/>
          <p:cNvSpPr/>
          <p:nvPr/>
        </p:nvSpPr>
        <p:spPr>
          <a:xfrm>
            <a:off x="3790645" y="3914706"/>
            <a:ext cx="574158" cy="574158"/>
          </a:xfrm>
          <a:prstGeom prst="ellipse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zh-TW" altLang="en-US" sz="1800">
              <a:solidFill>
                <a:prstClr val="black"/>
              </a:solidFill>
            </a:endParaRPr>
          </a:p>
        </p:txBody>
      </p:sp>
      <p:sp>
        <p:nvSpPr>
          <p:cNvPr id="56" name="文字方塊 55"/>
          <p:cNvSpPr txBox="1"/>
          <p:nvPr/>
        </p:nvSpPr>
        <p:spPr>
          <a:xfrm rot="5400000">
            <a:off x="3787898" y="3336999"/>
            <a:ext cx="76925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altLang="zh-TW" sz="2800" dirty="0">
                <a:solidFill>
                  <a:prstClr val="black"/>
                </a:solidFill>
                <a:latin typeface="Calibri"/>
              </a:rPr>
              <a:t>……</a:t>
            </a:r>
            <a:endParaRPr lang="zh-TW" altLang="en-US" sz="2800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59" name="矩形 58"/>
          <p:cNvSpPr/>
          <p:nvPr/>
        </p:nvSpPr>
        <p:spPr>
          <a:xfrm>
            <a:off x="2597636" y="4040213"/>
            <a:ext cx="342900" cy="342900"/>
          </a:xfrm>
          <a:prstGeom prst="rect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zh-TW" altLang="en-US" sz="1800">
              <a:solidFill>
                <a:prstClr val="black"/>
              </a:solidFill>
            </a:endParaRPr>
          </a:p>
        </p:txBody>
      </p:sp>
      <p:graphicFrame>
        <p:nvGraphicFramePr>
          <p:cNvPr id="62" name="Object 12"/>
          <p:cNvGraphicFramePr>
            <a:graphicFrameLocks noChangeAspect="1"/>
          </p:cNvGraphicFramePr>
          <p:nvPr>
            <p:extLst/>
          </p:nvPr>
        </p:nvGraphicFramePr>
        <p:xfrm>
          <a:off x="2525713" y="3943446"/>
          <a:ext cx="544512" cy="4889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5709" name="方程式" r:id="rId8" imgW="253800" imgH="228600" progId="Equation.3">
                  <p:embed/>
                </p:oleObj>
              </mc:Choice>
              <mc:Fallback>
                <p:oleObj name="方程式" r:id="rId8" imgW="253800" imgH="228600" progId="Equation.3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525713" y="3943446"/>
                        <a:ext cx="544512" cy="4889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3" name="文字方塊 62"/>
          <p:cNvSpPr txBox="1"/>
          <p:nvPr/>
        </p:nvSpPr>
        <p:spPr>
          <a:xfrm rot="5400000">
            <a:off x="2473568" y="3325155"/>
            <a:ext cx="76925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altLang="zh-TW" sz="2800" dirty="0">
                <a:solidFill>
                  <a:prstClr val="black"/>
                </a:solidFill>
                <a:latin typeface="Calibri"/>
              </a:rPr>
              <a:t>……</a:t>
            </a:r>
            <a:endParaRPr lang="zh-TW" altLang="en-US" sz="2800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72" name="文字方塊 71"/>
          <p:cNvSpPr txBox="1"/>
          <p:nvPr/>
        </p:nvSpPr>
        <p:spPr>
          <a:xfrm>
            <a:off x="5027143" y="1849540"/>
            <a:ext cx="76925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altLang="zh-TW" sz="2800" dirty="0">
                <a:solidFill>
                  <a:prstClr val="black"/>
                </a:solidFill>
                <a:latin typeface="Calibri"/>
              </a:rPr>
              <a:t>……</a:t>
            </a:r>
            <a:endParaRPr lang="zh-TW" altLang="en-US" sz="2800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73" name="文字方塊 72"/>
          <p:cNvSpPr txBox="1"/>
          <p:nvPr/>
        </p:nvSpPr>
        <p:spPr>
          <a:xfrm>
            <a:off x="5044766" y="2635039"/>
            <a:ext cx="76925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altLang="zh-TW" sz="2800" dirty="0">
                <a:solidFill>
                  <a:prstClr val="black"/>
                </a:solidFill>
                <a:latin typeface="Calibri"/>
              </a:rPr>
              <a:t>……</a:t>
            </a:r>
            <a:endParaRPr lang="zh-TW" altLang="en-US" sz="2800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74" name="文字方塊 73"/>
          <p:cNvSpPr txBox="1"/>
          <p:nvPr/>
        </p:nvSpPr>
        <p:spPr>
          <a:xfrm>
            <a:off x="5056946" y="3891331"/>
            <a:ext cx="76925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altLang="zh-TW" sz="2800" dirty="0">
                <a:solidFill>
                  <a:prstClr val="black"/>
                </a:solidFill>
                <a:latin typeface="Calibri"/>
              </a:rPr>
              <a:t>……</a:t>
            </a:r>
            <a:endParaRPr lang="zh-TW" altLang="en-US" sz="2800" dirty="0">
              <a:solidFill>
                <a:prstClr val="black"/>
              </a:solidFill>
              <a:latin typeface="Calibri"/>
            </a:endParaRPr>
          </a:p>
        </p:txBody>
      </p:sp>
      <p:cxnSp>
        <p:nvCxnSpPr>
          <p:cNvPr id="75" name="直線單箭頭接點 74"/>
          <p:cNvCxnSpPr>
            <a:stCxn id="53" idx="6"/>
          </p:cNvCxnSpPr>
          <p:nvPr/>
        </p:nvCxnSpPr>
        <p:spPr>
          <a:xfrm>
            <a:off x="4374094" y="2195203"/>
            <a:ext cx="741404" cy="0"/>
          </a:xfrm>
          <a:prstGeom prst="straightConnector1">
            <a:avLst/>
          </a:prstGeom>
          <a:ln w="254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直線單箭頭接點 75"/>
          <p:cNvCxnSpPr/>
          <p:nvPr/>
        </p:nvCxnSpPr>
        <p:spPr>
          <a:xfrm>
            <a:off x="4374094" y="2986955"/>
            <a:ext cx="741404" cy="0"/>
          </a:xfrm>
          <a:prstGeom prst="straightConnector1">
            <a:avLst/>
          </a:prstGeom>
          <a:ln w="254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直線單箭頭接點 76"/>
          <p:cNvCxnSpPr/>
          <p:nvPr/>
        </p:nvCxnSpPr>
        <p:spPr>
          <a:xfrm>
            <a:off x="4364803" y="4208924"/>
            <a:ext cx="741404" cy="0"/>
          </a:xfrm>
          <a:prstGeom prst="straightConnector1">
            <a:avLst/>
          </a:prstGeom>
          <a:ln w="254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8" name="直線單箭頭接點 77"/>
          <p:cNvCxnSpPr>
            <a:stCxn id="54" idx="6"/>
          </p:cNvCxnSpPr>
          <p:nvPr/>
        </p:nvCxnSpPr>
        <p:spPr>
          <a:xfrm flipV="1">
            <a:off x="4376436" y="2195203"/>
            <a:ext cx="739062" cy="778570"/>
          </a:xfrm>
          <a:prstGeom prst="straightConnector1">
            <a:avLst/>
          </a:prstGeom>
          <a:ln w="254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" name="直線單箭頭接點 78"/>
          <p:cNvCxnSpPr>
            <a:stCxn id="53" idx="6"/>
          </p:cNvCxnSpPr>
          <p:nvPr/>
        </p:nvCxnSpPr>
        <p:spPr>
          <a:xfrm>
            <a:off x="4374094" y="2195203"/>
            <a:ext cx="743746" cy="778570"/>
          </a:xfrm>
          <a:prstGeom prst="straightConnector1">
            <a:avLst/>
          </a:prstGeom>
          <a:ln w="254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0" name="直線單箭頭接點 79"/>
          <p:cNvCxnSpPr>
            <a:stCxn id="53" idx="6"/>
          </p:cNvCxnSpPr>
          <p:nvPr/>
        </p:nvCxnSpPr>
        <p:spPr>
          <a:xfrm>
            <a:off x="4374094" y="2195203"/>
            <a:ext cx="732113" cy="2006582"/>
          </a:xfrm>
          <a:prstGeom prst="straightConnector1">
            <a:avLst/>
          </a:prstGeom>
          <a:ln w="254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1" name="直線單箭頭接點 80"/>
          <p:cNvCxnSpPr>
            <a:stCxn id="54" idx="6"/>
          </p:cNvCxnSpPr>
          <p:nvPr/>
        </p:nvCxnSpPr>
        <p:spPr>
          <a:xfrm>
            <a:off x="4376436" y="2973773"/>
            <a:ext cx="729771" cy="1228012"/>
          </a:xfrm>
          <a:prstGeom prst="straightConnector1">
            <a:avLst/>
          </a:prstGeom>
          <a:ln w="254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" name="直線單箭頭接點 81"/>
          <p:cNvCxnSpPr>
            <a:stCxn id="55" idx="6"/>
          </p:cNvCxnSpPr>
          <p:nvPr/>
        </p:nvCxnSpPr>
        <p:spPr>
          <a:xfrm flipV="1">
            <a:off x="4364803" y="2195203"/>
            <a:ext cx="750695" cy="2006582"/>
          </a:xfrm>
          <a:prstGeom prst="straightConnector1">
            <a:avLst/>
          </a:prstGeom>
          <a:ln w="254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" name="直線單箭頭接點 82"/>
          <p:cNvCxnSpPr>
            <a:stCxn id="55" idx="6"/>
          </p:cNvCxnSpPr>
          <p:nvPr/>
        </p:nvCxnSpPr>
        <p:spPr>
          <a:xfrm flipV="1">
            <a:off x="4364803" y="2973773"/>
            <a:ext cx="753037" cy="1228012"/>
          </a:xfrm>
          <a:prstGeom prst="straightConnector1">
            <a:avLst/>
          </a:prstGeom>
          <a:ln w="254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4" name="直線單箭頭接點 83"/>
          <p:cNvCxnSpPr>
            <a:endCxn id="53" idx="2"/>
          </p:cNvCxnSpPr>
          <p:nvPr/>
        </p:nvCxnSpPr>
        <p:spPr>
          <a:xfrm flipV="1">
            <a:off x="2940536" y="2195203"/>
            <a:ext cx="859400" cy="29993"/>
          </a:xfrm>
          <a:prstGeom prst="straightConnector1">
            <a:avLst/>
          </a:prstGeom>
          <a:ln w="254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" name="直線單箭頭接點 84"/>
          <p:cNvCxnSpPr>
            <a:stCxn id="47" idx="3"/>
            <a:endCxn id="54" idx="2"/>
          </p:cNvCxnSpPr>
          <p:nvPr/>
        </p:nvCxnSpPr>
        <p:spPr>
          <a:xfrm>
            <a:off x="2936829" y="2243577"/>
            <a:ext cx="865449" cy="730196"/>
          </a:xfrm>
          <a:prstGeom prst="straightConnector1">
            <a:avLst/>
          </a:prstGeom>
          <a:ln w="254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6" name="直線單箭頭接點 85"/>
          <p:cNvCxnSpPr>
            <a:stCxn id="47" idx="3"/>
            <a:endCxn id="55" idx="2"/>
          </p:cNvCxnSpPr>
          <p:nvPr/>
        </p:nvCxnSpPr>
        <p:spPr>
          <a:xfrm>
            <a:off x="2936829" y="2243577"/>
            <a:ext cx="853816" cy="1958208"/>
          </a:xfrm>
          <a:prstGeom prst="straightConnector1">
            <a:avLst/>
          </a:prstGeom>
          <a:ln w="254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7" name="直線單箭頭接點 86"/>
          <p:cNvCxnSpPr>
            <a:stCxn id="52" idx="3"/>
            <a:endCxn id="53" idx="2"/>
          </p:cNvCxnSpPr>
          <p:nvPr/>
        </p:nvCxnSpPr>
        <p:spPr>
          <a:xfrm flipV="1">
            <a:off x="2964349" y="2195203"/>
            <a:ext cx="835587" cy="595384"/>
          </a:xfrm>
          <a:prstGeom prst="straightConnector1">
            <a:avLst/>
          </a:prstGeom>
          <a:ln w="254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直線單箭頭接點 87"/>
          <p:cNvCxnSpPr>
            <a:stCxn id="46" idx="3"/>
            <a:endCxn id="54" idx="2"/>
          </p:cNvCxnSpPr>
          <p:nvPr/>
        </p:nvCxnSpPr>
        <p:spPr>
          <a:xfrm>
            <a:off x="2931011" y="2813906"/>
            <a:ext cx="871267" cy="159867"/>
          </a:xfrm>
          <a:prstGeom prst="straightConnector1">
            <a:avLst/>
          </a:prstGeom>
          <a:ln w="254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9" name="直線單箭頭接點 88"/>
          <p:cNvCxnSpPr>
            <a:stCxn id="46" idx="3"/>
            <a:endCxn id="55" idx="2"/>
          </p:cNvCxnSpPr>
          <p:nvPr/>
        </p:nvCxnSpPr>
        <p:spPr>
          <a:xfrm>
            <a:off x="2931011" y="2813906"/>
            <a:ext cx="859634" cy="1387879"/>
          </a:xfrm>
          <a:prstGeom prst="straightConnector1">
            <a:avLst/>
          </a:prstGeom>
          <a:ln w="254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0" name="直線單箭頭接點 89"/>
          <p:cNvCxnSpPr>
            <a:stCxn id="62" idx="3"/>
            <a:endCxn id="53" idx="2"/>
          </p:cNvCxnSpPr>
          <p:nvPr/>
        </p:nvCxnSpPr>
        <p:spPr>
          <a:xfrm flipV="1">
            <a:off x="3002508" y="2195203"/>
            <a:ext cx="797428" cy="1993231"/>
          </a:xfrm>
          <a:prstGeom prst="straightConnector1">
            <a:avLst/>
          </a:prstGeom>
          <a:ln w="254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1" name="直線單箭頭接點 90"/>
          <p:cNvCxnSpPr>
            <a:stCxn id="62" idx="3"/>
            <a:endCxn id="54" idx="2"/>
          </p:cNvCxnSpPr>
          <p:nvPr/>
        </p:nvCxnSpPr>
        <p:spPr>
          <a:xfrm flipV="1">
            <a:off x="2976139" y="2973773"/>
            <a:ext cx="826139" cy="1214606"/>
          </a:xfrm>
          <a:prstGeom prst="straightConnector1">
            <a:avLst/>
          </a:prstGeom>
          <a:ln w="254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2" name="直線單箭頭接點 91"/>
          <p:cNvCxnSpPr>
            <a:stCxn id="62" idx="3"/>
            <a:endCxn id="55" idx="2"/>
          </p:cNvCxnSpPr>
          <p:nvPr/>
        </p:nvCxnSpPr>
        <p:spPr>
          <a:xfrm>
            <a:off x="2976139" y="4188379"/>
            <a:ext cx="814506" cy="13406"/>
          </a:xfrm>
          <a:prstGeom prst="straightConnector1">
            <a:avLst/>
          </a:prstGeom>
          <a:ln w="254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手繪多邊形 11"/>
          <p:cNvSpPr/>
          <p:nvPr/>
        </p:nvSpPr>
        <p:spPr>
          <a:xfrm>
            <a:off x="285750" y="1986158"/>
            <a:ext cx="2305050" cy="363941"/>
          </a:xfrm>
          <a:custGeom>
            <a:avLst/>
            <a:gdLst>
              <a:gd name="connsiteX0" fmla="*/ 0 w 2305050"/>
              <a:gd name="connsiteY0" fmla="*/ 374550 h 374550"/>
              <a:gd name="connsiteX1" fmla="*/ 876300 w 2305050"/>
              <a:gd name="connsiteY1" fmla="*/ 6250 h 374550"/>
              <a:gd name="connsiteX2" fmla="*/ 2305050 w 2305050"/>
              <a:gd name="connsiteY2" fmla="*/ 177700 h 374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305050" h="374550">
                <a:moveTo>
                  <a:pt x="0" y="374550"/>
                </a:moveTo>
                <a:cubicBezTo>
                  <a:pt x="246062" y="206804"/>
                  <a:pt x="492125" y="39058"/>
                  <a:pt x="876300" y="6250"/>
                </a:cubicBezTo>
                <a:cubicBezTo>
                  <a:pt x="1260475" y="-26558"/>
                  <a:pt x="1782762" y="75571"/>
                  <a:pt x="2305050" y="177700"/>
                </a:cubicBezTo>
              </a:path>
            </a:pathLst>
          </a:custGeom>
          <a:noFill/>
          <a:ln w="28575">
            <a:solidFill>
              <a:srgbClr val="0000FF"/>
            </a:solidFill>
            <a:headEnd type="none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zh-TW" altLang="en-US" sz="1800">
              <a:solidFill>
                <a:prstClr val="white"/>
              </a:solidFill>
            </a:endParaRPr>
          </a:p>
        </p:txBody>
      </p:sp>
      <p:sp>
        <p:nvSpPr>
          <p:cNvPr id="14" name="手繪多邊形 13"/>
          <p:cNvSpPr/>
          <p:nvPr/>
        </p:nvSpPr>
        <p:spPr>
          <a:xfrm>
            <a:off x="419100" y="2159099"/>
            <a:ext cx="2171700" cy="646109"/>
          </a:xfrm>
          <a:custGeom>
            <a:avLst/>
            <a:gdLst>
              <a:gd name="connsiteX0" fmla="*/ 0 w 2171700"/>
              <a:gd name="connsiteY0" fmla="*/ 188909 h 646109"/>
              <a:gd name="connsiteX1" fmla="*/ 1073150 w 2171700"/>
              <a:gd name="connsiteY1" fmla="*/ 23809 h 646109"/>
              <a:gd name="connsiteX2" fmla="*/ 2171700 w 2171700"/>
              <a:gd name="connsiteY2" fmla="*/ 646109 h 6461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171700" h="646109">
                <a:moveTo>
                  <a:pt x="0" y="188909"/>
                </a:moveTo>
                <a:cubicBezTo>
                  <a:pt x="355600" y="68259"/>
                  <a:pt x="711200" y="-52391"/>
                  <a:pt x="1073150" y="23809"/>
                </a:cubicBezTo>
                <a:cubicBezTo>
                  <a:pt x="1435100" y="100009"/>
                  <a:pt x="1803400" y="373059"/>
                  <a:pt x="2171700" y="646109"/>
                </a:cubicBezTo>
              </a:path>
            </a:pathLst>
          </a:custGeom>
          <a:noFill/>
          <a:ln w="28575">
            <a:solidFill>
              <a:srgbClr val="0000FF"/>
            </a:solidFill>
            <a:headEnd type="none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zh-TW" altLang="en-US" sz="1800">
              <a:solidFill>
                <a:prstClr val="white"/>
              </a:solidFill>
            </a:endParaRPr>
          </a:p>
        </p:txBody>
      </p:sp>
      <p:sp>
        <p:nvSpPr>
          <p:cNvPr id="22" name="手繪多邊形 21"/>
          <p:cNvSpPr/>
          <p:nvPr/>
        </p:nvSpPr>
        <p:spPr>
          <a:xfrm>
            <a:off x="2152650" y="4202208"/>
            <a:ext cx="463550" cy="243308"/>
          </a:xfrm>
          <a:custGeom>
            <a:avLst/>
            <a:gdLst>
              <a:gd name="connsiteX0" fmla="*/ 0 w 463550"/>
              <a:gd name="connsiteY0" fmla="*/ 0 h 243308"/>
              <a:gd name="connsiteX1" fmla="*/ 101600 w 463550"/>
              <a:gd name="connsiteY1" fmla="*/ 241300 h 243308"/>
              <a:gd name="connsiteX2" fmla="*/ 463550 w 463550"/>
              <a:gd name="connsiteY2" fmla="*/ 95250 h 2433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463550" h="243308">
                <a:moveTo>
                  <a:pt x="0" y="0"/>
                </a:moveTo>
                <a:cubicBezTo>
                  <a:pt x="12171" y="112712"/>
                  <a:pt x="24342" y="225425"/>
                  <a:pt x="101600" y="241300"/>
                </a:cubicBezTo>
                <a:cubicBezTo>
                  <a:pt x="178858" y="257175"/>
                  <a:pt x="321204" y="176212"/>
                  <a:pt x="463550" y="95250"/>
                </a:cubicBezTo>
              </a:path>
            </a:pathLst>
          </a:custGeom>
          <a:noFill/>
          <a:ln w="28575">
            <a:solidFill>
              <a:srgbClr val="0000FF"/>
            </a:solidFill>
            <a:headEnd type="none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zh-TW" altLang="en-US" sz="1800">
              <a:solidFill>
                <a:prstClr val="white"/>
              </a:solidFill>
            </a:endParaRPr>
          </a:p>
        </p:txBody>
      </p:sp>
      <p:sp>
        <p:nvSpPr>
          <p:cNvPr id="24" name="文字方塊 23"/>
          <p:cNvSpPr txBox="1"/>
          <p:nvPr/>
        </p:nvSpPr>
        <p:spPr>
          <a:xfrm>
            <a:off x="442303" y="4683917"/>
            <a:ext cx="166139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altLang="zh-TW" sz="2400" dirty="0">
                <a:solidFill>
                  <a:prstClr val="black"/>
                </a:solidFill>
                <a:latin typeface="Calibri"/>
              </a:rPr>
              <a:t>Ink → 1</a:t>
            </a:r>
          </a:p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altLang="zh-TW" sz="2400" dirty="0">
                <a:solidFill>
                  <a:prstClr val="black"/>
                </a:solidFill>
                <a:latin typeface="Calibri"/>
              </a:rPr>
              <a:t>No ink → 0</a:t>
            </a:r>
            <a:endParaRPr lang="zh-TW" altLang="en-US" sz="2400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21" name="矩形 120"/>
          <p:cNvSpPr/>
          <p:nvPr/>
        </p:nvSpPr>
        <p:spPr>
          <a:xfrm>
            <a:off x="6860098" y="1909383"/>
            <a:ext cx="498951" cy="2625052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zh-TW" altLang="en-US" sz="1800">
              <a:solidFill>
                <a:prstClr val="black"/>
              </a:solidFill>
            </a:endParaRPr>
          </a:p>
        </p:txBody>
      </p:sp>
      <p:cxnSp>
        <p:nvCxnSpPr>
          <p:cNvPr id="123" name="直線單箭頭接點 122"/>
          <p:cNvCxnSpPr/>
          <p:nvPr/>
        </p:nvCxnSpPr>
        <p:spPr>
          <a:xfrm>
            <a:off x="6166378" y="2945542"/>
            <a:ext cx="634472" cy="0"/>
          </a:xfrm>
          <a:prstGeom prst="straightConnector1">
            <a:avLst/>
          </a:prstGeom>
          <a:ln w="254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4" name="直線單箭頭接點 123"/>
          <p:cNvCxnSpPr/>
          <p:nvPr/>
        </p:nvCxnSpPr>
        <p:spPr>
          <a:xfrm>
            <a:off x="6275694" y="4191432"/>
            <a:ext cx="525156" cy="0"/>
          </a:xfrm>
          <a:prstGeom prst="straightConnector1">
            <a:avLst/>
          </a:prstGeom>
          <a:ln w="254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5" name="直線單箭頭接點 124"/>
          <p:cNvCxnSpPr/>
          <p:nvPr/>
        </p:nvCxnSpPr>
        <p:spPr>
          <a:xfrm>
            <a:off x="6142494" y="2166739"/>
            <a:ext cx="658356" cy="0"/>
          </a:xfrm>
          <a:prstGeom prst="straightConnector1">
            <a:avLst/>
          </a:prstGeom>
          <a:ln w="254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0" name="文字方塊 129"/>
          <p:cNvSpPr txBox="1"/>
          <p:nvPr/>
        </p:nvSpPr>
        <p:spPr>
          <a:xfrm rot="5400000">
            <a:off x="6802288" y="3410379"/>
            <a:ext cx="76925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altLang="zh-TW" sz="2800" dirty="0">
                <a:solidFill>
                  <a:prstClr val="black"/>
                </a:solidFill>
                <a:latin typeface="Calibri"/>
              </a:rPr>
              <a:t>……</a:t>
            </a:r>
            <a:endParaRPr lang="zh-TW" altLang="en-US" sz="2800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31" name="文字方塊 130"/>
          <p:cNvSpPr txBox="1"/>
          <p:nvPr/>
        </p:nvSpPr>
        <p:spPr>
          <a:xfrm>
            <a:off x="6871381" y="1891558"/>
            <a:ext cx="63106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altLang="zh-TW" sz="2800" dirty="0">
                <a:solidFill>
                  <a:prstClr val="black"/>
                </a:solidFill>
                <a:latin typeface="Calibri"/>
              </a:rPr>
              <a:t>y</a:t>
            </a:r>
            <a:r>
              <a:rPr lang="en-US" altLang="zh-TW" sz="2800" baseline="-25000" dirty="0">
                <a:solidFill>
                  <a:prstClr val="black"/>
                </a:solidFill>
                <a:latin typeface="Calibri"/>
              </a:rPr>
              <a:t>1</a:t>
            </a:r>
            <a:endParaRPr lang="zh-TW" altLang="en-US" sz="2800" baseline="-25000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32" name="文字方塊 131"/>
          <p:cNvSpPr txBox="1"/>
          <p:nvPr/>
        </p:nvSpPr>
        <p:spPr>
          <a:xfrm>
            <a:off x="6892479" y="2699867"/>
            <a:ext cx="63106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altLang="zh-TW" sz="2800" dirty="0">
                <a:solidFill>
                  <a:prstClr val="black"/>
                </a:solidFill>
                <a:latin typeface="Calibri"/>
              </a:rPr>
              <a:t>y</a:t>
            </a:r>
            <a:r>
              <a:rPr lang="en-US" altLang="zh-TW" sz="2800" baseline="-25000" dirty="0">
                <a:solidFill>
                  <a:prstClr val="black"/>
                </a:solidFill>
                <a:latin typeface="Calibri"/>
              </a:rPr>
              <a:t>2</a:t>
            </a:r>
            <a:endParaRPr lang="zh-TW" altLang="en-US" sz="2800" baseline="-25000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33" name="文字方塊 132"/>
          <p:cNvSpPr txBox="1"/>
          <p:nvPr/>
        </p:nvSpPr>
        <p:spPr>
          <a:xfrm>
            <a:off x="6860098" y="3956010"/>
            <a:ext cx="63106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altLang="zh-TW" sz="2800" dirty="0">
                <a:solidFill>
                  <a:prstClr val="black"/>
                </a:solidFill>
                <a:latin typeface="Calibri"/>
              </a:rPr>
              <a:t>y</a:t>
            </a:r>
            <a:r>
              <a:rPr lang="en-US" altLang="zh-TW" sz="2800" baseline="-25000" dirty="0">
                <a:solidFill>
                  <a:prstClr val="black"/>
                </a:solidFill>
                <a:latin typeface="Calibri"/>
              </a:rPr>
              <a:t>10</a:t>
            </a:r>
            <a:endParaRPr lang="zh-TW" altLang="en-US" sz="2800" baseline="-25000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37" name="矩形 136"/>
          <p:cNvSpPr/>
          <p:nvPr/>
        </p:nvSpPr>
        <p:spPr>
          <a:xfrm>
            <a:off x="6819698" y="1999228"/>
            <a:ext cx="619787" cy="432058"/>
          </a:xfrm>
          <a:prstGeom prst="rect">
            <a:avLst/>
          </a:prstGeom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altLang="zh-TW" sz="2400" dirty="0">
                <a:solidFill>
                  <a:prstClr val="white"/>
                </a:solidFill>
              </a:rPr>
              <a:t>0.1</a:t>
            </a:r>
            <a:endParaRPr lang="zh-TW" altLang="en-US" sz="2400" dirty="0">
              <a:solidFill>
                <a:prstClr val="white"/>
              </a:solidFill>
            </a:endParaRPr>
          </a:p>
        </p:txBody>
      </p:sp>
      <p:sp>
        <p:nvSpPr>
          <p:cNvPr id="138" name="矩形 137"/>
          <p:cNvSpPr/>
          <p:nvPr/>
        </p:nvSpPr>
        <p:spPr>
          <a:xfrm>
            <a:off x="6819698" y="2723633"/>
            <a:ext cx="619787" cy="432058"/>
          </a:xfrm>
          <a:prstGeom prst="rect">
            <a:avLst/>
          </a:prstGeom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altLang="zh-TW" sz="2400" dirty="0">
                <a:solidFill>
                  <a:prstClr val="white"/>
                </a:solidFill>
              </a:rPr>
              <a:t>0.7</a:t>
            </a:r>
            <a:endParaRPr lang="zh-TW" altLang="en-US" sz="2400" dirty="0">
              <a:solidFill>
                <a:prstClr val="white"/>
              </a:solidFill>
            </a:endParaRPr>
          </a:p>
        </p:txBody>
      </p:sp>
      <p:sp>
        <p:nvSpPr>
          <p:cNvPr id="139" name="矩形 138"/>
          <p:cNvSpPr/>
          <p:nvPr/>
        </p:nvSpPr>
        <p:spPr>
          <a:xfrm>
            <a:off x="6800851" y="3992895"/>
            <a:ext cx="656740" cy="432058"/>
          </a:xfrm>
          <a:prstGeom prst="rect">
            <a:avLst/>
          </a:prstGeom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altLang="zh-TW" sz="2400" dirty="0">
                <a:solidFill>
                  <a:prstClr val="white"/>
                </a:solidFill>
              </a:rPr>
              <a:t>0.2</a:t>
            </a:r>
            <a:endParaRPr lang="zh-TW" altLang="en-US" sz="2400" dirty="0">
              <a:solidFill>
                <a:prstClr val="white"/>
              </a:solidFill>
            </a:endParaRPr>
          </a:p>
        </p:txBody>
      </p:sp>
      <p:sp>
        <p:nvSpPr>
          <p:cNvPr id="140" name="文字方塊 139"/>
          <p:cNvSpPr txBox="1"/>
          <p:nvPr/>
        </p:nvSpPr>
        <p:spPr>
          <a:xfrm>
            <a:off x="5106207" y="5263647"/>
            <a:ext cx="3466655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altLang="zh-TW" sz="2400" dirty="0">
                <a:solidFill>
                  <a:prstClr val="black"/>
                </a:solidFill>
                <a:latin typeface="Calibri"/>
              </a:rPr>
              <a:t>y</a:t>
            </a:r>
            <a:r>
              <a:rPr lang="en-US" altLang="zh-TW" sz="2400" baseline="-25000" dirty="0">
                <a:solidFill>
                  <a:prstClr val="black"/>
                </a:solidFill>
                <a:latin typeface="Calibri"/>
              </a:rPr>
              <a:t>1</a:t>
            </a:r>
            <a:r>
              <a:rPr lang="en-US" altLang="zh-TW" sz="2400" dirty="0">
                <a:solidFill>
                  <a:prstClr val="black"/>
                </a:solidFill>
                <a:latin typeface="Calibri"/>
              </a:rPr>
              <a:t> has the maximum value</a:t>
            </a:r>
            <a:endParaRPr lang="zh-TW" altLang="en-US" sz="2400" dirty="0">
              <a:solidFill>
                <a:prstClr val="black"/>
              </a:solidFill>
              <a:latin typeface="Calibri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41" name="文字方塊 140"/>
              <p:cNvSpPr txBox="1"/>
              <p:nvPr/>
            </p:nvSpPr>
            <p:spPr>
              <a:xfrm>
                <a:off x="2251228" y="4640618"/>
                <a:ext cx="5648726" cy="461665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altLang="zh-TW" sz="2400" dirty="0">
                    <a:solidFill>
                      <a:prstClr val="black"/>
                    </a:solidFill>
                    <a:latin typeface="Calibri"/>
                  </a:rPr>
                  <a:t>Set the network parameters </a:t>
                </a:r>
                <a14:m>
                  <m:oMath xmlns:m="http://schemas.openxmlformats.org/officeDocument/2006/math">
                    <m:r>
                      <a:rPr lang="zh-TW" altLang="en-US" sz="2400" i="1">
                        <a:solidFill>
                          <a:prstClr val="black"/>
                        </a:solidFill>
                        <a:latin typeface="Cambria Math" panose="02040503050406030204" pitchFamily="18" charset="0"/>
                      </a:rPr>
                      <m:t>𝜃</m:t>
                    </m:r>
                  </m:oMath>
                </a14:m>
                <a:r>
                  <a:rPr lang="en-US" altLang="zh-TW" sz="2400" dirty="0">
                    <a:solidFill>
                      <a:prstClr val="black"/>
                    </a:solidFill>
                    <a:latin typeface="Calibri"/>
                  </a:rPr>
                  <a:t> such that ……</a:t>
                </a:r>
                <a:endParaRPr lang="zh-TW" altLang="en-US" sz="2400" dirty="0">
                  <a:solidFill>
                    <a:prstClr val="black"/>
                  </a:solidFill>
                  <a:latin typeface="Calibri"/>
                </a:endParaRPr>
              </a:p>
            </p:txBody>
          </p:sp>
        </mc:Choice>
        <mc:Fallback xmlns="">
          <p:sp>
            <p:nvSpPr>
              <p:cNvPr id="141" name="文字方塊 140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251228" y="4640618"/>
                <a:ext cx="5648726" cy="461665"/>
              </a:xfrm>
              <a:prstGeom prst="rect">
                <a:avLst/>
              </a:prstGeom>
              <a:blipFill rotWithShape="0">
                <a:blip r:embed="rId10"/>
                <a:stretch>
                  <a:fillRect l="-1618" t="-10526" r="-863" b="-28947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142" name="圖片 141"/>
          <p:cNvPicPr>
            <a:picLocks noChangeAspect="1"/>
          </p:cNvPicPr>
          <p:nvPr/>
        </p:nvPicPr>
        <p:blipFill>
          <a:blip r:embed="rId11" cstate="print"/>
          <a:stretch>
            <a:fillRect/>
          </a:stretch>
        </p:blipFill>
        <p:spPr>
          <a:xfrm>
            <a:off x="3851677" y="5215631"/>
            <a:ext cx="574872" cy="581143"/>
          </a:xfrm>
          <a:prstGeom prst="rect">
            <a:avLst/>
          </a:prstGeom>
          <a:ln w="38100">
            <a:solidFill>
              <a:schemeClr val="tx1"/>
            </a:solidFill>
          </a:ln>
        </p:spPr>
      </p:pic>
      <p:sp>
        <p:nvSpPr>
          <p:cNvPr id="143" name="文字方塊 142"/>
          <p:cNvSpPr txBox="1"/>
          <p:nvPr/>
        </p:nvSpPr>
        <p:spPr>
          <a:xfrm>
            <a:off x="2867621" y="5240015"/>
            <a:ext cx="925253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altLang="zh-TW" sz="2400" dirty="0">
                <a:solidFill>
                  <a:prstClr val="black"/>
                </a:solidFill>
                <a:latin typeface="Calibri"/>
              </a:rPr>
              <a:t>Input:</a:t>
            </a:r>
            <a:endParaRPr lang="zh-TW" altLang="en-US" sz="2400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44" name="向右箭號 143"/>
          <p:cNvSpPr/>
          <p:nvPr/>
        </p:nvSpPr>
        <p:spPr>
          <a:xfrm>
            <a:off x="4570509" y="5360426"/>
            <a:ext cx="491685" cy="341254"/>
          </a:xfrm>
          <a:prstGeom prst="rightArrow">
            <a:avLst/>
          </a:prstGeom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zh-TW" altLang="en-US" sz="1800">
              <a:solidFill>
                <a:prstClr val="white"/>
              </a:solidFill>
            </a:endParaRPr>
          </a:p>
        </p:txBody>
      </p:sp>
      <p:sp>
        <p:nvSpPr>
          <p:cNvPr id="145" name="文字方塊 144"/>
          <p:cNvSpPr txBox="1"/>
          <p:nvPr/>
        </p:nvSpPr>
        <p:spPr>
          <a:xfrm>
            <a:off x="5106207" y="5996123"/>
            <a:ext cx="3466655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altLang="zh-TW" sz="2400" dirty="0">
                <a:solidFill>
                  <a:prstClr val="black"/>
                </a:solidFill>
                <a:latin typeface="Calibri"/>
              </a:rPr>
              <a:t>y</a:t>
            </a:r>
            <a:r>
              <a:rPr lang="en-US" altLang="zh-TW" sz="2400" baseline="-25000" dirty="0">
                <a:solidFill>
                  <a:prstClr val="black"/>
                </a:solidFill>
                <a:latin typeface="Calibri"/>
              </a:rPr>
              <a:t>2</a:t>
            </a:r>
            <a:r>
              <a:rPr lang="en-US" altLang="zh-TW" sz="2400" dirty="0">
                <a:solidFill>
                  <a:prstClr val="black"/>
                </a:solidFill>
                <a:latin typeface="Calibri"/>
              </a:rPr>
              <a:t> has the maximum value</a:t>
            </a:r>
            <a:endParaRPr lang="zh-TW" altLang="en-US" sz="2400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46" name="文字方塊 145"/>
          <p:cNvSpPr txBox="1"/>
          <p:nvPr/>
        </p:nvSpPr>
        <p:spPr>
          <a:xfrm>
            <a:off x="2867621" y="5972491"/>
            <a:ext cx="925253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altLang="zh-TW" sz="2400" dirty="0">
                <a:solidFill>
                  <a:prstClr val="black"/>
                </a:solidFill>
                <a:latin typeface="Calibri"/>
              </a:rPr>
              <a:t>Input:</a:t>
            </a:r>
            <a:endParaRPr lang="zh-TW" altLang="en-US" sz="2400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47" name="向右箭號 146"/>
          <p:cNvSpPr/>
          <p:nvPr/>
        </p:nvSpPr>
        <p:spPr>
          <a:xfrm>
            <a:off x="4570509" y="6092902"/>
            <a:ext cx="491685" cy="341254"/>
          </a:xfrm>
          <a:prstGeom prst="rightArrow">
            <a:avLst/>
          </a:prstGeom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zh-TW" altLang="en-US" sz="1800">
              <a:solidFill>
                <a:prstClr val="white"/>
              </a:solidFill>
            </a:endParaRPr>
          </a:p>
        </p:txBody>
      </p:sp>
      <p:pic>
        <p:nvPicPr>
          <p:cNvPr id="148" name="圖片 147"/>
          <p:cNvPicPr>
            <a:picLocks noChangeAspect="1"/>
          </p:cNvPicPr>
          <p:nvPr/>
        </p:nvPicPr>
        <p:blipFill>
          <a:blip r:embed="rId12" cstate="print"/>
          <a:stretch>
            <a:fillRect/>
          </a:stretch>
        </p:blipFill>
        <p:spPr>
          <a:xfrm>
            <a:off x="3828206" y="5948719"/>
            <a:ext cx="605932" cy="601556"/>
          </a:xfrm>
          <a:prstGeom prst="rect">
            <a:avLst/>
          </a:prstGeom>
          <a:ln w="38100">
            <a:solidFill>
              <a:schemeClr val="tx1"/>
            </a:solidFill>
          </a:ln>
        </p:spPr>
      </p:pic>
      <p:sp>
        <p:nvSpPr>
          <p:cNvPr id="149" name="文字方塊 148"/>
          <p:cNvSpPr txBox="1"/>
          <p:nvPr/>
        </p:nvSpPr>
        <p:spPr>
          <a:xfrm>
            <a:off x="7653717" y="1919554"/>
            <a:ext cx="861633" cy="461665"/>
          </a:xfrm>
          <a:prstGeom prst="rect">
            <a:avLst/>
          </a:prstGeom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altLang="zh-TW" sz="2400" dirty="0">
                <a:solidFill>
                  <a:prstClr val="white"/>
                </a:solidFill>
              </a:rPr>
              <a:t>is 1</a:t>
            </a:r>
            <a:endParaRPr lang="zh-TW" altLang="en-US" sz="2400" dirty="0">
              <a:solidFill>
                <a:prstClr val="white"/>
              </a:solidFill>
            </a:endParaRPr>
          </a:p>
        </p:txBody>
      </p:sp>
      <p:sp>
        <p:nvSpPr>
          <p:cNvPr id="150" name="文字方塊 149"/>
          <p:cNvSpPr txBox="1"/>
          <p:nvPr/>
        </p:nvSpPr>
        <p:spPr>
          <a:xfrm>
            <a:off x="7668337" y="2739277"/>
            <a:ext cx="847013" cy="461665"/>
          </a:xfrm>
          <a:prstGeom prst="rect">
            <a:avLst/>
          </a:prstGeom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altLang="zh-TW" sz="2400" dirty="0">
                <a:solidFill>
                  <a:prstClr val="white"/>
                </a:solidFill>
              </a:rPr>
              <a:t>is 2</a:t>
            </a:r>
            <a:endParaRPr lang="zh-TW" altLang="en-US" sz="2400" dirty="0">
              <a:solidFill>
                <a:prstClr val="white"/>
              </a:solidFill>
            </a:endParaRPr>
          </a:p>
        </p:txBody>
      </p:sp>
      <p:sp>
        <p:nvSpPr>
          <p:cNvPr id="151" name="文字方塊 150"/>
          <p:cNvSpPr txBox="1"/>
          <p:nvPr/>
        </p:nvSpPr>
        <p:spPr>
          <a:xfrm>
            <a:off x="7680584" y="3966147"/>
            <a:ext cx="834766" cy="461665"/>
          </a:xfrm>
          <a:prstGeom prst="rect">
            <a:avLst/>
          </a:prstGeom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altLang="zh-TW" sz="2400" dirty="0">
                <a:solidFill>
                  <a:prstClr val="white"/>
                </a:solidFill>
              </a:rPr>
              <a:t>is 0</a:t>
            </a:r>
            <a:endParaRPr lang="zh-TW" altLang="en-US" sz="2400" dirty="0">
              <a:solidFill>
                <a:prstClr val="white"/>
              </a:solidFill>
            </a:endParaRPr>
          </a:p>
        </p:txBody>
      </p:sp>
      <p:sp>
        <p:nvSpPr>
          <p:cNvPr id="152" name="矩形 151"/>
          <p:cNvSpPr/>
          <p:nvPr/>
        </p:nvSpPr>
        <p:spPr>
          <a:xfrm>
            <a:off x="3561371" y="5104192"/>
            <a:ext cx="3962706" cy="1070733"/>
          </a:xfrm>
          <a:prstGeom prst="rect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altLang="zh-TW" sz="2800" dirty="0">
                <a:solidFill>
                  <a:prstClr val="white"/>
                </a:solidFill>
              </a:rPr>
              <a:t>How to let the neural network achieve this</a:t>
            </a:r>
            <a:endParaRPr lang="zh-TW" altLang="en-US" sz="2800" dirty="0">
              <a:solidFill>
                <a:prstClr val="white"/>
              </a:solidFill>
            </a:endParaRPr>
          </a:p>
        </p:txBody>
      </p:sp>
      <p:sp>
        <p:nvSpPr>
          <p:cNvPr id="153" name="矩形 152"/>
          <p:cNvSpPr/>
          <p:nvPr/>
        </p:nvSpPr>
        <p:spPr>
          <a:xfrm>
            <a:off x="2251228" y="4635910"/>
            <a:ext cx="6424752" cy="2040100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zh-TW" altLang="en-US" sz="1800">
              <a:solidFill>
                <a:prstClr val="white"/>
              </a:solidFill>
            </a:endParaRPr>
          </a:p>
        </p:txBody>
      </p:sp>
      <p:sp>
        <p:nvSpPr>
          <p:cNvPr id="154" name="矩形 153"/>
          <p:cNvSpPr/>
          <p:nvPr/>
        </p:nvSpPr>
        <p:spPr>
          <a:xfrm rot="5400000">
            <a:off x="4731530" y="2959620"/>
            <a:ext cx="2582833" cy="523220"/>
          </a:xfrm>
          <a:prstGeom prst="rect">
            <a:avLst/>
          </a:prstGeom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altLang="zh-TW" sz="2800" dirty="0" err="1">
                <a:solidFill>
                  <a:prstClr val="white"/>
                </a:solidFill>
              </a:rPr>
              <a:t>Softmax</a:t>
            </a:r>
            <a:endParaRPr lang="zh-TW" altLang="en-US" sz="2800" dirty="0">
              <a:solidFill>
                <a:prstClr val="white"/>
              </a:solidFill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文字方塊 2"/>
              <p:cNvSpPr txBox="1"/>
              <p:nvPr/>
            </p:nvSpPr>
            <p:spPr>
              <a:xfrm>
                <a:off x="3081028" y="1425674"/>
                <a:ext cx="4765151" cy="430887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zh-TW" altLang="en-US" sz="2800" i="1">
                          <a:solidFill>
                            <a:prstClr val="black"/>
                          </a:solidFill>
                          <a:latin typeface="Cambria Math" panose="02040503050406030204" pitchFamily="18" charset="0"/>
                        </a:rPr>
                        <m:t>𝜃</m:t>
                      </m:r>
                      <m:r>
                        <a:rPr lang="en-US" altLang="zh-TW" sz="2800" i="1">
                          <a:solidFill>
                            <a:prstClr val="black"/>
                          </a:solidFill>
                          <a:latin typeface="Cambria Math" panose="02040503050406030204" pitchFamily="18" charset="0"/>
                        </a:rPr>
                        <m:t>=</m:t>
                      </m:r>
                      <m:d>
                        <m:dPr>
                          <m:begChr m:val="{"/>
                          <m:endChr m:val="}"/>
                          <m:ctrlPr>
                            <a:rPr lang="en-US" altLang="zh-TW" sz="2800" i="1">
                              <a:solidFill>
                                <a:prstClr val="black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sSup>
                            <m:sSupPr>
                              <m:ctrlPr>
                                <a:rPr lang="en-US" altLang="zh-TW" sz="2800" i="1">
                                  <a:solidFill>
                                    <a:prstClr val="black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en-US" altLang="zh-TW" sz="2800" i="1">
                                  <a:solidFill>
                                    <a:prstClr val="black"/>
                                  </a:solidFill>
                                  <a:latin typeface="Cambria Math" panose="02040503050406030204" pitchFamily="18" charset="0"/>
                                </a:rPr>
                                <m:t>𝑊</m:t>
                              </m:r>
                            </m:e>
                            <m:sup>
                              <m:r>
                                <a:rPr lang="en-US" altLang="zh-TW" sz="2800" i="1">
                                  <a:solidFill>
                                    <a:prstClr val="black"/>
                                  </a:solidFill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p>
                          </m:sSup>
                          <m:r>
                            <a:rPr lang="en-US" altLang="zh-TW" sz="2800" i="1">
                              <a:solidFill>
                                <a:prstClr val="black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sSup>
                            <m:sSupPr>
                              <m:ctrlPr>
                                <a:rPr lang="en-US" altLang="zh-TW" sz="2800" i="1">
                                  <a:solidFill>
                                    <a:prstClr val="black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en-US" altLang="zh-TW" sz="2800" i="1">
                                  <a:solidFill>
                                    <a:prstClr val="black"/>
                                  </a:solidFill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</m:e>
                            <m:sup>
                              <m:r>
                                <a:rPr lang="en-US" altLang="zh-TW" sz="2800" i="1">
                                  <a:solidFill>
                                    <a:prstClr val="black"/>
                                  </a:solidFill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p>
                          </m:sSup>
                          <m:r>
                            <a:rPr lang="en-US" altLang="zh-TW" sz="2800" i="1">
                              <a:solidFill>
                                <a:prstClr val="black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sSup>
                            <m:sSupPr>
                              <m:ctrlPr>
                                <a:rPr lang="en-US" altLang="zh-TW" sz="2800" i="1">
                                  <a:solidFill>
                                    <a:prstClr val="black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en-US" altLang="zh-TW" sz="2800" i="1">
                                  <a:solidFill>
                                    <a:prstClr val="black"/>
                                  </a:solidFill>
                                  <a:latin typeface="Cambria Math" panose="02040503050406030204" pitchFamily="18" charset="0"/>
                                </a:rPr>
                                <m:t>𝑊</m:t>
                              </m:r>
                            </m:e>
                            <m:sup>
                              <m:r>
                                <a:rPr lang="en-US" altLang="zh-TW" sz="2800" i="1">
                                  <a:solidFill>
                                    <a:prstClr val="black"/>
                                  </a:solidFill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sup>
                          </m:sSup>
                          <m:r>
                            <a:rPr lang="en-US" altLang="zh-TW" sz="2800" i="1">
                              <a:solidFill>
                                <a:prstClr val="black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sSup>
                            <m:sSupPr>
                              <m:ctrlPr>
                                <a:rPr lang="en-US" altLang="zh-TW" sz="2800" i="1">
                                  <a:solidFill>
                                    <a:prstClr val="black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en-US" altLang="zh-TW" sz="2800" i="1">
                                  <a:solidFill>
                                    <a:prstClr val="black"/>
                                  </a:solidFill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</m:e>
                            <m:sup>
                              <m:r>
                                <a:rPr lang="en-US" altLang="zh-TW" sz="2800" i="1">
                                  <a:solidFill>
                                    <a:prstClr val="black"/>
                                  </a:solidFill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sup>
                          </m:sSup>
                          <m:r>
                            <a:rPr lang="en-US" altLang="zh-TW" sz="2800" i="1">
                              <a:solidFill>
                                <a:prstClr val="black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en-US" altLang="zh-TW" sz="2800" i="1">
                              <a:solidFill>
                                <a:prstClr val="black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⋯</m:t>
                          </m:r>
                          <m:sSup>
                            <m:sSupPr>
                              <m:ctrlPr>
                                <a:rPr lang="en-US" altLang="zh-TW" sz="2800" i="1">
                                  <a:solidFill>
                                    <a:prstClr val="black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en-US" altLang="zh-TW" sz="2800" i="1">
                                  <a:solidFill>
                                    <a:prstClr val="black"/>
                                  </a:solidFill>
                                  <a:latin typeface="Cambria Math" panose="02040503050406030204" pitchFamily="18" charset="0"/>
                                </a:rPr>
                                <m:t>𝑊</m:t>
                              </m:r>
                            </m:e>
                            <m:sup>
                              <m:r>
                                <a:rPr lang="en-US" altLang="zh-TW" sz="2800" i="1">
                                  <a:solidFill>
                                    <a:prstClr val="black"/>
                                  </a:solidFill>
                                  <a:latin typeface="Cambria Math" panose="02040503050406030204" pitchFamily="18" charset="0"/>
                                </a:rPr>
                                <m:t>𝐿</m:t>
                              </m:r>
                            </m:sup>
                          </m:sSup>
                          <m:r>
                            <a:rPr lang="en-US" altLang="zh-TW" sz="2800" i="1">
                              <a:solidFill>
                                <a:prstClr val="black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sSup>
                            <m:sSupPr>
                              <m:ctrlPr>
                                <a:rPr lang="en-US" altLang="zh-TW" sz="2800" i="1">
                                  <a:solidFill>
                                    <a:prstClr val="black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en-US" altLang="zh-TW" sz="2800" i="1">
                                  <a:solidFill>
                                    <a:prstClr val="black"/>
                                  </a:solidFill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</m:e>
                            <m:sup>
                              <m:r>
                                <a:rPr lang="en-US" altLang="zh-TW" sz="2800" i="1">
                                  <a:solidFill>
                                    <a:prstClr val="black"/>
                                  </a:solidFill>
                                  <a:latin typeface="Cambria Math" panose="02040503050406030204" pitchFamily="18" charset="0"/>
                                </a:rPr>
                                <m:t>𝐿</m:t>
                              </m:r>
                            </m:sup>
                          </m:sSup>
                        </m:e>
                      </m:d>
                    </m:oMath>
                  </m:oMathPara>
                </a14:m>
                <a:endParaRPr lang="zh-TW" altLang="en-US" sz="2800" dirty="0">
                  <a:solidFill>
                    <a:prstClr val="black"/>
                  </a:solidFill>
                  <a:latin typeface="Calibri"/>
                </a:endParaRPr>
              </a:p>
            </p:txBody>
          </p:sp>
        </mc:Choice>
        <mc:Fallback xmlns="">
          <p:sp>
            <p:nvSpPr>
              <p:cNvPr id="3" name="文字方塊 2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081028" y="1425674"/>
                <a:ext cx="4765151" cy="430887"/>
              </a:xfrm>
              <a:prstGeom prst="rect">
                <a:avLst/>
              </a:prstGeom>
              <a:blipFill rotWithShape="0">
                <a:blip r:embed="rId1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97798679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0" grpId="0"/>
      <p:bldP spid="141" grpId="0" animBg="1"/>
      <p:bldP spid="143" grpId="0"/>
      <p:bldP spid="144" grpId="0" animBg="1"/>
      <p:bldP spid="145" grpId="0"/>
      <p:bldP spid="146" grpId="0"/>
      <p:bldP spid="147" grpId="0" animBg="1"/>
      <p:bldP spid="152" grpId="0" animBg="1"/>
      <p:bldP spid="153" grpId="0" animBg="1"/>
      <p:bldP spid="3" grpId="0" animBg="1"/>
    </p:bldLst>
  </p:timing>
</p:sld>
</file>

<file path=ppt/slides/slide7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TW" dirty="0"/>
              <a:t>Training Data</a:t>
            </a:r>
            <a:endParaRPr lang="zh-TW" altLang="en-US" dirty="0"/>
          </a:p>
        </p:txBody>
      </p:sp>
      <p:sp>
        <p:nvSpPr>
          <p:cNvPr id="3" name="內容版面配置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altLang="zh-TW" dirty="0"/>
              <a:t>Preparing training data: images and their labels</a:t>
            </a:r>
          </a:p>
          <a:p>
            <a:endParaRPr lang="zh-TW" altLang="en-US" dirty="0"/>
          </a:p>
        </p:txBody>
      </p:sp>
      <p:sp>
        <p:nvSpPr>
          <p:cNvPr id="4" name="矩形 3"/>
          <p:cNvSpPr/>
          <p:nvPr/>
        </p:nvSpPr>
        <p:spPr>
          <a:xfrm>
            <a:off x="2047089" y="5414706"/>
            <a:ext cx="5049822" cy="905420"/>
          </a:xfrm>
          <a:prstGeom prst="rect">
            <a:avLst/>
          </a:prstGeom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altLang="zh-TW" sz="2800" dirty="0">
                <a:solidFill>
                  <a:prstClr val="white"/>
                </a:solidFill>
              </a:rPr>
              <a:t>Using the training data to find the network parameters.</a:t>
            </a:r>
            <a:endParaRPr lang="zh-TW" altLang="en-US" sz="2800" dirty="0">
              <a:solidFill>
                <a:prstClr val="white"/>
              </a:solidFill>
            </a:endParaRPr>
          </a:p>
        </p:txBody>
      </p:sp>
      <p:pic>
        <p:nvPicPr>
          <p:cNvPr id="5" name="圖片 4"/>
          <p:cNvPicPr preferRelativeResize="0">
            <a:picLocks/>
          </p:cNvPicPr>
          <p:nvPr/>
        </p:nvPicPr>
        <p:blipFill>
          <a:blip r:embed="rId2"/>
          <a:stretch>
            <a:fillRect/>
          </a:stretch>
        </p:blipFill>
        <p:spPr>
          <a:xfrm>
            <a:off x="1516094" y="2815203"/>
            <a:ext cx="720000" cy="720000"/>
          </a:xfrm>
          <a:prstGeom prst="rect">
            <a:avLst/>
          </a:prstGeom>
          <a:ln w="38100">
            <a:solidFill>
              <a:schemeClr val="tx1"/>
            </a:solidFill>
          </a:ln>
        </p:spPr>
      </p:pic>
      <p:pic>
        <p:nvPicPr>
          <p:cNvPr id="6" name="圖片 5"/>
          <p:cNvPicPr preferRelativeResize="0">
            <a:picLocks/>
          </p:cNvPicPr>
          <p:nvPr/>
        </p:nvPicPr>
        <p:blipFill>
          <a:blip r:embed="rId3"/>
          <a:stretch>
            <a:fillRect/>
          </a:stretch>
        </p:blipFill>
        <p:spPr>
          <a:xfrm>
            <a:off x="3140987" y="2815203"/>
            <a:ext cx="720000" cy="720000"/>
          </a:xfrm>
          <a:prstGeom prst="rect">
            <a:avLst/>
          </a:prstGeom>
          <a:ln w="38100">
            <a:solidFill>
              <a:schemeClr val="tx1"/>
            </a:solidFill>
          </a:ln>
        </p:spPr>
      </p:pic>
      <p:pic>
        <p:nvPicPr>
          <p:cNvPr id="7" name="圖片 6"/>
          <p:cNvPicPr preferRelativeResize="0">
            <a:picLocks/>
          </p:cNvPicPr>
          <p:nvPr/>
        </p:nvPicPr>
        <p:blipFill>
          <a:blip r:embed="rId4"/>
          <a:stretch>
            <a:fillRect/>
          </a:stretch>
        </p:blipFill>
        <p:spPr>
          <a:xfrm>
            <a:off x="4765880" y="2815203"/>
            <a:ext cx="720000" cy="720000"/>
          </a:xfrm>
          <a:prstGeom prst="rect">
            <a:avLst/>
          </a:prstGeom>
          <a:ln w="38100">
            <a:solidFill>
              <a:schemeClr val="tx1"/>
            </a:solidFill>
          </a:ln>
        </p:spPr>
      </p:pic>
      <p:pic>
        <p:nvPicPr>
          <p:cNvPr id="8" name="圖片 7"/>
          <p:cNvPicPr preferRelativeResize="0">
            <a:picLocks/>
          </p:cNvPicPr>
          <p:nvPr/>
        </p:nvPicPr>
        <p:blipFill>
          <a:blip r:embed="rId5"/>
          <a:stretch>
            <a:fillRect/>
          </a:stretch>
        </p:blipFill>
        <p:spPr>
          <a:xfrm>
            <a:off x="6390772" y="2815203"/>
            <a:ext cx="720000" cy="720000"/>
          </a:xfrm>
          <a:prstGeom prst="rect">
            <a:avLst/>
          </a:prstGeom>
          <a:ln w="38100">
            <a:solidFill>
              <a:schemeClr val="tx1"/>
            </a:solidFill>
          </a:ln>
        </p:spPr>
      </p:pic>
      <p:pic>
        <p:nvPicPr>
          <p:cNvPr id="9" name="圖片 8"/>
          <p:cNvPicPr preferRelativeResize="0">
            <a:picLocks/>
          </p:cNvPicPr>
          <p:nvPr/>
        </p:nvPicPr>
        <p:blipFill>
          <a:blip r:embed="rId6"/>
          <a:stretch>
            <a:fillRect/>
          </a:stretch>
        </p:blipFill>
        <p:spPr>
          <a:xfrm>
            <a:off x="1515051" y="4169063"/>
            <a:ext cx="720000" cy="720000"/>
          </a:xfrm>
          <a:prstGeom prst="rect">
            <a:avLst/>
          </a:prstGeom>
          <a:ln w="38100">
            <a:solidFill>
              <a:schemeClr val="tx1"/>
            </a:solidFill>
          </a:ln>
        </p:spPr>
      </p:pic>
      <p:pic>
        <p:nvPicPr>
          <p:cNvPr id="10" name="圖片 9"/>
          <p:cNvPicPr preferRelativeResize="0">
            <a:picLocks/>
          </p:cNvPicPr>
          <p:nvPr/>
        </p:nvPicPr>
        <p:blipFill>
          <a:blip r:embed="rId7"/>
          <a:stretch>
            <a:fillRect/>
          </a:stretch>
        </p:blipFill>
        <p:spPr>
          <a:xfrm>
            <a:off x="3140987" y="4169063"/>
            <a:ext cx="720000" cy="720000"/>
          </a:xfrm>
          <a:prstGeom prst="rect">
            <a:avLst/>
          </a:prstGeom>
          <a:ln w="38100">
            <a:solidFill>
              <a:schemeClr val="tx1"/>
            </a:solidFill>
          </a:ln>
        </p:spPr>
      </p:pic>
      <p:pic>
        <p:nvPicPr>
          <p:cNvPr id="11" name="圖片 10"/>
          <p:cNvPicPr preferRelativeResize="0">
            <a:picLocks/>
          </p:cNvPicPr>
          <p:nvPr/>
        </p:nvPicPr>
        <p:blipFill>
          <a:blip r:embed="rId8"/>
          <a:stretch>
            <a:fillRect/>
          </a:stretch>
        </p:blipFill>
        <p:spPr>
          <a:xfrm>
            <a:off x="4766923" y="4169063"/>
            <a:ext cx="720000" cy="720000"/>
          </a:xfrm>
          <a:prstGeom prst="rect">
            <a:avLst/>
          </a:prstGeom>
          <a:ln w="38100">
            <a:solidFill>
              <a:schemeClr val="tx1"/>
            </a:solidFill>
          </a:ln>
        </p:spPr>
      </p:pic>
      <p:pic>
        <p:nvPicPr>
          <p:cNvPr id="12" name="圖片 11"/>
          <p:cNvPicPr preferRelativeResize="0">
            <a:picLocks/>
          </p:cNvPicPr>
          <p:nvPr/>
        </p:nvPicPr>
        <p:blipFill>
          <a:blip r:embed="rId9"/>
          <a:stretch>
            <a:fillRect/>
          </a:stretch>
        </p:blipFill>
        <p:spPr>
          <a:xfrm>
            <a:off x="6392858" y="4169063"/>
            <a:ext cx="720000" cy="720000"/>
          </a:xfrm>
          <a:prstGeom prst="rect">
            <a:avLst/>
          </a:prstGeom>
          <a:ln w="38100">
            <a:solidFill>
              <a:schemeClr val="tx1"/>
            </a:solidFill>
          </a:ln>
        </p:spPr>
      </p:pic>
      <p:sp>
        <p:nvSpPr>
          <p:cNvPr id="13" name="文字方塊 12"/>
          <p:cNvSpPr txBox="1"/>
          <p:nvPr/>
        </p:nvSpPr>
        <p:spPr>
          <a:xfrm>
            <a:off x="2232965" y="2974693"/>
            <a:ext cx="65485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altLang="zh-TW" sz="2800" dirty="0">
                <a:solidFill>
                  <a:prstClr val="black"/>
                </a:solidFill>
                <a:latin typeface="Calibri"/>
              </a:rPr>
              <a:t>“5”</a:t>
            </a:r>
            <a:endParaRPr lang="zh-TW" altLang="en-US" sz="2800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4" name="文字方塊 13"/>
          <p:cNvSpPr txBox="1"/>
          <p:nvPr/>
        </p:nvSpPr>
        <p:spPr>
          <a:xfrm>
            <a:off x="3858901" y="2963143"/>
            <a:ext cx="65485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altLang="zh-TW" sz="2800" dirty="0">
                <a:solidFill>
                  <a:prstClr val="black"/>
                </a:solidFill>
                <a:latin typeface="Calibri"/>
              </a:rPr>
              <a:t>“0”</a:t>
            </a:r>
            <a:endParaRPr lang="zh-TW" altLang="en-US" sz="2800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5" name="文字方塊 14"/>
          <p:cNvSpPr txBox="1"/>
          <p:nvPr/>
        </p:nvSpPr>
        <p:spPr>
          <a:xfrm>
            <a:off x="5509359" y="2963143"/>
            <a:ext cx="65485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altLang="zh-TW" sz="2800" dirty="0">
                <a:solidFill>
                  <a:prstClr val="black"/>
                </a:solidFill>
                <a:latin typeface="Calibri"/>
              </a:rPr>
              <a:t>“4”</a:t>
            </a:r>
            <a:endParaRPr lang="zh-TW" altLang="en-US" sz="2800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6" name="文字方塊 15"/>
          <p:cNvSpPr txBox="1"/>
          <p:nvPr/>
        </p:nvSpPr>
        <p:spPr>
          <a:xfrm>
            <a:off x="7126536" y="2960615"/>
            <a:ext cx="65485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altLang="zh-TW" sz="2800" dirty="0">
                <a:solidFill>
                  <a:prstClr val="black"/>
                </a:solidFill>
                <a:latin typeface="Calibri"/>
              </a:rPr>
              <a:t>“1”</a:t>
            </a:r>
            <a:endParaRPr lang="zh-TW" altLang="en-US" sz="2800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7" name="文字方塊 16"/>
          <p:cNvSpPr txBox="1"/>
          <p:nvPr/>
        </p:nvSpPr>
        <p:spPr>
          <a:xfrm>
            <a:off x="7128622" y="4324036"/>
            <a:ext cx="65485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altLang="zh-TW" sz="2800" dirty="0">
                <a:solidFill>
                  <a:prstClr val="black"/>
                </a:solidFill>
                <a:latin typeface="Calibri"/>
              </a:rPr>
              <a:t>“3”</a:t>
            </a:r>
            <a:endParaRPr lang="zh-TW" altLang="en-US" sz="2800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8" name="文字方塊 17"/>
          <p:cNvSpPr txBox="1"/>
          <p:nvPr/>
        </p:nvSpPr>
        <p:spPr>
          <a:xfrm>
            <a:off x="5511445" y="4350478"/>
            <a:ext cx="65485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altLang="zh-TW" sz="2800" dirty="0">
                <a:solidFill>
                  <a:prstClr val="black"/>
                </a:solidFill>
                <a:latin typeface="Calibri"/>
              </a:rPr>
              <a:t>“1”</a:t>
            </a:r>
            <a:endParaRPr lang="zh-TW" altLang="en-US" sz="2800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9" name="文字方塊 18"/>
          <p:cNvSpPr txBox="1"/>
          <p:nvPr/>
        </p:nvSpPr>
        <p:spPr>
          <a:xfrm>
            <a:off x="3860987" y="4329092"/>
            <a:ext cx="65485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altLang="zh-TW" sz="2800" dirty="0">
                <a:solidFill>
                  <a:prstClr val="black"/>
                </a:solidFill>
                <a:latin typeface="Calibri"/>
              </a:rPr>
              <a:t>“2”</a:t>
            </a:r>
            <a:endParaRPr lang="zh-TW" altLang="en-US" sz="2800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20" name="文字方塊 19"/>
          <p:cNvSpPr txBox="1"/>
          <p:nvPr/>
        </p:nvSpPr>
        <p:spPr>
          <a:xfrm>
            <a:off x="2235051" y="4350478"/>
            <a:ext cx="65485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altLang="zh-TW" sz="2800" dirty="0">
                <a:solidFill>
                  <a:prstClr val="black"/>
                </a:solidFill>
                <a:latin typeface="Calibri"/>
              </a:rPr>
              <a:t>“9”</a:t>
            </a:r>
            <a:endParaRPr lang="zh-TW" altLang="en-US" sz="2800" dirty="0">
              <a:solidFill>
                <a:prstClr val="black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7371497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13" grpId="0"/>
      <p:bldP spid="14" grpId="0"/>
      <p:bldP spid="15" grpId="0"/>
      <p:bldP spid="16" grpId="0"/>
      <p:bldP spid="17" grpId="0"/>
      <p:bldP spid="18" grpId="0"/>
      <p:bldP spid="19" grpId="0"/>
      <p:bldP spid="20" grpId="0"/>
    </p:bldLst>
  </p:timing>
</p:sld>
</file>

<file path=ppt/slides/slide7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TW" dirty="0" smtClean="0"/>
              <a:t>Cost</a:t>
            </a:r>
            <a:endParaRPr lang="zh-TW" altLang="en-US" dirty="0"/>
          </a:p>
        </p:txBody>
      </p:sp>
      <p:sp>
        <p:nvSpPr>
          <p:cNvPr id="34" name="矩形 33"/>
          <p:cNvSpPr/>
          <p:nvPr/>
        </p:nvSpPr>
        <p:spPr>
          <a:xfrm>
            <a:off x="5960212" y="2617861"/>
            <a:ext cx="498951" cy="2625052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zh-TW" altLang="en-US" sz="1800">
              <a:solidFill>
                <a:prstClr val="black"/>
              </a:solidFill>
            </a:endParaRPr>
          </a:p>
        </p:txBody>
      </p:sp>
      <p:sp>
        <p:nvSpPr>
          <p:cNvPr id="35" name="矩形 34"/>
          <p:cNvSpPr/>
          <p:nvPr/>
        </p:nvSpPr>
        <p:spPr>
          <a:xfrm>
            <a:off x="2802940" y="2605600"/>
            <a:ext cx="746342" cy="2675868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zh-TW" altLang="en-US" sz="1800">
              <a:solidFill>
                <a:prstClr val="black"/>
              </a:solidFill>
            </a:endParaRPr>
          </a:p>
        </p:txBody>
      </p:sp>
      <p:sp>
        <p:nvSpPr>
          <p:cNvPr id="40" name="矩形 39"/>
          <p:cNvSpPr/>
          <p:nvPr/>
        </p:nvSpPr>
        <p:spPr>
          <a:xfrm>
            <a:off x="1619837" y="2633241"/>
            <a:ext cx="498951" cy="2625052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zh-TW" altLang="en-US" sz="1800">
              <a:solidFill>
                <a:prstClr val="black"/>
              </a:solidFill>
            </a:endParaRPr>
          </a:p>
        </p:txBody>
      </p:sp>
      <p:cxnSp>
        <p:nvCxnSpPr>
          <p:cNvPr id="43" name="直線單箭頭接點 42"/>
          <p:cNvCxnSpPr/>
          <p:nvPr/>
        </p:nvCxnSpPr>
        <p:spPr>
          <a:xfrm>
            <a:off x="5266492" y="3654020"/>
            <a:ext cx="634472" cy="0"/>
          </a:xfrm>
          <a:prstGeom prst="straightConnector1">
            <a:avLst/>
          </a:prstGeom>
          <a:ln w="254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直線單箭頭接點 43"/>
          <p:cNvCxnSpPr/>
          <p:nvPr/>
        </p:nvCxnSpPr>
        <p:spPr>
          <a:xfrm>
            <a:off x="5375808" y="4899910"/>
            <a:ext cx="525156" cy="0"/>
          </a:xfrm>
          <a:prstGeom prst="straightConnector1">
            <a:avLst/>
          </a:prstGeom>
          <a:ln w="254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直線單箭頭接點 44"/>
          <p:cNvCxnSpPr/>
          <p:nvPr/>
        </p:nvCxnSpPr>
        <p:spPr>
          <a:xfrm>
            <a:off x="5242608" y="2875217"/>
            <a:ext cx="658356" cy="0"/>
          </a:xfrm>
          <a:prstGeom prst="straightConnector1">
            <a:avLst/>
          </a:prstGeom>
          <a:ln w="254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矩形 45"/>
          <p:cNvSpPr/>
          <p:nvPr/>
        </p:nvSpPr>
        <p:spPr>
          <a:xfrm>
            <a:off x="1688225" y="3350934"/>
            <a:ext cx="342900" cy="342900"/>
          </a:xfrm>
          <a:prstGeom prst="rect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zh-TW" altLang="en-US" sz="1800">
              <a:solidFill>
                <a:prstClr val="black"/>
              </a:solidFill>
            </a:endParaRPr>
          </a:p>
        </p:txBody>
      </p:sp>
      <p:sp>
        <p:nvSpPr>
          <p:cNvPr id="47" name="矩形 46"/>
          <p:cNvSpPr/>
          <p:nvPr/>
        </p:nvSpPr>
        <p:spPr>
          <a:xfrm>
            <a:off x="1694043" y="2780605"/>
            <a:ext cx="342900" cy="342900"/>
          </a:xfrm>
          <a:prstGeom prst="rect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zh-TW" altLang="en-US" sz="1800">
              <a:solidFill>
                <a:prstClr val="black"/>
              </a:solidFill>
            </a:endParaRPr>
          </a:p>
        </p:txBody>
      </p:sp>
      <p:graphicFrame>
        <p:nvGraphicFramePr>
          <p:cNvPr id="49" name="Object 12"/>
          <p:cNvGraphicFramePr>
            <a:graphicFrameLocks noChangeAspect="1"/>
          </p:cNvGraphicFramePr>
          <p:nvPr>
            <p:extLst/>
          </p:nvPr>
        </p:nvGraphicFramePr>
        <p:xfrm>
          <a:off x="1706742" y="2685355"/>
          <a:ext cx="325438" cy="46196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6731" name="方程式" r:id="rId4" imgW="152280" imgH="215640" progId="Equation.3">
                  <p:embed/>
                </p:oleObj>
              </mc:Choice>
              <mc:Fallback>
                <p:oleObj name="方程式" r:id="rId4" imgW="152280" imgH="215640" progId="Equation.3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706742" y="2685355"/>
                        <a:ext cx="325438" cy="461962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52" name="Object 12"/>
          <p:cNvGraphicFramePr>
            <a:graphicFrameLocks noChangeAspect="1"/>
          </p:cNvGraphicFramePr>
          <p:nvPr>
            <p:extLst/>
          </p:nvPr>
        </p:nvGraphicFramePr>
        <p:xfrm>
          <a:off x="1712038" y="3268084"/>
          <a:ext cx="352425" cy="4619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6732" name="方程式" r:id="rId6" imgW="164880" imgH="215640" progId="Equation.3">
                  <p:embed/>
                </p:oleObj>
              </mc:Choice>
              <mc:Fallback>
                <p:oleObj name="方程式" r:id="rId6" imgW="164880" imgH="215640" progId="Equation.3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712038" y="3268084"/>
                        <a:ext cx="352425" cy="461963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3" name="橢圓 52"/>
          <p:cNvSpPr/>
          <p:nvPr/>
        </p:nvSpPr>
        <p:spPr>
          <a:xfrm>
            <a:off x="2900050" y="2616602"/>
            <a:ext cx="574158" cy="574158"/>
          </a:xfrm>
          <a:prstGeom prst="ellipse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zh-TW" altLang="en-US" sz="1800">
              <a:solidFill>
                <a:prstClr val="black"/>
              </a:solidFill>
            </a:endParaRPr>
          </a:p>
        </p:txBody>
      </p:sp>
      <p:sp>
        <p:nvSpPr>
          <p:cNvPr id="54" name="橢圓 53"/>
          <p:cNvSpPr/>
          <p:nvPr/>
        </p:nvSpPr>
        <p:spPr>
          <a:xfrm>
            <a:off x="2902392" y="3395172"/>
            <a:ext cx="574158" cy="574158"/>
          </a:xfrm>
          <a:prstGeom prst="ellipse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zh-TW" altLang="en-US" sz="1800">
              <a:solidFill>
                <a:prstClr val="black"/>
              </a:solidFill>
            </a:endParaRPr>
          </a:p>
        </p:txBody>
      </p:sp>
      <p:sp>
        <p:nvSpPr>
          <p:cNvPr id="55" name="橢圓 54"/>
          <p:cNvSpPr/>
          <p:nvPr/>
        </p:nvSpPr>
        <p:spPr>
          <a:xfrm>
            <a:off x="2890759" y="4623184"/>
            <a:ext cx="574158" cy="574158"/>
          </a:xfrm>
          <a:prstGeom prst="ellipse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zh-TW" altLang="en-US" sz="1800">
              <a:solidFill>
                <a:prstClr val="black"/>
              </a:solidFill>
            </a:endParaRPr>
          </a:p>
        </p:txBody>
      </p:sp>
      <p:sp>
        <p:nvSpPr>
          <p:cNvPr id="56" name="文字方塊 55"/>
          <p:cNvSpPr txBox="1"/>
          <p:nvPr/>
        </p:nvSpPr>
        <p:spPr>
          <a:xfrm rot="5400000">
            <a:off x="2888012" y="4045477"/>
            <a:ext cx="76925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altLang="zh-TW" sz="2800" dirty="0">
                <a:solidFill>
                  <a:prstClr val="black"/>
                </a:solidFill>
                <a:latin typeface="Calibri"/>
              </a:rPr>
              <a:t>……</a:t>
            </a:r>
            <a:endParaRPr lang="zh-TW" altLang="en-US" sz="2800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59" name="矩形 58"/>
          <p:cNvSpPr/>
          <p:nvPr/>
        </p:nvSpPr>
        <p:spPr>
          <a:xfrm>
            <a:off x="1697750" y="4748691"/>
            <a:ext cx="342900" cy="342900"/>
          </a:xfrm>
          <a:prstGeom prst="rect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zh-TW" altLang="en-US" sz="1800">
              <a:solidFill>
                <a:prstClr val="black"/>
              </a:solidFill>
            </a:endParaRPr>
          </a:p>
        </p:txBody>
      </p:sp>
      <p:graphicFrame>
        <p:nvGraphicFramePr>
          <p:cNvPr id="62" name="Object 12"/>
          <p:cNvGraphicFramePr>
            <a:graphicFrameLocks noChangeAspect="1"/>
          </p:cNvGraphicFramePr>
          <p:nvPr>
            <p:extLst/>
          </p:nvPr>
        </p:nvGraphicFramePr>
        <p:xfrm>
          <a:off x="1625827" y="4651924"/>
          <a:ext cx="544512" cy="4889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6733" name="方程式" r:id="rId8" imgW="253800" imgH="228600" progId="Equation.3">
                  <p:embed/>
                </p:oleObj>
              </mc:Choice>
              <mc:Fallback>
                <p:oleObj name="方程式" r:id="rId8" imgW="253800" imgH="228600" progId="Equation.3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25827" y="4651924"/>
                        <a:ext cx="544512" cy="4889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3" name="文字方塊 62"/>
          <p:cNvSpPr txBox="1"/>
          <p:nvPr/>
        </p:nvSpPr>
        <p:spPr>
          <a:xfrm rot="5400000">
            <a:off x="1573682" y="4033633"/>
            <a:ext cx="76925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altLang="zh-TW" sz="2800" dirty="0">
                <a:solidFill>
                  <a:prstClr val="black"/>
                </a:solidFill>
                <a:latin typeface="Calibri"/>
              </a:rPr>
              <a:t>……</a:t>
            </a:r>
            <a:endParaRPr lang="zh-TW" altLang="en-US" sz="2800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72" name="文字方塊 71"/>
          <p:cNvSpPr txBox="1"/>
          <p:nvPr/>
        </p:nvSpPr>
        <p:spPr>
          <a:xfrm>
            <a:off x="4127257" y="2558018"/>
            <a:ext cx="76925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altLang="zh-TW" sz="2800" dirty="0">
                <a:solidFill>
                  <a:prstClr val="black"/>
                </a:solidFill>
                <a:latin typeface="Calibri"/>
              </a:rPr>
              <a:t>……</a:t>
            </a:r>
            <a:endParaRPr lang="zh-TW" altLang="en-US" sz="2800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73" name="文字方塊 72"/>
          <p:cNvSpPr txBox="1"/>
          <p:nvPr/>
        </p:nvSpPr>
        <p:spPr>
          <a:xfrm>
            <a:off x="4144880" y="3343517"/>
            <a:ext cx="76925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altLang="zh-TW" sz="2800" dirty="0">
                <a:solidFill>
                  <a:prstClr val="black"/>
                </a:solidFill>
                <a:latin typeface="Calibri"/>
              </a:rPr>
              <a:t>……</a:t>
            </a:r>
            <a:endParaRPr lang="zh-TW" altLang="en-US" sz="2800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74" name="文字方塊 73"/>
          <p:cNvSpPr txBox="1"/>
          <p:nvPr/>
        </p:nvSpPr>
        <p:spPr>
          <a:xfrm>
            <a:off x="4157060" y="4599809"/>
            <a:ext cx="76925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altLang="zh-TW" sz="2800" dirty="0">
                <a:solidFill>
                  <a:prstClr val="black"/>
                </a:solidFill>
                <a:latin typeface="Calibri"/>
              </a:rPr>
              <a:t>……</a:t>
            </a:r>
            <a:endParaRPr lang="zh-TW" altLang="en-US" sz="2800" dirty="0">
              <a:solidFill>
                <a:prstClr val="black"/>
              </a:solidFill>
              <a:latin typeface="Calibri"/>
            </a:endParaRPr>
          </a:p>
        </p:txBody>
      </p:sp>
      <p:cxnSp>
        <p:nvCxnSpPr>
          <p:cNvPr id="75" name="直線單箭頭接點 74"/>
          <p:cNvCxnSpPr>
            <a:stCxn id="53" idx="6"/>
          </p:cNvCxnSpPr>
          <p:nvPr/>
        </p:nvCxnSpPr>
        <p:spPr>
          <a:xfrm>
            <a:off x="3474208" y="2903681"/>
            <a:ext cx="741404" cy="0"/>
          </a:xfrm>
          <a:prstGeom prst="straightConnector1">
            <a:avLst/>
          </a:prstGeom>
          <a:ln w="254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直線單箭頭接點 75"/>
          <p:cNvCxnSpPr/>
          <p:nvPr/>
        </p:nvCxnSpPr>
        <p:spPr>
          <a:xfrm>
            <a:off x="3474208" y="3695433"/>
            <a:ext cx="741404" cy="0"/>
          </a:xfrm>
          <a:prstGeom prst="straightConnector1">
            <a:avLst/>
          </a:prstGeom>
          <a:ln w="254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直線單箭頭接點 76"/>
          <p:cNvCxnSpPr/>
          <p:nvPr/>
        </p:nvCxnSpPr>
        <p:spPr>
          <a:xfrm>
            <a:off x="3464917" y="4917402"/>
            <a:ext cx="741404" cy="0"/>
          </a:xfrm>
          <a:prstGeom prst="straightConnector1">
            <a:avLst/>
          </a:prstGeom>
          <a:ln w="254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8" name="直線單箭頭接點 77"/>
          <p:cNvCxnSpPr>
            <a:stCxn id="54" idx="6"/>
          </p:cNvCxnSpPr>
          <p:nvPr/>
        </p:nvCxnSpPr>
        <p:spPr>
          <a:xfrm flipV="1">
            <a:off x="3476550" y="2903681"/>
            <a:ext cx="739062" cy="778570"/>
          </a:xfrm>
          <a:prstGeom prst="straightConnector1">
            <a:avLst/>
          </a:prstGeom>
          <a:ln w="254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" name="直線單箭頭接點 78"/>
          <p:cNvCxnSpPr>
            <a:stCxn id="53" idx="6"/>
          </p:cNvCxnSpPr>
          <p:nvPr/>
        </p:nvCxnSpPr>
        <p:spPr>
          <a:xfrm>
            <a:off x="3474208" y="2903681"/>
            <a:ext cx="743746" cy="778570"/>
          </a:xfrm>
          <a:prstGeom prst="straightConnector1">
            <a:avLst/>
          </a:prstGeom>
          <a:ln w="254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0" name="直線單箭頭接點 79"/>
          <p:cNvCxnSpPr>
            <a:stCxn id="53" idx="6"/>
          </p:cNvCxnSpPr>
          <p:nvPr/>
        </p:nvCxnSpPr>
        <p:spPr>
          <a:xfrm>
            <a:off x="3474208" y="2903681"/>
            <a:ext cx="732113" cy="2006582"/>
          </a:xfrm>
          <a:prstGeom prst="straightConnector1">
            <a:avLst/>
          </a:prstGeom>
          <a:ln w="254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1" name="直線單箭頭接點 80"/>
          <p:cNvCxnSpPr>
            <a:stCxn id="54" idx="6"/>
          </p:cNvCxnSpPr>
          <p:nvPr/>
        </p:nvCxnSpPr>
        <p:spPr>
          <a:xfrm>
            <a:off x="3476550" y="3682251"/>
            <a:ext cx="729771" cy="1228012"/>
          </a:xfrm>
          <a:prstGeom prst="straightConnector1">
            <a:avLst/>
          </a:prstGeom>
          <a:ln w="254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" name="直線單箭頭接點 81"/>
          <p:cNvCxnSpPr>
            <a:stCxn id="55" idx="6"/>
          </p:cNvCxnSpPr>
          <p:nvPr/>
        </p:nvCxnSpPr>
        <p:spPr>
          <a:xfrm flipV="1">
            <a:off x="3464917" y="2903681"/>
            <a:ext cx="750695" cy="2006582"/>
          </a:xfrm>
          <a:prstGeom prst="straightConnector1">
            <a:avLst/>
          </a:prstGeom>
          <a:ln w="254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" name="直線單箭頭接點 82"/>
          <p:cNvCxnSpPr>
            <a:stCxn id="55" idx="6"/>
          </p:cNvCxnSpPr>
          <p:nvPr/>
        </p:nvCxnSpPr>
        <p:spPr>
          <a:xfrm flipV="1">
            <a:off x="3464917" y="3682251"/>
            <a:ext cx="753037" cy="1228012"/>
          </a:xfrm>
          <a:prstGeom prst="straightConnector1">
            <a:avLst/>
          </a:prstGeom>
          <a:ln w="254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4" name="直線單箭頭接點 83"/>
          <p:cNvCxnSpPr>
            <a:endCxn id="53" idx="2"/>
          </p:cNvCxnSpPr>
          <p:nvPr/>
        </p:nvCxnSpPr>
        <p:spPr>
          <a:xfrm flipV="1">
            <a:off x="2040650" y="2903681"/>
            <a:ext cx="859400" cy="29993"/>
          </a:xfrm>
          <a:prstGeom prst="straightConnector1">
            <a:avLst/>
          </a:prstGeom>
          <a:ln w="254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" name="直線單箭頭接點 84"/>
          <p:cNvCxnSpPr>
            <a:stCxn id="47" idx="3"/>
            <a:endCxn id="54" idx="2"/>
          </p:cNvCxnSpPr>
          <p:nvPr/>
        </p:nvCxnSpPr>
        <p:spPr>
          <a:xfrm>
            <a:off x="2036943" y="2952055"/>
            <a:ext cx="865449" cy="730196"/>
          </a:xfrm>
          <a:prstGeom prst="straightConnector1">
            <a:avLst/>
          </a:prstGeom>
          <a:ln w="254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6" name="直線單箭頭接點 85"/>
          <p:cNvCxnSpPr>
            <a:stCxn id="47" idx="3"/>
            <a:endCxn id="55" idx="2"/>
          </p:cNvCxnSpPr>
          <p:nvPr/>
        </p:nvCxnSpPr>
        <p:spPr>
          <a:xfrm>
            <a:off x="2036943" y="2952055"/>
            <a:ext cx="853816" cy="1958208"/>
          </a:xfrm>
          <a:prstGeom prst="straightConnector1">
            <a:avLst/>
          </a:prstGeom>
          <a:ln w="254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7" name="直線單箭頭接點 86"/>
          <p:cNvCxnSpPr>
            <a:stCxn id="52" idx="3"/>
            <a:endCxn id="53" idx="2"/>
          </p:cNvCxnSpPr>
          <p:nvPr/>
        </p:nvCxnSpPr>
        <p:spPr>
          <a:xfrm flipV="1">
            <a:off x="2064463" y="2903681"/>
            <a:ext cx="835587" cy="595384"/>
          </a:xfrm>
          <a:prstGeom prst="straightConnector1">
            <a:avLst/>
          </a:prstGeom>
          <a:ln w="254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直線單箭頭接點 87"/>
          <p:cNvCxnSpPr>
            <a:stCxn id="46" idx="3"/>
            <a:endCxn id="54" idx="2"/>
          </p:cNvCxnSpPr>
          <p:nvPr/>
        </p:nvCxnSpPr>
        <p:spPr>
          <a:xfrm>
            <a:off x="2031125" y="3522384"/>
            <a:ext cx="871267" cy="159867"/>
          </a:xfrm>
          <a:prstGeom prst="straightConnector1">
            <a:avLst/>
          </a:prstGeom>
          <a:ln w="254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9" name="直線單箭頭接點 88"/>
          <p:cNvCxnSpPr>
            <a:stCxn id="46" idx="3"/>
            <a:endCxn id="55" idx="2"/>
          </p:cNvCxnSpPr>
          <p:nvPr/>
        </p:nvCxnSpPr>
        <p:spPr>
          <a:xfrm>
            <a:off x="2031125" y="3522384"/>
            <a:ext cx="859634" cy="1387879"/>
          </a:xfrm>
          <a:prstGeom prst="straightConnector1">
            <a:avLst/>
          </a:prstGeom>
          <a:ln w="254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0" name="直線單箭頭接點 89"/>
          <p:cNvCxnSpPr>
            <a:stCxn id="62" idx="3"/>
            <a:endCxn id="53" idx="2"/>
          </p:cNvCxnSpPr>
          <p:nvPr/>
        </p:nvCxnSpPr>
        <p:spPr>
          <a:xfrm flipV="1">
            <a:off x="2102622" y="2903681"/>
            <a:ext cx="797428" cy="1993231"/>
          </a:xfrm>
          <a:prstGeom prst="straightConnector1">
            <a:avLst/>
          </a:prstGeom>
          <a:ln w="254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1" name="直線單箭頭接點 90"/>
          <p:cNvCxnSpPr>
            <a:stCxn id="62" idx="3"/>
            <a:endCxn id="54" idx="2"/>
          </p:cNvCxnSpPr>
          <p:nvPr/>
        </p:nvCxnSpPr>
        <p:spPr>
          <a:xfrm flipV="1">
            <a:off x="2076253" y="3682251"/>
            <a:ext cx="826139" cy="1214606"/>
          </a:xfrm>
          <a:prstGeom prst="straightConnector1">
            <a:avLst/>
          </a:prstGeom>
          <a:ln w="254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2" name="直線單箭頭接點 91"/>
          <p:cNvCxnSpPr>
            <a:stCxn id="62" idx="3"/>
            <a:endCxn id="55" idx="2"/>
          </p:cNvCxnSpPr>
          <p:nvPr/>
        </p:nvCxnSpPr>
        <p:spPr>
          <a:xfrm>
            <a:off x="2076253" y="4896857"/>
            <a:ext cx="814506" cy="13406"/>
          </a:xfrm>
          <a:prstGeom prst="straightConnector1">
            <a:avLst/>
          </a:prstGeom>
          <a:ln w="254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3" name="文字方塊 92"/>
          <p:cNvSpPr txBox="1"/>
          <p:nvPr/>
        </p:nvSpPr>
        <p:spPr>
          <a:xfrm rot="5400000">
            <a:off x="5902402" y="4118857"/>
            <a:ext cx="76925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altLang="zh-TW" sz="2800" dirty="0">
                <a:solidFill>
                  <a:prstClr val="black"/>
                </a:solidFill>
                <a:latin typeface="Calibri"/>
              </a:rPr>
              <a:t>……</a:t>
            </a:r>
            <a:endParaRPr lang="zh-TW" altLang="en-US" sz="2800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94" name="文字方塊 93"/>
          <p:cNvSpPr txBox="1"/>
          <p:nvPr/>
        </p:nvSpPr>
        <p:spPr>
          <a:xfrm>
            <a:off x="5971495" y="2600036"/>
            <a:ext cx="63106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altLang="zh-TW" sz="2800" dirty="0">
                <a:solidFill>
                  <a:prstClr val="black"/>
                </a:solidFill>
                <a:latin typeface="Calibri"/>
              </a:rPr>
              <a:t>y</a:t>
            </a:r>
            <a:r>
              <a:rPr lang="en-US" altLang="zh-TW" sz="2800" baseline="-25000" dirty="0">
                <a:solidFill>
                  <a:prstClr val="black"/>
                </a:solidFill>
                <a:latin typeface="Calibri"/>
              </a:rPr>
              <a:t>1</a:t>
            </a:r>
            <a:endParaRPr lang="zh-TW" altLang="en-US" sz="2800" baseline="-25000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95" name="文字方塊 94"/>
          <p:cNvSpPr txBox="1"/>
          <p:nvPr/>
        </p:nvSpPr>
        <p:spPr>
          <a:xfrm>
            <a:off x="5992593" y="3408345"/>
            <a:ext cx="63106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altLang="zh-TW" sz="2800" dirty="0">
                <a:solidFill>
                  <a:prstClr val="black"/>
                </a:solidFill>
                <a:latin typeface="Calibri"/>
              </a:rPr>
              <a:t>y</a:t>
            </a:r>
            <a:r>
              <a:rPr lang="en-US" altLang="zh-TW" sz="2800" baseline="-25000" dirty="0">
                <a:solidFill>
                  <a:prstClr val="black"/>
                </a:solidFill>
                <a:latin typeface="Calibri"/>
              </a:rPr>
              <a:t>2</a:t>
            </a:r>
            <a:endParaRPr lang="zh-TW" altLang="en-US" sz="2800" baseline="-25000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96" name="文字方塊 95"/>
          <p:cNvSpPr txBox="1"/>
          <p:nvPr/>
        </p:nvSpPr>
        <p:spPr>
          <a:xfrm>
            <a:off x="5960212" y="4664488"/>
            <a:ext cx="63106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altLang="zh-TW" sz="2800" dirty="0">
                <a:solidFill>
                  <a:prstClr val="black"/>
                </a:solidFill>
                <a:latin typeface="Calibri"/>
              </a:rPr>
              <a:t>y</a:t>
            </a:r>
            <a:r>
              <a:rPr lang="en-US" altLang="zh-TW" sz="2800" baseline="-25000" dirty="0">
                <a:solidFill>
                  <a:prstClr val="black"/>
                </a:solidFill>
                <a:latin typeface="Calibri"/>
              </a:rPr>
              <a:t>10</a:t>
            </a:r>
            <a:endParaRPr lang="zh-TW" altLang="en-US" sz="2800" baseline="-25000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9" name="文字方塊 8"/>
          <p:cNvSpPr txBox="1"/>
          <p:nvPr/>
        </p:nvSpPr>
        <p:spPr>
          <a:xfrm>
            <a:off x="3222534" y="3680278"/>
            <a:ext cx="65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endParaRPr lang="zh-TW" altLang="en-US" sz="1800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71" name="文字方塊 70"/>
          <p:cNvSpPr txBox="1"/>
          <p:nvPr/>
        </p:nvSpPr>
        <p:spPr>
          <a:xfrm>
            <a:off x="6841544" y="3934728"/>
            <a:ext cx="1014273" cy="523220"/>
          </a:xfrm>
          <a:prstGeom prst="rect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altLang="zh-TW" sz="2800" dirty="0">
                <a:solidFill>
                  <a:prstClr val="white"/>
                </a:solidFill>
              </a:rPr>
              <a:t>Cost </a:t>
            </a:r>
          </a:p>
        </p:txBody>
      </p:sp>
      <p:sp>
        <p:nvSpPr>
          <p:cNvPr id="97" name="矩形 96"/>
          <p:cNvSpPr/>
          <p:nvPr/>
        </p:nvSpPr>
        <p:spPr>
          <a:xfrm>
            <a:off x="5964640" y="2675422"/>
            <a:ext cx="619787" cy="432058"/>
          </a:xfrm>
          <a:prstGeom prst="rect">
            <a:avLst/>
          </a:prstGeom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altLang="zh-TW" sz="2400" dirty="0">
                <a:solidFill>
                  <a:prstClr val="white"/>
                </a:solidFill>
              </a:rPr>
              <a:t>0.2</a:t>
            </a:r>
            <a:endParaRPr lang="zh-TW" altLang="en-US" sz="2400" dirty="0">
              <a:solidFill>
                <a:prstClr val="white"/>
              </a:solidFill>
            </a:endParaRPr>
          </a:p>
        </p:txBody>
      </p:sp>
      <p:sp>
        <p:nvSpPr>
          <p:cNvPr id="100" name="矩形 99"/>
          <p:cNvSpPr/>
          <p:nvPr/>
        </p:nvSpPr>
        <p:spPr>
          <a:xfrm>
            <a:off x="5964641" y="3461006"/>
            <a:ext cx="619787" cy="432058"/>
          </a:xfrm>
          <a:prstGeom prst="rect">
            <a:avLst/>
          </a:prstGeom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altLang="zh-TW" sz="2400" dirty="0">
                <a:solidFill>
                  <a:prstClr val="white"/>
                </a:solidFill>
              </a:rPr>
              <a:t>0.3</a:t>
            </a:r>
            <a:endParaRPr lang="zh-TW" altLang="en-US" sz="2400" dirty="0">
              <a:solidFill>
                <a:prstClr val="white"/>
              </a:solidFill>
            </a:endParaRPr>
          </a:p>
        </p:txBody>
      </p:sp>
      <p:sp>
        <p:nvSpPr>
          <p:cNvPr id="101" name="矩形 100"/>
          <p:cNvSpPr/>
          <p:nvPr/>
        </p:nvSpPr>
        <p:spPr>
          <a:xfrm>
            <a:off x="5960212" y="4701373"/>
            <a:ext cx="690317" cy="432058"/>
          </a:xfrm>
          <a:prstGeom prst="rect">
            <a:avLst/>
          </a:prstGeom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altLang="zh-TW" sz="2400" dirty="0">
                <a:solidFill>
                  <a:prstClr val="white"/>
                </a:solidFill>
              </a:rPr>
              <a:t>0.5</a:t>
            </a:r>
            <a:endParaRPr lang="zh-TW" altLang="en-US" sz="2400" dirty="0">
              <a:solidFill>
                <a:prstClr val="white"/>
              </a:solidFill>
            </a:endParaRPr>
          </a:p>
        </p:txBody>
      </p:sp>
      <p:pic>
        <p:nvPicPr>
          <p:cNvPr id="102" name="圖片 101"/>
          <p:cNvPicPr preferRelativeResize="0">
            <a:picLocks/>
          </p:cNvPicPr>
          <p:nvPr/>
        </p:nvPicPr>
        <p:blipFill>
          <a:blip r:embed="rId10"/>
          <a:stretch>
            <a:fillRect/>
          </a:stretch>
        </p:blipFill>
        <p:spPr>
          <a:xfrm>
            <a:off x="3875875" y="1658335"/>
            <a:ext cx="720000" cy="720000"/>
          </a:xfrm>
          <a:prstGeom prst="rect">
            <a:avLst/>
          </a:prstGeom>
          <a:ln w="38100">
            <a:solidFill>
              <a:schemeClr val="tx1"/>
            </a:solidFill>
          </a:ln>
        </p:spPr>
      </p:pic>
      <p:sp>
        <p:nvSpPr>
          <p:cNvPr id="103" name="文字方塊 102"/>
          <p:cNvSpPr txBox="1"/>
          <p:nvPr/>
        </p:nvSpPr>
        <p:spPr>
          <a:xfrm>
            <a:off x="4678601" y="1747396"/>
            <a:ext cx="65485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altLang="zh-TW" sz="2800" dirty="0">
                <a:solidFill>
                  <a:prstClr val="black"/>
                </a:solidFill>
                <a:latin typeface="Calibri"/>
              </a:rPr>
              <a:t>“1”</a:t>
            </a:r>
            <a:endParaRPr lang="zh-TW" altLang="en-US" sz="2800" dirty="0">
              <a:solidFill>
                <a:prstClr val="black"/>
              </a:solidFill>
              <a:latin typeface="Calibri"/>
            </a:endParaRPr>
          </a:p>
        </p:txBody>
      </p:sp>
      <p:pic>
        <p:nvPicPr>
          <p:cNvPr id="108" name="圖片 107"/>
          <p:cNvPicPr preferRelativeResize="0">
            <a:picLocks/>
          </p:cNvPicPr>
          <p:nvPr/>
        </p:nvPicPr>
        <p:blipFill>
          <a:blip r:embed="rId10"/>
          <a:stretch>
            <a:fillRect/>
          </a:stretch>
        </p:blipFill>
        <p:spPr>
          <a:xfrm>
            <a:off x="602038" y="3609330"/>
            <a:ext cx="720000" cy="720000"/>
          </a:xfrm>
          <a:prstGeom prst="rect">
            <a:avLst/>
          </a:prstGeom>
          <a:ln w="38100">
            <a:solidFill>
              <a:schemeClr val="tx1"/>
            </a:solidFill>
          </a:ln>
        </p:spPr>
      </p:pic>
      <p:grpSp>
        <p:nvGrpSpPr>
          <p:cNvPr id="4" name="群組 10"/>
          <p:cNvGrpSpPr/>
          <p:nvPr/>
        </p:nvGrpSpPr>
        <p:grpSpPr>
          <a:xfrm>
            <a:off x="7996358" y="2633241"/>
            <a:ext cx="654489" cy="2625052"/>
            <a:chOff x="7996358" y="2461791"/>
            <a:chExt cx="654489" cy="2625052"/>
          </a:xfrm>
        </p:grpSpPr>
        <p:sp>
          <p:nvSpPr>
            <p:cNvPr id="110" name="矩形 109"/>
            <p:cNvSpPr/>
            <p:nvPr/>
          </p:nvSpPr>
          <p:spPr>
            <a:xfrm>
              <a:off x="8062418" y="2461791"/>
              <a:ext cx="498951" cy="2625052"/>
            </a:xfrm>
            <a:prstGeom prst="rect">
              <a:avLst/>
            </a:prstGeom>
            <a:ln/>
          </p:spPr>
          <p:style>
            <a:lnRef idx="1">
              <a:schemeClr val="accent2"/>
            </a:lnRef>
            <a:fillRef idx="2">
              <a:schemeClr val="accent2"/>
            </a:fillRef>
            <a:effectRef idx="1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zh-TW" altLang="en-US" sz="1800">
                <a:solidFill>
                  <a:prstClr val="black"/>
                </a:solidFill>
              </a:endParaRPr>
            </a:p>
          </p:txBody>
        </p:sp>
        <p:sp>
          <p:nvSpPr>
            <p:cNvPr id="111" name="文字方塊 110"/>
            <p:cNvSpPr txBox="1"/>
            <p:nvPr/>
          </p:nvSpPr>
          <p:spPr>
            <a:xfrm rot="5400000">
              <a:off x="8004608" y="3948039"/>
              <a:ext cx="769257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</a:pPr>
              <a:r>
                <a:rPr lang="en-US" altLang="zh-TW" sz="2800" dirty="0">
                  <a:solidFill>
                    <a:prstClr val="black"/>
                  </a:solidFill>
                  <a:latin typeface="Calibri"/>
                </a:rPr>
                <a:t>……</a:t>
              </a:r>
              <a:endParaRPr lang="zh-TW" altLang="en-US" sz="2800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112" name="文字方塊 111"/>
            <p:cNvSpPr txBox="1"/>
            <p:nvPr/>
          </p:nvSpPr>
          <p:spPr>
            <a:xfrm>
              <a:off x="7996358" y="2508931"/>
              <a:ext cx="631069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</a:pPr>
              <a:r>
                <a:rPr lang="en-US" altLang="zh-TW" sz="2800" dirty="0">
                  <a:solidFill>
                    <a:prstClr val="black"/>
                  </a:solidFill>
                  <a:latin typeface="Calibri"/>
                </a:rPr>
                <a:t>1</a:t>
              </a:r>
              <a:endParaRPr lang="zh-TW" altLang="en-US" sz="2800" baseline="-25000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113" name="文字方塊 112"/>
            <p:cNvSpPr txBox="1"/>
            <p:nvPr/>
          </p:nvSpPr>
          <p:spPr>
            <a:xfrm>
              <a:off x="8005216" y="3269035"/>
              <a:ext cx="631069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</a:pPr>
              <a:r>
                <a:rPr lang="en-US" altLang="zh-TW" sz="2800" dirty="0">
                  <a:solidFill>
                    <a:prstClr val="black"/>
                  </a:solidFill>
                  <a:latin typeface="Calibri"/>
                </a:rPr>
                <a:t>0</a:t>
              </a:r>
              <a:endParaRPr lang="zh-TW" altLang="en-US" sz="2800" baseline="-25000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114" name="文字方塊 113"/>
            <p:cNvSpPr txBox="1"/>
            <p:nvPr/>
          </p:nvSpPr>
          <p:spPr>
            <a:xfrm>
              <a:off x="7996358" y="4489333"/>
              <a:ext cx="631069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</a:pPr>
              <a:r>
                <a:rPr lang="en-US" altLang="zh-TW" sz="2800" dirty="0">
                  <a:solidFill>
                    <a:prstClr val="black"/>
                  </a:solidFill>
                  <a:latin typeface="Calibri"/>
                </a:rPr>
                <a:t>0</a:t>
              </a:r>
              <a:endParaRPr lang="zh-TW" altLang="en-US" sz="2800" baseline="-25000" dirty="0">
                <a:solidFill>
                  <a:prstClr val="black"/>
                </a:solidFill>
                <a:latin typeface="Calibri"/>
              </a:endParaRPr>
            </a:p>
          </p:txBody>
        </p:sp>
      </p:grpSp>
      <p:sp>
        <p:nvSpPr>
          <p:cNvPr id="115" name="左-右雙向箭號 114"/>
          <p:cNvSpPr/>
          <p:nvPr/>
        </p:nvSpPr>
        <p:spPr>
          <a:xfrm>
            <a:off x="6737204" y="3516864"/>
            <a:ext cx="1187596" cy="334875"/>
          </a:xfrm>
          <a:prstGeom prst="leftRightArrow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zh-TW" altLang="en-US" sz="1800">
              <a:solidFill>
                <a:prstClr val="white"/>
              </a:solidFill>
            </a:endParaRPr>
          </a:p>
        </p:txBody>
      </p:sp>
      <p:cxnSp>
        <p:nvCxnSpPr>
          <p:cNvPr id="15" name="直線接點 14"/>
          <p:cNvCxnSpPr/>
          <p:nvPr/>
        </p:nvCxnSpPr>
        <p:spPr>
          <a:xfrm flipH="1">
            <a:off x="972457" y="1985736"/>
            <a:ext cx="2728686" cy="0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6" name="直線接點 115"/>
          <p:cNvCxnSpPr/>
          <p:nvPr/>
        </p:nvCxnSpPr>
        <p:spPr>
          <a:xfrm flipH="1">
            <a:off x="5333454" y="2009006"/>
            <a:ext cx="2987296" cy="0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直線單箭頭接點 17"/>
          <p:cNvCxnSpPr/>
          <p:nvPr/>
        </p:nvCxnSpPr>
        <p:spPr>
          <a:xfrm>
            <a:off x="962038" y="2018335"/>
            <a:ext cx="0" cy="1480730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直線單箭頭接點 117"/>
          <p:cNvCxnSpPr/>
          <p:nvPr/>
        </p:nvCxnSpPr>
        <p:spPr>
          <a:xfrm>
            <a:off x="8320750" y="2018335"/>
            <a:ext cx="0" cy="581701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8" name="矩形 97"/>
          <p:cNvSpPr/>
          <p:nvPr/>
        </p:nvSpPr>
        <p:spPr>
          <a:xfrm>
            <a:off x="4801564" y="2616028"/>
            <a:ext cx="746342" cy="2675868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zh-TW" altLang="en-US" sz="1800">
              <a:solidFill>
                <a:prstClr val="black"/>
              </a:solidFill>
            </a:endParaRPr>
          </a:p>
        </p:txBody>
      </p:sp>
      <p:sp>
        <p:nvSpPr>
          <p:cNvPr id="99" name="橢圓 98"/>
          <p:cNvSpPr/>
          <p:nvPr/>
        </p:nvSpPr>
        <p:spPr>
          <a:xfrm>
            <a:off x="4877408" y="2607922"/>
            <a:ext cx="574158" cy="574158"/>
          </a:xfrm>
          <a:prstGeom prst="ellipse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zh-TW" altLang="en-US" sz="1800">
              <a:solidFill>
                <a:prstClr val="black"/>
              </a:solidFill>
            </a:endParaRPr>
          </a:p>
        </p:txBody>
      </p:sp>
      <p:sp>
        <p:nvSpPr>
          <p:cNvPr id="104" name="橢圓 103"/>
          <p:cNvSpPr/>
          <p:nvPr/>
        </p:nvSpPr>
        <p:spPr>
          <a:xfrm>
            <a:off x="4879750" y="3367831"/>
            <a:ext cx="574158" cy="574158"/>
          </a:xfrm>
          <a:prstGeom prst="ellipse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zh-TW" altLang="en-US" sz="1800">
              <a:solidFill>
                <a:prstClr val="black"/>
              </a:solidFill>
            </a:endParaRPr>
          </a:p>
        </p:txBody>
      </p:sp>
      <p:sp>
        <p:nvSpPr>
          <p:cNvPr id="105" name="橢圓 104"/>
          <p:cNvSpPr/>
          <p:nvPr/>
        </p:nvSpPr>
        <p:spPr>
          <a:xfrm>
            <a:off x="4886778" y="4614504"/>
            <a:ext cx="574158" cy="574158"/>
          </a:xfrm>
          <a:prstGeom prst="ellipse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zh-TW" altLang="en-US" sz="1800">
              <a:solidFill>
                <a:prstClr val="black"/>
              </a:solidFill>
            </a:endParaRPr>
          </a:p>
        </p:txBody>
      </p:sp>
      <p:sp>
        <p:nvSpPr>
          <p:cNvPr id="106" name="文字方塊 105"/>
          <p:cNvSpPr txBox="1"/>
          <p:nvPr/>
        </p:nvSpPr>
        <p:spPr>
          <a:xfrm rot="5400000">
            <a:off x="4884031" y="4033634"/>
            <a:ext cx="76925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altLang="zh-TW" sz="2800" dirty="0">
                <a:solidFill>
                  <a:prstClr val="black"/>
                </a:solidFill>
                <a:latin typeface="Calibri"/>
              </a:rPr>
              <a:t>……</a:t>
            </a:r>
            <a:endParaRPr lang="zh-TW" altLang="en-US" sz="2800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17" name="文字方塊 116"/>
          <p:cNvSpPr txBox="1"/>
          <p:nvPr/>
        </p:nvSpPr>
        <p:spPr>
          <a:xfrm>
            <a:off x="614215" y="5626040"/>
            <a:ext cx="6754090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altLang="zh-TW" sz="2800" dirty="0">
                <a:solidFill>
                  <a:prstClr val="black"/>
                </a:solidFill>
                <a:latin typeface="Calibri"/>
              </a:rPr>
              <a:t>Cost can be Euclidean distance or cross entropy of the network output and target </a:t>
            </a:r>
            <a:endParaRPr lang="zh-TW" altLang="en-US" sz="2800" dirty="0">
              <a:solidFill>
                <a:prstClr val="black"/>
              </a:solidFill>
              <a:latin typeface="Calibri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19" name="文字方塊 118"/>
              <p:cNvSpPr txBox="1"/>
              <p:nvPr/>
            </p:nvSpPr>
            <p:spPr>
              <a:xfrm>
                <a:off x="2589854" y="521897"/>
                <a:ext cx="6097064" cy="95410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altLang="zh-TW" sz="2800" dirty="0">
                    <a:solidFill>
                      <a:prstClr val="black"/>
                    </a:solidFill>
                    <a:latin typeface="Calibri"/>
                  </a:rPr>
                  <a:t>Given a set of network parameters </a:t>
                </a:r>
                <a14:m>
                  <m:oMath xmlns:m="http://schemas.openxmlformats.org/officeDocument/2006/math">
                    <m:r>
                      <a:rPr lang="zh-TW" altLang="en-US" sz="2800" i="1">
                        <a:solidFill>
                          <a:prstClr val="black"/>
                        </a:solidFill>
                        <a:latin typeface="Cambria Math" panose="02040503050406030204" pitchFamily="18" charset="0"/>
                      </a:rPr>
                      <m:t>𝜃</m:t>
                    </m:r>
                  </m:oMath>
                </a14:m>
                <a:r>
                  <a:rPr lang="en-US" altLang="zh-TW" sz="2800" dirty="0">
                    <a:solidFill>
                      <a:prstClr val="black"/>
                    </a:solidFill>
                    <a:latin typeface="Calibri"/>
                  </a:rPr>
                  <a:t>, each example has a cost value. </a:t>
                </a:r>
                <a:endParaRPr lang="zh-TW" altLang="en-US" sz="2800" dirty="0">
                  <a:solidFill>
                    <a:prstClr val="black"/>
                  </a:solidFill>
                  <a:latin typeface="Calibri"/>
                </a:endParaRPr>
              </a:p>
            </p:txBody>
          </p:sp>
        </mc:Choice>
        <mc:Fallback xmlns="">
          <p:sp>
            <p:nvSpPr>
              <p:cNvPr id="119" name="文字方塊 118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589854" y="521897"/>
                <a:ext cx="6097064" cy="954107"/>
              </a:xfrm>
              <a:prstGeom prst="rect">
                <a:avLst/>
              </a:prstGeom>
              <a:blipFill rotWithShape="0">
                <a:blip r:embed="rId11"/>
                <a:stretch>
                  <a:fillRect l="-2100" t="-6410" b="-17949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3" name="矩形 2"/>
          <p:cNvSpPr/>
          <p:nvPr/>
        </p:nvSpPr>
        <p:spPr>
          <a:xfrm>
            <a:off x="7817449" y="5341282"/>
            <a:ext cx="930639" cy="461665"/>
          </a:xfrm>
          <a:prstGeom prst="rect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wrap="none"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altLang="zh-TW" sz="2400" dirty="0">
                <a:solidFill>
                  <a:prstClr val="white"/>
                </a:solidFill>
              </a:rPr>
              <a:t>target</a:t>
            </a:r>
            <a:endParaRPr lang="zh-TW" altLang="en-US" sz="2400" dirty="0">
              <a:solidFill>
                <a:prstClr val="white"/>
              </a:solidFill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7" name="文字方塊 6"/>
              <p:cNvSpPr txBox="1"/>
              <p:nvPr/>
            </p:nvSpPr>
            <p:spPr>
              <a:xfrm>
                <a:off x="6937189" y="4559415"/>
                <a:ext cx="790537" cy="430887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altLang="zh-TW" sz="2800" i="1">
                          <a:solidFill>
                            <a:prstClr val="black"/>
                          </a:solidFill>
                          <a:latin typeface="Cambria Math" panose="02040503050406030204" pitchFamily="18" charset="0"/>
                        </a:rPr>
                        <m:t>𝐿</m:t>
                      </m:r>
                      <m:r>
                        <a:rPr lang="en-US" altLang="zh-TW" sz="2800" i="1">
                          <a:solidFill>
                            <a:prstClr val="black"/>
                          </a:solidFill>
                          <a:latin typeface="Cambria Math" panose="02040503050406030204" pitchFamily="18" charset="0"/>
                        </a:rPr>
                        <m:t>(</m:t>
                      </m:r>
                      <m:r>
                        <a:rPr lang="zh-TW" altLang="en-US" sz="2800" i="1">
                          <a:solidFill>
                            <a:prstClr val="black"/>
                          </a:solidFill>
                          <a:latin typeface="Cambria Math" panose="02040503050406030204" pitchFamily="18" charset="0"/>
                        </a:rPr>
                        <m:t>𝜃</m:t>
                      </m:r>
                      <m:r>
                        <a:rPr lang="en-US" altLang="zh-TW" sz="2800" i="1">
                          <a:solidFill>
                            <a:prstClr val="black"/>
                          </a:solidFill>
                          <a:latin typeface="Cambria Math" panose="02040503050406030204" pitchFamily="18" charset="0"/>
                        </a:rPr>
                        <m:t>)</m:t>
                      </m:r>
                    </m:oMath>
                  </m:oMathPara>
                </a14:m>
                <a:endParaRPr lang="zh-TW" altLang="en-US" sz="2800" dirty="0">
                  <a:solidFill>
                    <a:prstClr val="black"/>
                  </a:solidFill>
                  <a:latin typeface="Calibri"/>
                </a:endParaRPr>
              </a:p>
            </p:txBody>
          </p:sp>
        </mc:Choice>
        <mc:Fallback xmlns="">
          <p:sp>
            <p:nvSpPr>
              <p:cNvPr id="7" name="文字方塊 6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937189" y="4559415"/>
                <a:ext cx="790537" cy="430887"/>
              </a:xfrm>
              <a:prstGeom prst="rect">
                <a:avLst/>
              </a:prstGeom>
              <a:blipFill rotWithShape="0">
                <a:blip r:embed="rId12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168738986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1" grpId="0" animBg="1"/>
      <p:bldP spid="97" grpId="0" animBg="1"/>
      <p:bldP spid="100" grpId="0" animBg="1"/>
      <p:bldP spid="101" grpId="0" animBg="1"/>
      <p:bldP spid="103" grpId="0"/>
      <p:bldP spid="115" grpId="0" animBg="1"/>
      <p:bldP spid="117" grpId="0"/>
      <p:bldP spid="119" grpId="0" animBg="1"/>
      <p:bldP spid="3" grpId="0" animBg="1"/>
      <p:bldP spid="7" grpId="0" animBg="1"/>
    </p:bldLst>
  </p:timing>
</p:sld>
</file>

<file path=ppt/slides/slide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TW" dirty="0" smtClean="0"/>
              <a:t>Total Cost</a:t>
            </a:r>
            <a:endParaRPr lang="zh-TW" altLang="en-US" dirty="0"/>
          </a:p>
        </p:txBody>
      </p:sp>
      <p:grpSp>
        <p:nvGrpSpPr>
          <p:cNvPr id="3" name="群組 17"/>
          <p:cNvGrpSpPr/>
          <p:nvPr/>
        </p:nvGrpSpPr>
        <p:grpSpPr>
          <a:xfrm>
            <a:off x="1727768" y="2298174"/>
            <a:ext cx="421911" cy="671513"/>
            <a:chOff x="510563" y="3417283"/>
            <a:chExt cx="421911" cy="671513"/>
          </a:xfrm>
        </p:grpSpPr>
        <p:sp>
          <p:nvSpPr>
            <p:cNvPr id="19" name="矩形 18"/>
            <p:cNvSpPr/>
            <p:nvPr/>
          </p:nvSpPr>
          <p:spPr>
            <a:xfrm>
              <a:off x="557212" y="3417283"/>
              <a:ext cx="271463" cy="671513"/>
            </a:xfrm>
            <a:prstGeom prst="rect">
              <a:avLst/>
            </a:prstGeom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zh-TW" altLang="en-US" sz="2400" baseline="30000" dirty="0">
                <a:solidFill>
                  <a:prstClr val="black"/>
                </a:solidFill>
              </a:endParaRPr>
            </a:p>
          </p:txBody>
        </p:sp>
        <p:sp>
          <p:nvSpPr>
            <p:cNvPr id="20" name="矩形 19"/>
            <p:cNvSpPr/>
            <p:nvPr/>
          </p:nvSpPr>
          <p:spPr>
            <a:xfrm>
              <a:off x="510563" y="3522206"/>
              <a:ext cx="421911" cy="461665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</a:pPr>
              <a:r>
                <a:rPr lang="en-US" altLang="zh-TW" sz="2400" dirty="0">
                  <a:solidFill>
                    <a:prstClr val="black"/>
                  </a:solidFill>
                  <a:latin typeface="Calibri"/>
                </a:rPr>
                <a:t>x</a:t>
              </a:r>
              <a:r>
                <a:rPr lang="en-US" altLang="zh-TW" sz="2400" baseline="30000" dirty="0">
                  <a:solidFill>
                    <a:prstClr val="black"/>
                  </a:solidFill>
                  <a:latin typeface="Calibri"/>
                </a:rPr>
                <a:t>1</a:t>
              </a:r>
              <a:endParaRPr lang="zh-TW" altLang="en-US" sz="2400" baseline="30000" dirty="0">
                <a:solidFill>
                  <a:prstClr val="black"/>
                </a:solidFill>
                <a:latin typeface="Calibri"/>
              </a:endParaRPr>
            </a:p>
          </p:txBody>
        </p:sp>
      </p:grpSp>
      <p:grpSp>
        <p:nvGrpSpPr>
          <p:cNvPr id="4" name="群組 20"/>
          <p:cNvGrpSpPr/>
          <p:nvPr/>
        </p:nvGrpSpPr>
        <p:grpSpPr>
          <a:xfrm>
            <a:off x="1727768" y="3245279"/>
            <a:ext cx="421910" cy="671513"/>
            <a:chOff x="510564" y="3417283"/>
            <a:chExt cx="421910" cy="671513"/>
          </a:xfrm>
        </p:grpSpPr>
        <p:sp>
          <p:nvSpPr>
            <p:cNvPr id="22" name="矩形 21"/>
            <p:cNvSpPr/>
            <p:nvPr/>
          </p:nvSpPr>
          <p:spPr>
            <a:xfrm>
              <a:off x="557212" y="3417283"/>
              <a:ext cx="271463" cy="671513"/>
            </a:xfrm>
            <a:prstGeom prst="rect">
              <a:avLst/>
            </a:prstGeom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zh-TW" altLang="en-US" sz="2400" baseline="30000" dirty="0">
                <a:solidFill>
                  <a:prstClr val="black"/>
                </a:solidFill>
              </a:endParaRPr>
            </a:p>
          </p:txBody>
        </p:sp>
        <p:sp>
          <p:nvSpPr>
            <p:cNvPr id="23" name="矩形 22"/>
            <p:cNvSpPr/>
            <p:nvPr/>
          </p:nvSpPr>
          <p:spPr>
            <a:xfrm>
              <a:off x="510564" y="3522206"/>
              <a:ext cx="421910" cy="461665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</a:pPr>
              <a:r>
                <a:rPr lang="en-US" altLang="zh-TW" sz="2400" dirty="0">
                  <a:solidFill>
                    <a:prstClr val="black"/>
                  </a:solidFill>
                  <a:latin typeface="Calibri"/>
                </a:rPr>
                <a:t>x</a:t>
              </a:r>
              <a:r>
                <a:rPr lang="en-US" altLang="zh-TW" sz="2400" baseline="30000" dirty="0">
                  <a:solidFill>
                    <a:prstClr val="black"/>
                  </a:solidFill>
                  <a:latin typeface="Calibri"/>
                </a:rPr>
                <a:t>2</a:t>
              </a:r>
              <a:endParaRPr lang="zh-TW" altLang="en-US" sz="2400" baseline="30000" dirty="0">
                <a:solidFill>
                  <a:prstClr val="black"/>
                </a:solidFill>
                <a:latin typeface="Calibri"/>
              </a:endParaRPr>
            </a:p>
          </p:txBody>
        </p:sp>
      </p:grpSp>
      <p:grpSp>
        <p:nvGrpSpPr>
          <p:cNvPr id="5" name="群組 23"/>
          <p:cNvGrpSpPr/>
          <p:nvPr/>
        </p:nvGrpSpPr>
        <p:grpSpPr>
          <a:xfrm>
            <a:off x="1723759" y="5606623"/>
            <a:ext cx="429926" cy="671513"/>
            <a:chOff x="506555" y="3417283"/>
            <a:chExt cx="429926" cy="671513"/>
          </a:xfrm>
        </p:grpSpPr>
        <p:sp>
          <p:nvSpPr>
            <p:cNvPr id="25" name="矩形 24"/>
            <p:cNvSpPr/>
            <p:nvPr/>
          </p:nvSpPr>
          <p:spPr>
            <a:xfrm>
              <a:off x="557212" y="3417283"/>
              <a:ext cx="271463" cy="671513"/>
            </a:xfrm>
            <a:prstGeom prst="rect">
              <a:avLst/>
            </a:prstGeom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zh-TW" altLang="en-US" sz="2400" baseline="30000" dirty="0">
                <a:solidFill>
                  <a:prstClr val="black"/>
                </a:solidFill>
              </a:endParaRPr>
            </a:p>
          </p:txBody>
        </p:sp>
        <p:sp>
          <p:nvSpPr>
            <p:cNvPr id="26" name="矩形 25"/>
            <p:cNvSpPr/>
            <p:nvPr/>
          </p:nvSpPr>
          <p:spPr>
            <a:xfrm>
              <a:off x="506555" y="3522206"/>
              <a:ext cx="429926" cy="461665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</a:pPr>
              <a:r>
                <a:rPr lang="en-US" altLang="zh-TW" sz="2400" dirty="0" err="1">
                  <a:solidFill>
                    <a:prstClr val="black"/>
                  </a:solidFill>
                  <a:latin typeface="Calibri"/>
                </a:rPr>
                <a:t>x</a:t>
              </a:r>
              <a:r>
                <a:rPr lang="en-US" altLang="zh-TW" sz="2400" baseline="30000" dirty="0" err="1">
                  <a:solidFill>
                    <a:prstClr val="black"/>
                  </a:solidFill>
                  <a:latin typeface="Calibri"/>
                </a:rPr>
                <a:t>R</a:t>
              </a:r>
              <a:endParaRPr lang="zh-TW" altLang="en-US" sz="2400" baseline="30000" dirty="0">
                <a:solidFill>
                  <a:prstClr val="black"/>
                </a:solidFill>
                <a:latin typeface="Calibri"/>
              </a:endParaRPr>
            </a:p>
          </p:txBody>
        </p:sp>
      </p:grpSp>
      <p:sp>
        <p:nvSpPr>
          <p:cNvPr id="27" name="矩形 26"/>
          <p:cNvSpPr/>
          <p:nvPr/>
        </p:nvSpPr>
        <p:spPr>
          <a:xfrm>
            <a:off x="2527693" y="2300745"/>
            <a:ext cx="965905" cy="683158"/>
          </a:xfrm>
          <a:prstGeom prst="rect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altLang="zh-TW" sz="2400" dirty="0">
                <a:solidFill>
                  <a:prstClr val="black"/>
                </a:solidFill>
              </a:rPr>
              <a:t>NN</a:t>
            </a:r>
            <a:endParaRPr lang="zh-TW" altLang="en-US" sz="2400" dirty="0">
              <a:solidFill>
                <a:prstClr val="black"/>
              </a:solidFill>
            </a:endParaRPr>
          </a:p>
        </p:txBody>
      </p:sp>
      <p:sp>
        <p:nvSpPr>
          <p:cNvPr id="28" name="矩形 27"/>
          <p:cNvSpPr/>
          <p:nvPr/>
        </p:nvSpPr>
        <p:spPr>
          <a:xfrm>
            <a:off x="2527693" y="3239455"/>
            <a:ext cx="965905" cy="683158"/>
          </a:xfrm>
          <a:prstGeom prst="rect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altLang="zh-TW" sz="2400" dirty="0">
                <a:solidFill>
                  <a:prstClr val="black"/>
                </a:solidFill>
              </a:rPr>
              <a:t>NN</a:t>
            </a:r>
            <a:endParaRPr lang="zh-TW" altLang="en-US" sz="2400" dirty="0">
              <a:solidFill>
                <a:prstClr val="black"/>
              </a:solidFill>
            </a:endParaRPr>
          </a:p>
        </p:txBody>
      </p:sp>
      <p:sp>
        <p:nvSpPr>
          <p:cNvPr id="29" name="矩形 28"/>
          <p:cNvSpPr/>
          <p:nvPr/>
        </p:nvSpPr>
        <p:spPr>
          <a:xfrm>
            <a:off x="2527693" y="5594978"/>
            <a:ext cx="965905" cy="683158"/>
          </a:xfrm>
          <a:prstGeom prst="rect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altLang="zh-TW" sz="2400" dirty="0">
                <a:solidFill>
                  <a:prstClr val="black"/>
                </a:solidFill>
              </a:rPr>
              <a:t>NN</a:t>
            </a:r>
            <a:endParaRPr lang="zh-TW" altLang="en-US" sz="2400" dirty="0">
              <a:solidFill>
                <a:prstClr val="black"/>
              </a:solidFill>
            </a:endParaRPr>
          </a:p>
        </p:txBody>
      </p:sp>
      <p:sp>
        <p:nvSpPr>
          <p:cNvPr id="30" name="文字方塊 29"/>
          <p:cNvSpPr txBox="1"/>
          <p:nvPr/>
        </p:nvSpPr>
        <p:spPr>
          <a:xfrm rot="5400000">
            <a:off x="1585319" y="4930674"/>
            <a:ext cx="82867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altLang="zh-TW" sz="2800" dirty="0">
                <a:solidFill>
                  <a:prstClr val="black"/>
                </a:solidFill>
                <a:latin typeface="Calibri"/>
              </a:rPr>
              <a:t>……</a:t>
            </a:r>
            <a:endParaRPr lang="zh-TW" altLang="en-US" sz="2800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31" name="文字方塊 30"/>
          <p:cNvSpPr txBox="1"/>
          <p:nvPr/>
        </p:nvSpPr>
        <p:spPr>
          <a:xfrm rot="5400000">
            <a:off x="2658584" y="4919031"/>
            <a:ext cx="82867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altLang="zh-TW" sz="2800" dirty="0">
                <a:solidFill>
                  <a:prstClr val="black"/>
                </a:solidFill>
                <a:latin typeface="Calibri"/>
              </a:rPr>
              <a:t>……</a:t>
            </a:r>
            <a:endParaRPr lang="zh-TW" altLang="en-US" sz="2800" dirty="0">
              <a:solidFill>
                <a:prstClr val="black"/>
              </a:solidFill>
              <a:latin typeface="Calibri"/>
            </a:endParaRPr>
          </a:p>
        </p:txBody>
      </p:sp>
      <p:cxnSp>
        <p:nvCxnSpPr>
          <p:cNvPr id="32" name="直線單箭頭接點 31"/>
          <p:cNvCxnSpPr/>
          <p:nvPr/>
        </p:nvCxnSpPr>
        <p:spPr>
          <a:xfrm flipV="1">
            <a:off x="2096310" y="2633929"/>
            <a:ext cx="417095" cy="0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直線單箭頭接點 32"/>
          <p:cNvCxnSpPr/>
          <p:nvPr/>
        </p:nvCxnSpPr>
        <p:spPr>
          <a:xfrm flipV="1">
            <a:off x="2093349" y="3581034"/>
            <a:ext cx="417095" cy="0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直線單箭頭接點 33"/>
          <p:cNvCxnSpPr/>
          <p:nvPr/>
        </p:nvCxnSpPr>
        <p:spPr>
          <a:xfrm flipV="1">
            <a:off x="2093348" y="5936557"/>
            <a:ext cx="417095" cy="0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直線單箭頭接點 34"/>
          <p:cNvCxnSpPr/>
          <p:nvPr/>
        </p:nvCxnSpPr>
        <p:spPr>
          <a:xfrm flipV="1">
            <a:off x="3496559" y="2628722"/>
            <a:ext cx="417095" cy="0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直線單箭頭接點 35"/>
          <p:cNvCxnSpPr/>
          <p:nvPr/>
        </p:nvCxnSpPr>
        <p:spPr>
          <a:xfrm flipV="1">
            <a:off x="3493598" y="3575827"/>
            <a:ext cx="417095" cy="0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直線單箭頭接點 36"/>
          <p:cNvCxnSpPr/>
          <p:nvPr/>
        </p:nvCxnSpPr>
        <p:spPr>
          <a:xfrm flipV="1">
            <a:off x="3493597" y="5931350"/>
            <a:ext cx="417095" cy="0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8" name="群組 37"/>
          <p:cNvGrpSpPr/>
          <p:nvPr/>
        </p:nvGrpSpPr>
        <p:grpSpPr>
          <a:xfrm>
            <a:off x="3895074" y="2298174"/>
            <a:ext cx="428323" cy="671513"/>
            <a:chOff x="507357" y="3417283"/>
            <a:chExt cx="428323" cy="671513"/>
          </a:xfrm>
        </p:grpSpPr>
        <p:sp>
          <p:nvSpPr>
            <p:cNvPr id="39" name="矩形 38"/>
            <p:cNvSpPr/>
            <p:nvPr/>
          </p:nvSpPr>
          <p:spPr>
            <a:xfrm>
              <a:off x="557212" y="3417283"/>
              <a:ext cx="271463" cy="671513"/>
            </a:xfrm>
            <a:prstGeom prst="rect">
              <a:avLst/>
            </a:prstGeom>
          </p:spPr>
          <p:style>
            <a:lnRef idx="1">
              <a:schemeClr val="accent4"/>
            </a:lnRef>
            <a:fillRef idx="2">
              <a:schemeClr val="accent4"/>
            </a:fillRef>
            <a:effectRef idx="1">
              <a:schemeClr val="accent4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zh-TW" altLang="en-US" sz="2400" baseline="30000" dirty="0">
                <a:solidFill>
                  <a:prstClr val="black"/>
                </a:solidFill>
              </a:endParaRPr>
            </a:p>
          </p:txBody>
        </p:sp>
        <p:sp>
          <p:nvSpPr>
            <p:cNvPr id="40" name="矩形 39"/>
            <p:cNvSpPr/>
            <p:nvPr/>
          </p:nvSpPr>
          <p:spPr>
            <a:xfrm>
              <a:off x="507357" y="3522206"/>
              <a:ext cx="428323" cy="461665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</a:pPr>
              <a:r>
                <a:rPr lang="en-US" altLang="zh-TW" sz="2400" dirty="0">
                  <a:solidFill>
                    <a:prstClr val="black"/>
                  </a:solidFill>
                  <a:latin typeface="Calibri"/>
                </a:rPr>
                <a:t>y</a:t>
              </a:r>
              <a:r>
                <a:rPr lang="en-US" altLang="zh-TW" sz="2400" baseline="30000" dirty="0">
                  <a:solidFill>
                    <a:prstClr val="black"/>
                  </a:solidFill>
                  <a:latin typeface="Calibri"/>
                </a:rPr>
                <a:t>1</a:t>
              </a:r>
              <a:endParaRPr lang="zh-TW" altLang="en-US" sz="2400" baseline="30000" dirty="0">
                <a:solidFill>
                  <a:prstClr val="black"/>
                </a:solidFill>
                <a:latin typeface="Calibri"/>
              </a:endParaRPr>
            </a:p>
          </p:txBody>
        </p:sp>
      </p:grpSp>
      <p:grpSp>
        <p:nvGrpSpPr>
          <p:cNvPr id="9" name="群組 40"/>
          <p:cNvGrpSpPr/>
          <p:nvPr/>
        </p:nvGrpSpPr>
        <p:grpSpPr>
          <a:xfrm>
            <a:off x="3895074" y="3245279"/>
            <a:ext cx="428323" cy="671513"/>
            <a:chOff x="507358" y="3417283"/>
            <a:chExt cx="428323" cy="671513"/>
          </a:xfrm>
        </p:grpSpPr>
        <p:sp>
          <p:nvSpPr>
            <p:cNvPr id="42" name="矩形 41"/>
            <p:cNvSpPr/>
            <p:nvPr/>
          </p:nvSpPr>
          <p:spPr>
            <a:xfrm>
              <a:off x="557212" y="3417283"/>
              <a:ext cx="271463" cy="671513"/>
            </a:xfrm>
            <a:prstGeom prst="rect">
              <a:avLst/>
            </a:prstGeom>
          </p:spPr>
          <p:style>
            <a:lnRef idx="1">
              <a:schemeClr val="accent4"/>
            </a:lnRef>
            <a:fillRef idx="2">
              <a:schemeClr val="accent4"/>
            </a:fillRef>
            <a:effectRef idx="1">
              <a:schemeClr val="accent4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zh-TW" altLang="en-US" sz="2400" baseline="30000" dirty="0">
                <a:solidFill>
                  <a:prstClr val="black"/>
                </a:solidFill>
              </a:endParaRPr>
            </a:p>
          </p:txBody>
        </p:sp>
        <p:sp>
          <p:nvSpPr>
            <p:cNvPr id="43" name="矩形 42"/>
            <p:cNvSpPr/>
            <p:nvPr/>
          </p:nvSpPr>
          <p:spPr>
            <a:xfrm>
              <a:off x="507358" y="3522206"/>
              <a:ext cx="428323" cy="461665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</a:pPr>
              <a:r>
                <a:rPr lang="en-US" altLang="zh-TW" sz="2400" dirty="0">
                  <a:solidFill>
                    <a:prstClr val="black"/>
                  </a:solidFill>
                  <a:latin typeface="Calibri"/>
                </a:rPr>
                <a:t>y</a:t>
              </a:r>
              <a:r>
                <a:rPr lang="en-US" altLang="zh-TW" sz="2400" baseline="30000" dirty="0">
                  <a:solidFill>
                    <a:prstClr val="black"/>
                  </a:solidFill>
                  <a:latin typeface="Calibri"/>
                </a:rPr>
                <a:t>2</a:t>
              </a:r>
              <a:endParaRPr lang="zh-TW" altLang="en-US" sz="2400" baseline="30000" dirty="0">
                <a:solidFill>
                  <a:prstClr val="black"/>
                </a:solidFill>
                <a:latin typeface="Calibri"/>
              </a:endParaRPr>
            </a:p>
          </p:txBody>
        </p:sp>
      </p:grpSp>
      <p:grpSp>
        <p:nvGrpSpPr>
          <p:cNvPr id="10" name="群組 43"/>
          <p:cNvGrpSpPr/>
          <p:nvPr/>
        </p:nvGrpSpPr>
        <p:grpSpPr>
          <a:xfrm>
            <a:off x="3891065" y="5606623"/>
            <a:ext cx="436338" cy="671513"/>
            <a:chOff x="503349" y="3417283"/>
            <a:chExt cx="436338" cy="671513"/>
          </a:xfrm>
        </p:grpSpPr>
        <p:sp>
          <p:nvSpPr>
            <p:cNvPr id="45" name="矩形 44"/>
            <p:cNvSpPr/>
            <p:nvPr/>
          </p:nvSpPr>
          <p:spPr>
            <a:xfrm>
              <a:off x="557212" y="3417283"/>
              <a:ext cx="271463" cy="671513"/>
            </a:xfrm>
            <a:prstGeom prst="rect">
              <a:avLst/>
            </a:prstGeom>
          </p:spPr>
          <p:style>
            <a:lnRef idx="1">
              <a:schemeClr val="accent4"/>
            </a:lnRef>
            <a:fillRef idx="2">
              <a:schemeClr val="accent4"/>
            </a:fillRef>
            <a:effectRef idx="1">
              <a:schemeClr val="accent4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zh-TW" altLang="en-US" sz="2400" baseline="30000" dirty="0">
                <a:solidFill>
                  <a:prstClr val="black"/>
                </a:solidFill>
              </a:endParaRPr>
            </a:p>
          </p:txBody>
        </p:sp>
        <p:sp>
          <p:nvSpPr>
            <p:cNvPr id="46" name="矩形 45"/>
            <p:cNvSpPr/>
            <p:nvPr/>
          </p:nvSpPr>
          <p:spPr>
            <a:xfrm>
              <a:off x="503349" y="3522206"/>
              <a:ext cx="436338" cy="461665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</a:pPr>
              <a:r>
                <a:rPr lang="en-US" altLang="zh-TW" sz="2400" dirty="0" err="1">
                  <a:solidFill>
                    <a:prstClr val="black"/>
                  </a:solidFill>
                  <a:latin typeface="Calibri"/>
                </a:rPr>
                <a:t>y</a:t>
              </a:r>
              <a:r>
                <a:rPr lang="en-US" altLang="zh-TW" sz="2400" baseline="30000" dirty="0" err="1">
                  <a:solidFill>
                    <a:prstClr val="black"/>
                  </a:solidFill>
                  <a:latin typeface="Calibri"/>
                </a:rPr>
                <a:t>R</a:t>
              </a:r>
              <a:endParaRPr lang="zh-TW" altLang="en-US" sz="2400" baseline="30000" dirty="0">
                <a:solidFill>
                  <a:prstClr val="black"/>
                </a:solidFill>
                <a:latin typeface="Calibri"/>
              </a:endParaRPr>
            </a:p>
          </p:txBody>
        </p:sp>
      </p:grpSp>
      <p:sp>
        <p:nvSpPr>
          <p:cNvPr id="47" name="矩形 46"/>
          <p:cNvSpPr/>
          <p:nvPr/>
        </p:nvSpPr>
        <p:spPr>
          <a:xfrm>
            <a:off x="4913118" y="2298174"/>
            <a:ext cx="271463" cy="671513"/>
          </a:xfrm>
          <a:prstGeom prst="rect">
            <a:avLst/>
          </a:prstGeo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zh-TW" altLang="en-US" sz="2400" baseline="30000" dirty="0">
              <a:solidFill>
                <a:prstClr val="black"/>
              </a:solidFill>
            </a:endParaRPr>
          </a:p>
        </p:txBody>
      </p:sp>
      <p:sp>
        <p:nvSpPr>
          <p:cNvPr id="48" name="矩形 47"/>
          <p:cNvSpPr/>
          <p:nvPr/>
        </p:nvSpPr>
        <p:spPr>
          <a:xfrm>
            <a:off x="4913117" y="3245279"/>
            <a:ext cx="271463" cy="671513"/>
          </a:xfrm>
          <a:prstGeom prst="rect">
            <a:avLst/>
          </a:prstGeo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zh-TW" altLang="en-US" sz="2400" baseline="30000" dirty="0">
              <a:solidFill>
                <a:prstClr val="black"/>
              </a:solidFill>
            </a:endParaRPr>
          </a:p>
        </p:txBody>
      </p:sp>
      <p:sp>
        <p:nvSpPr>
          <p:cNvPr id="49" name="矩形 48"/>
          <p:cNvSpPr/>
          <p:nvPr/>
        </p:nvSpPr>
        <p:spPr>
          <a:xfrm>
            <a:off x="4913117" y="5606623"/>
            <a:ext cx="271463" cy="671513"/>
          </a:xfrm>
          <a:prstGeom prst="rect">
            <a:avLst/>
          </a:prstGeo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zh-TW" altLang="en-US" sz="2400" baseline="30000" dirty="0">
              <a:solidFill>
                <a:prstClr val="black"/>
              </a:solidFill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50" name="文字方塊 49"/>
              <p:cNvSpPr txBox="1"/>
              <p:nvPr/>
            </p:nvSpPr>
            <p:spPr>
              <a:xfrm>
                <a:off x="4902677" y="2471777"/>
                <a:ext cx="391454" cy="369332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p>
                        <m:sSupPr>
                          <m:ctrlPr>
                            <a:rPr lang="en-US" altLang="zh-TW" sz="2400" i="1">
                              <a:solidFill>
                                <a:prstClr val="black"/>
                              </a:solidFill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acc>
                            <m:accPr>
                              <m:chr m:val="̂"/>
                              <m:ctrlPr>
                                <a:rPr lang="en-US" altLang="zh-TW" sz="2400" i="1">
                                  <a:solidFill>
                                    <a:prstClr val="black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accPr>
                            <m:e>
                              <m:r>
                                <a:rPr lang="en-US" altLang="zh-TW" sz="2400" i="1">
                                  <a:solidFill>
                                    <a:prstClr val="black"/>
                                  </a:solidFill>
                                  <a:latin typeface="Cambria Math" panose="02040503050406030204" pitchFamily="18" charset="0"/>
                                </a:rPr>
                                <m:t>𝑦</m:t>
                              </m:r>
                            </m:e>
                          </m:acc>
                        </m:e>
                        <m:sup>
                          <m:r>
                            <a:rPr lang="en-US" altLang="zh-TW" sz="2400" i="1">
                              <a:solidFill>
                                <a:prstClr val="black"/>
                              </a:solidFill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p>
                    </m:oMath>
                  </m:oMathPara>
                </a14:m>
                <a:endParaRPr lang="zh-TW" altLang="en-US" sz="2400" dirty="0">
                  <a:solidFill>
                    <a:prstClr val="black"/>
                  </a:solidFill>
                  <a:latin typeface="Calibri"/>
                </a:endParaRPr>
              </a:p>
            </p:txBody>
          </p:sp>
        </mc:Choice>
        <mc:Fallback xmlns="">
          <p:sp>
            <p:nvSpPr>
              <p:cNvPr id="50" name="文字方塊 49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902677" y="2471777"/>
                <a:ext cx="391454" cy="369332"/>
              </a:xfrm>
              <a:prstGeom prst="rect">
                <a:avLst/>
              </a:prstGeom>
              <a:blipFill rotWithShape="0">
                <a:blip r:embed="rId3"/>
                <a:stretch>
                  <a:fillRect l="-18750" t="-16393" r="-50000" b="-24590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51" name="文字方塊 50"/>
              <p:cNvSpPr txBox="1"/>
              <p:nvPr/>
            </p:nvSpPr>
            <p:spPr>
              <a:xfrm>
                <a:off x="4913117" y="3407287"/>
                <a:ext cx="398058" cy="369332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p>
                        <m:sSupPr>
                          <m:ctrlPr>
                            <a:rPr lang="en-US" altLang="zh-TW" sz="2400" i="1">
                              <a:solidFill>
                                <a:prstClr val="black"/>
                              </a:solidFill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acc>
                            <m:accPr>
                              <m:chr m:val="̂"/>
                              <m:ctrlPr>
                                <a:rPr lang="en-US" altLang="zh-TW" sz="2400" i="1">
                                  <a:solidFill>
                                    <a:prstClr val="black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accPr>
                            <m:e>
                              <m:r>
                                <a:rPr lang="en-US" altLang="zh-TW" sz="2400" i="1">
                                  <a:solidFill>
                                    <a:prstClr val="black"/>
                                  </a:solidFill>
                                  <a:latin typeface="Cambria Math" panose="02040503050406030204" pitchFamily="18" charset="0"/>
                                </a:rPr>
                                <m:t>𝑦</m:t>
                              </m:r>
                            </m:e>
                          </m:acc>
                        </m:e>
                        <m:sup>
                          <m:r>
                            <a:rPr lang="en-US" altLang="zh-TW" sz="2400" i="1">
                              <a:solidFill>
                                <a:prstClr val="black"/>
                              </a:solidFill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p>
                    </m:oMath>
                  </m:oMathPara>
                </a14:m>
                <a:endParaRPr lang="zh-TW" altLang="en-US" sz="2400" dirty="0">
                  <a:solidFill>
                    <a:prstClr val="black"/>
                  </a:solidFill>
                  <a:latin typeface="Calibri"/>
                </a:endParaRPr>
              </a:p>
            </p:txBody>
          </p:sp>
        </mc:Choice>
        <mc:Fallback xmlns="">
          <p:sp>
            <p:nvSpPr>
              <p:cNvPr id="51" name="文字方塊 50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913117" y="3407287"/>
                <a:ext cx="398058" cy="369332"/>
              </a:xfrm>
              <a:prstGeom prst="rect">
                <a:avLst/>
              </a:prstGeom>
              <a:blipFill rotWithShape="0">
                <a:blip r:embed="rId4"/>
                <a:stretch>
                  <a:fillRect l="-18462" t="-18033" r="-47692" b="-24590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52" name="文字方塊 51"/>
              <p:cNvSpPr txBox="1"/>
              <p:nvPr/>
            </p:nvSpPr>
            <p:spPr>
              <a:xfrm>
                <a:off x="4888687" y="5803879"/>
                <a:ext cx="422488" cy="369332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p>
                        <m:sSupPr>
                          <m:ctrlPr>
                            <a:rPr lang="en-US" altLang="zh-TW" sz="2400" i="1">
                              <a:solidFill>
                                <a:prstClr val="black"/>
                              </a:solidFill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acc>
                            <m:accPr>
                              <m:chr m:val="̂"/>
                              <m:ctrlPr>
                                <a:rPr lang="en-US" altLang="zh-TW" sz="2400" i="1">
                                  <a:solidFill>
                                    <a:prstClr val="black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accPr>
                            <m:e>
                              <m:r>
                                <a:rPr lang="en-US" altLang="zh-TW" sz="2400" i="1">
                                  <a:solidFill>
                                    <a:prstClr val="black"/>
                                  </a:solidFill>
                                  <a:latin typeface="Cambria Math" panose="02040503050406030204" pitchFamily="18" charset="0"/>
                                </a:rPr>
                                <m:t>𝑦</m:t>
                              </m:r>
                            </m:e>
                          </m:acc>
                        </m:e>
                        <m:sup>
                          <m:r>
                            <a:rPr lang="en-US" altLang="zh-TW" sz="2400" i="1">
                              <a:solidFill>
                                <a:prstClr val="black"/>
                              </a:solidFill>
                              <a:latin typeface="Cambria Math" panose="02040503050406030204" pitchFamily="18" charset="0"/>
                            </a:rPr>
                            <m:t>𝑅</m:t>
                          </m:r>
                        </m:sup>
                      </m:sSup>
                    </m:oMath>
                  </m:oMathPara>
                </a14:m>
                <a:endParaRPr lang="zh-TW" altLang="en-US" sz="2400" dirty="0">
                  <a:solidFill>
                    <a:prstClr val="black"/>
                  </a:solidFill>
                  <a:latin typeface="Calibri"/>
                </a:endParaRPr>
              </a:p>
            </p:txBody>
          </p:sp>
        </mc:Choice>
        <mc:Fallback xmlns="">
          <p:sp>
            <p:nvSpPr>
              <p:cNvPr id="52" name="文字方塊 51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888687" y="5803879"/>
                <a:ext cx="422488" cy="369332"/>
              </a:xfrm>
              <a:prstGeom prst="rect">
                <a:avLst/>
              </a:prstGeom>
              <a:blipFill rotWithShape="0">
                <a:blip r:embed="rId5"/>
                <a:stretch>
                  <a:fillRect l="-17391" t="-16393" r="-44928" b="-24590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53" name="左-右雙向箭號 52"/>
          <p:cNvSpPr/>
          <p:nvPr/>
        </p:nvSpPr>
        <p:spPr>
          <a:xfrm>
            <a:off x="4254704" y="2590148"/>
            <a:ext cx="602650" cy="181045"/>
          </a:xfrm>
          <a:prstGeom prst="leftRightArrow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zh-TW" altLang="en-US" sz="1800">
              <a:solidFill>
                <a:prstClr val="white"/>
              </a:solidFill>
            </a:endParaRPr>
          </a:p>
        </p:txBody>
      </p:sp>
      <p:sp>
        <p:nvSpPr>
          <p:cNvPr id="54" name="左-右雙向箭號 53"/>
          <p:cNvSpPr/>
          <p:nvPr/>
        </p:nvSpPr>
        <p:spPr>
          <a:xfrm>
            <a:off x="4249342" y="3510848"/>
            <a:ext cx="602650" cy="181045"/>
          </a:xfrm>
          <a:prstGeom prst="leftRightArrow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zh-TW" altLang="en-US" sz="1800">
              <a:solidFill>
                <a:prstClr val="white"/>
              </a:solidFill>
            </a:endParaRPr>
          </a:p>
        </p:txBody>
      </p:sp>
      <p:sp>
        <p:nvSpPr>
          <p:cNvPr id="55" name="左-右雙向箭號 54"/>
          <p:cNvSpPr/>
          <p:nvPr/>
        </p:nvSpPr>
        <p:spPr>
          <a:xfrm>
            <a:off x="4249276" y="5851855"/>
            <a:ext cx="602650" cy="181045"/>
          </a:xfrm>
          <a:prstGeom prst="leftRightArrow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zh-TW" altLang="en-US" sz="1800">
              <a:solidFill>
                <a:prstClr val="white"/>
              </a:solidFill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56" name="文字方塊 55"/>
              <p:cNvSpPr txBox="1"/>
              <p:nvPr/>
            </p:nvSpPr>
            <p:spPr>
              <a:xfrm>
                <a:off x="4161190" y="2830046"/>
                <a:ext cx="788293" cy="369332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p>
                        <m:sSupPr>
                          <m:ctrlPr>
                            <a:rPr lang="en-US" altLang="zh-TW" sz="2400" i="1">
                              <a:solidFill>
                                <a:prstClr val="black"/>
                              </a:solidFill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en-US" altLang="zh-TW" sz="2400" i="1">
                              <a:solidFill>
                                <a:prstClr val="black"/>
                              </a:solidFill>
                              <a:latin typeface="Cambria Math" panose="02040503050406030204" pitchFamily="18" charset="0"/>
                            </a:rPr>
                            <m:t>𝐿</m:t>
                          </m:r>
                        </m:e>
                        <m:sup>
                          <m:r>
                            <a:rPr lang="en-US" altLang="zh-TW" sz="2400" i="1">
                              <a:solidFill>
                                <a:prstClr val="black"/>
                              </a:solidFill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p>
                      <m:d>
                        <m:dPr>
                          <m:ctrlPr>
                            <a:rPr lang="en-US" altLang="zh-TW" sz="2400" i="1">
                              <a:solidFill>
                                <a:prstClr val="black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zh-TW" altLang="en-US" sz="2400" i="1">
                              <a:solidFill>
                                <a:prstClr val="black"/>
                              </a:solidFill>
                              <a:latin typeface="Cambria Math" panose="02040503050406030204" pitchFamily="18" charset="0"/>
                            </a:rPr>
                            <m:t>𝜃</m:t>
                          </m:r>
                        </m:e>
                      </m:d>
                    </m:oMath>
                  </m:oMathPara>
                </a14:m>
                <a:endParaRPr lang="zh-TW" altLang="en-US" sz="2400" dirty="0">
                  <a:solidFill>
                    <a:prstClr val="black"/>
                  </a:solidFill>
                  <a:latin typeface="Calibri"/>
                </a:endParaRPr>
              </a:p>
            </p:txBody>
          </p:sp>
        </mc:Choice>
        <mc:Fallback xmlns="">
          <p:sp>
            <p:nvSpPr>
              <p:cNvPr id="56" name="文字方塊 55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161190" y="2830046"/>
                <a:ext cx="788293" cy="369332"/>
              </a:xfrm>
              <a:prstGeom prst="rect">
                <a:avLst/>
              </a:prstGeom>
              <a:blipFill rotWithShape="0">
                <a:blip r:embed="rId6"/>
                <a:stretch>
                  <a:fillRect l="-9302" b="-6557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59" name="文字方塊 58"/>
          <p:cNvSpPr txBox="1"/>
          <p:nvPr/>
        </p:nvSpPr>
        <p:spPr>
          <a:xfrm rot="5400000">
            <a:off x="3746853" y="4967195"/>
            <a:ext cx="82867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altLang="zh-TW" sz="2800" dirty="0">
                <a:solidFill>
                  <a:prstClr val="black"/>
                </a:solidFill>
                <a:latin typeface="Calibri"/>
              </a:rPr>
              <a:t>……</a:t>
            </a:r>
            <a:endParaRPr lang="zh-TW" altLang="en-US" sz="2800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60" name="文字方塊 59"/>
          <p:cNvSpPr txBox="1"/>
          <p:nvPr/>
        </p:nvSpPr>
        <p:spPr>
          <a:xfrm rot="5400000">
            <a:off x="4749949" y="4954287"/>
            <a:ext cx="82867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altLang="zh-TW" sz="2800" dirty="0">
                <a:solidFill>
                  <a:prstClr val="black"/>
                </a:solidFill>
                <a:latin typeface="Calibri"/>
              </a:rPr>
              <a:t>……</a:t>
            </a:r>
            <a:endParaRPr lang="zh-TW" altLang="en-US" sz="2800" dirty="0">
              <a:solidFill>
                <a:prstClr val="black"/>
              </a:solidFill>
              <a:latin typeface="Calibri"/>
            </a:endParaRPr>
          </a:p>
        </p:txBody>
      </p:sp>
      <p:grpSp>
        <p:nvGrpSpPr>
          <p:cNvPr id="11" name="群組 63"/>
          <p:cNvGrpSpPr/>
          <p:nvPr/>
        </p:nvGrpSpPr>
        <p:grpSpPr>
          <a:xfrm>
            <a:off x="1724616" y="4152253"/>
            <a:ext cx="421910" cy="671513"/>
            <a:chOff x="510564" y="3417283"/>
            <a:chExt cx="421910" cy="671513"/>
          </a:xfrm>
        </p:grpSpPr>
        <p:sp>
          <p:nvSpPr>
            <p:cNvPr id="65" name="矩形 64"/>
            <p:cNvSpPr/>
            <p:nvPr/>
          </p:nvSpPr>
          <p:spPr>
            <a:xfrm>
              <a:off x="557212" y="3417283"/>
              <a:ext cx="271463" cy="671513"/>
            </a:xfrm>
            <a:prstGeom prst="rect">
              <a:avLst/>
            </a:prstGeom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zh-TW" altLang="en-US" sz="2400" baseline="30000" dirty="0">
                <a:solidFill>
                  <a:prstClr val="black"/>
                </a:solidFill>
              </a:endParaRPr>
            </a:p>
          </p:txBody>
        </p:sp>
        <p:sp>
          <p:nvSpPr>
            <p:cNvPr id="66" name="矩形 65"/>
            <p:cNvSpPr/>
            <p:nvPr/>
          </p:nvSpPr>
          <p:spPr>
            <a:xfrm>
              <a:off x="510564" y="3522206"/>
              <a:ext cx="421910" cy="461665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</a:pPr>
              <a:r>
                <a:rPr lang="en-US" altLang="zh-TW" sz="2400" dirty="0">
                  <a:solidFill>
                    <a:prstClr val="black"/>
                  </a:solidFill>
                  <a:latin typeface="Calibri"/>
                </a:rPr>
                <a:t>x</a:t>
              </a:r>
              <a:r>
                <a:rPr lang="en-US" altLang="zh-TW" sz="2400" baseline="30000" dirty="0">
                  <a:solidFill>
                    <a:prstClr val="black"/>
                  </a:solidFill>
                  <a:latin typeface="Calibri"/>
                </a:rPr>
                <a:t>3</a:t>
              </a:r>
              <a:endParaRPr lang="zh-TW" altLang="en-US" sz="2400" baseline="30000" dirty="0">
                <a:solidFill>
                  <a:prstClr val="black"/>
                </a:solidFill>
                <a:latin typeface="Calibri"/>
              </a:endParaRPr>
            </a:p>
          </p:txBody>
        </p:sp>
      </p:grpSp>
      <p:sp>
        <p:nvSpPr>
          <p:cNvPr id="67" name="矩形 66"/>
          <p:cNvSpPr/>
          <p:nvPr/>
        </p:nvSpPr>
        <p:spPr>
          <a:xfrm>
            <a:off x="2524541" y="4146429"/>
            <a:ext cx="965905" cy="683158"/>
          </a:xfrm>
          <a:prstGeom prst="rect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altLang="zh-TW" sz="2400" dirty="0">
                <a:solidFill>
                  <a:prstClr val="black"/>
                </a:solidFill>
              </a:rPr>
              <a:t>NN</a:t>
            </a:r>
            <a:endParaRPr lang="zh-TW" altLang="en-US" sz="2400" dirty="0">
              <a:solidFill>
                <a:prstClr val="black"/>
              </a:solidFill>
            </a:endParaRPr>
          </a:p>
        </p:txBody>
      </p:sp>
      <p:cxnSp>
        <p:nvCxnSpPr>
          <p:cNvPr id="68" name="直線單箭頭接點 67"/>
          <p:cNvCxnSpPr/>
          <p:nvPr/>
        </p:nvCxnSpPr>
        <p:spPr>
          <a:xfrm flipV="1">
            <a:off x="2090197" y="4488008"/>
            <a:ext cx="417095" cy="0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直線單箭頭接點 68"/>
          <p:cNvCxnSpPr/>
          <p:nvPr/>
        </p:nvCxnSpPr>
        <p:spPr>
          <a:xfrm flipV="1">
            <a:off x="3490446" y="4482801"/>
            <a:ext cx="417095" cy="0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2" name="群組 69"/>
          <p:cNvGrpSpPr/>
          <p:nvPr/>
        </p:nvGrpSpPr>
        <p:grpSpPr>
          <a:xfrm>
            <a:off x="3891923" y="4152253"/>
            <a:ext cx="428322" cy="671513"/>
            <a:chOff x="507359" y="3417283"/>
            <a:chExt cx="428322" cy="671513"/>
          </a:xfrm>
        </p:grpSpPr>
        <p:sp>
          <p:nvSpPr>
            <p:cNvPr id="71" name="矩形 70"/>
            <p:cNvSpPr/>
            <p:nvPr/>
          </p:nvSpPr>
          <p:spPr>
            <a:xfrm>
              <a:off x="557212" y="3417283"/>
              <a:ext cx="271463" cy="671513"/>
            </a:xfrm>
            <a:prstGeom prst="rect">
              <a:avLst/>
            </a:prstGeom>
          </p:spPr>
          <p:style>
            <a:lnRef idx="1">
              <a:schemeClr val="accent4"/>
            </a:lnRef>
            <a:fillRef idx="2">
              <a:schemeClr val="accent4"/>
            </a:fillRef>
            <a:effectRef idx="1">
              <a:schemeClr val="accent4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zh-TW" altLang="en-US" sz="2400" baseline="30000" dirty="0">
                <a:solidFill>
                  <a:prstClr val="black"/>
                </a:solidFill>
              </a:endParaRPr>
            </a:p>
          </p:txBody>
        </p:sp>
        <p:sp>
          <p:nvSpPr>
            <p:cNvPr id="72" name="矩形 71"/>
            <p:cNvSpPr/>
            <p:nvPr/>
          </p:nvSpPr>
          <p:spPr>
            <a:xfrm>
              <a:off x="507359" y="3522206"/>
              <a:ext cx="428322" cy="461665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</a:pPr>
              <a:r>
                <a:rPr lang="en-US" altLang="zh-TW" sz="2400" dirty="0">
                  <a:solidFill>
                    <a:prstClr val="black"/>
                  </a:solidFill>
                  <a:latin typeface="Calibri"/>
                </a:rPr>
                <a:t>y</a:t>
              </a:r>
              <a:r>
                <a:rPr lang="en-US" altLang="zh-TW" sz="2400" baseline="30000" dirty="0">
                  <a:solidFill>
                    <a:prstClr val="black"/>
                  </a:solidFill>
                  <a:latin typeface="Calibri"/>
                </a:rPr>
                <a:t>3</a:t>
              </a:r>
              <a:endParaRPr lang="zh-TW" altLang="en-US" sz="2400" baseline="30000" dirty="0">
                <a:solidFill>
                  <a:prstClr val="black"/>
                </a:solidFill>
                <a:latin typeface="Calibri"/>
              </a:endParaRPr>
            </a:p>
          </p:txBody>
        </p:sp>
      </p:grpSp>
      <p:sp>
        <p:nvSpPr>
          <p:cNvPr id="73" name="矩形 72"/>
          <p:cNvSpPr/>
          <p:nvPr/>
        </p:nvSpPr>
        <p:spPr>
          <a:xfrm>
            <a:off x="4909965" y="4152253"/>
            <a:ext cx="271463" cy="671513"/>
          </a:xfrm>
          <a:prstGeom prst="rect">
            <a:avLst/>
          </a:prstGeo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zh-TW" altLang="en-US" sz="2400" baseline="30000" dirty="0">
              <a:solidFill>
                <a:prstClr val="black"/>
              </a:solidFill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74" name="文字方塊 73"/>
              <p:cNvSpPr txBox="1"/>
              <p:nvPr/>
            </p:nvSpPr>
            <p:spPr>
              <a:xfrm>
                <a:off x="4909965" y="4314261"/>
                <a:ext cx="398058" cy="369332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p>
                        <m:sSupPr>
                          <m:ctrlPr>
                            <a:rPr lang="en-US" altLang="zh-TW" sz="2400" i="1">
                              <a:solidFill>
                                <a:prstClr val="black"/>
                              </a:solidFill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acc>
                            <m:accPr>
                              <m:chr m:val="̂"/>
                              <m:ctrlPr>
                                <a:rPr lang="en-US" altLang="zh-TW" sz="2400" i="1">
                                  <a:solidFill>
                                    <a:prstClr val="black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accPr>
                            <m:e>
                              <m:r>
                                <a:rPr lang="en-US" altLang="zh-TW" sz="2400" i="1">
                                  <a:solidFill>
                                    <a:prstClr val="black"/>
                                  </a:solidFill>
                                  <a:latin typeface="Cambria Math" panose="02040503050406030204" pitchFamily="18" charset="0"/>
                                </a:rPr>
                                <m:t>𝑦</m:t>
                              </m:r>
                            </m:e>
                          </m:acc>
                        </m:e>
                        <m:sup>
                          <m:r>
                            <a:rPr lang="en-US" altLang="zh-TW" sz="2400" i="1">
                              <a:solidFill>
                                <a:prstClr val="black"/>
                              </a:solidFill>
                              <a:latin typeface="Cambria Math" panose="02040503050406030204" pitchFamily="18" charset="0"/>
                            </a:rPr>
                            <m:t>3</m:t>
                          </m:r>
                        </m:sup>
                      </m:sSup>
                    </m:oMath>
                  </m:oMathPara>
                </a14:m>
                <a:endParaRPr lang="zh-TW" altLang="en-US" sz="2400" dirty="0">
                  <a:solidFill>
                    <a:prstClr val="black"/>
                  </a:solidFill>
                  <a:latin typeface="Calibri"/>
                </a:endParaRPr>
              </a:p>
            </p:txBody>
          </p:sp>
        </mc:Choice>
        <mc:Fallback xmlns="">
          <p:sp>
            <p:nvSpPr>
              <p:cNvPr id="74" name="文字方塊 73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909965" y="4314261"/>
                <a:ext cx="398058" cy="369332"/>
              </a:xfrm>
              <a:prstGeom prst="rect">
                <a:avLst/>
              </a:prstGeom>
              <a:blipFill rotWithShape="0">
                <a:blip r:embed="rId7"/>
                <a:stretch>
                  <a:fillRect l="-18182" t="-18333" r="-46970" b="-26667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75" name="左-右雙向箭號 74"/>
          <p:cNvSpPr/>
          <p:nvPr/>
        </p:nvSpPr>
        <p:spPr>
          <a:xfrm>
            <a:off x="4246190" y="4417822"/>
            <a:ext cx="602650" cy="181045"/>
          </a:xfrm>
          <a:prstGeom prst="leftRightArrow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zh-TW" altLang="en-US" sz="1800">
              <a:solidFill>
                <a:prstClr val="white"/>
              </a:solidFill>
            </a:endParaRPr>
          </a:p>
        </p:txBody>
      </p:sp>
      <p:sp>
        <p:nvSpPr>
          <p:cNvPr id="6" name="文字方塊 5"/>
          <p:cNvSpPr txBox="1"/>
          <p:nvPr/>
        </p:nvSpPr>
        <p:spPr>
          <a:xfrm>
            <a:off x="508787" y="1640875"/>
            <a:ext cx="358019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altLang="zh-TW" sz="2800" dirty="0">
                <a:solidFill>
                  <a:prstClr val="black"/>
                </a:solidFill>
                <a:latin typeface="Calibri"/>
              </a:rPr>
              <a:t>For all training data …</a:t>
            </a:r>
            <a:endParaRPr lang="zh-TW" altLang="en-US" sz="2800" dirty="0">
              <a:solidFill>
                <a:prstClr val="black"/>
              </a:solidFill>
              <a:latin typeface="Calibri"/>
            </a:endParaRPr>
          </a:p>
        </p:txBody>
      </p:sp>
      <p:pic>
        <p:nvPicPr>
          <p:cNvPr id="90" name="圖片 89"/>
          <p:cNvPicPr preferRelativeResize="0">
            <a:picLocks/>
          </p:cNvPicPr>
          <p:nvPr/>
        </p:nvPicPr>
        <p:blipFill>
          <a:blip r:embed="rId8"/>
          <a:stretch>
            <a:fillRect/>
          </a:stretch>
        </p:blipFill>
        <p:spPr>
          <a:xfrm>
            <a:off x="915322" y="2314599"/>
            <a:ext cx="720000" cy="720000"/>
          </a:xfrm>
          <a:prstGeom prst="rect">
            <a:avLst/>
          </a:prstGeom>
          <a:ln w="38100">
            <a:solidFill>
              <a:schemeClr val="tx1"/>
            </a:solidFill>
          </a:ln>
        </p:spPr>
      </p:pic>
      <p:pic>
        <p:nvPicPr>
          <p:cNvPr id="92" name="圖片 91"/>
          <p:cNvPicPr preferRelativeResize="0">
            <a:picLocks/>
          </p:cNvPicPr>
          <p:nvPr/>
        </p:nvPicPr>
        <p:blipFill>
          <a:blip r:embed="rId9"/>
          <a:stretch>
            <a:fillRect/>
          </a:stretch>
        </p:blipFill>
        <p:spPr>
          <a:xfrm>
            <a:off x="894572" y="3258994"/>
            <a:ext cx="720000" cy="720000"/>
          </a:xfrm>
          <a:prstGeom prst="rect">
            <a:avLst/>
          </a:prstGeom>
          <a:ln w="38100">
            <a:solidFill>
              <a:schemeClr val="tx1"/>
            </a:solidFill>
          </a:ln>
        </p:spPr>
      </p:pic>
      <p:pic>
        <p:nvPicPr>
          <p:cNvPr id="93" name="圖片 92"/>
          <p:cNvPicPr preferRelativeResize="0">
            <a:picLocks/>
          </p:cNvPicPr>
          <p:nvPr/>
        </p:nvPicPr>
        <p:blipFill>
          <a:blip r:embed="rId10"/>
          <a:stretch>
            <a:fillRect/>
          </a:stretch>
        </p:blipFill>
        <p:spPr>
          <a:xfrm>
            <a:off x="894572" y="4139587"/>
            <a:ext cx="720000" cy="720000"/>
          </a:xfrm>
          <a:prstGeom prst="rect">
            <a:avLst/>
          </a:prstGeom>
          <a:ln w="38100">
            <a:solidFill>
              <a:schemeClr val="tx1"/>
            </a:solidFill>
          </a:ln>
        </p:spPr>
      </p:pic>
      <p:pic>
        <p:nvPicPr>
          <p:cNvPr id="94" name="圖片 93"/>
          <p:cNvPicPr preferRelativeResize="0">
            <a:picLocks/>
          </p:cNvPicPr>
          <p:nvPr/>
        </p:nvPicPr>
        <p:blipFill>
          <a:blip r:embed="rId11"/>
          <a:stretch>
            <a:fillRect/>
          </a:stretch>
        </p:blipFill>
        <p:spPr>
          <a:xfrm>
            <a:off x="894572" y="5594978"/>
            <a:ext cx="720000" cy="720000"/>
          </a:xfrm>
          <a:prstGeom prst="rect">
            <a:avLst/>
          </a:prstGeom>
          <a:ln w="38100">
            <a:solidFill>
              <a:schemeClr val="tx1"/>
            </a:solidFill>
          </a:ln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7" name="文字方塊 6"/>
              <p:cNvSpPr txBox="1"/>
              <p:nvPr/>
            </p:nvSpPr>
            <p:spPr>
              <a:xfrm>
                <a:off x="6115440" y="2164095"/>
                <a:ext cx="2683940" cy="1209242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altLang="zh-TW" sz="2800" i="1">
                          <a:solidFill>
                            <a:prstClr val="black"/>
                          </a:solidFill>
                          <a:latin typeface="Cambria Math" panose="02040503050406030204" pitchFamily="18" charset="0"/>
                        </a:rPr>
                        <m:t>𝐶</m:t>
                      </m:r>
                      <m:d>
                        <m:dPr>
                          <m:ctrlPr>
                            <a:rPr lang="en-US" altLang="zh-TW" sz="2800" i="1">
                              <a:solidFill>
                                <a:prstClr val="black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zh-TW" altLang="en-US" sz="2800" i="1">
                              <a:solidFill>
                                <a:prstClr val="black"/>
                              </a:solidFill>
                              <a:latin typeface="Cambria Math" panose="02040503050406030204" pitchFamily="18" charset="0"/>
                            </a:rPr>
                            <m:t>𝜃</m:t>
                          </m:r>
                        </m:e>
                      </m:d>
                      <m:r>
                        <a:rPr lang="en-US" altLang="zh-TW" sz="2800" i="1">
                          <a:solidFill>
                            <a:prstClr val="black"/>
                          </a:solidFill>
                          <a:latin typeface="Cambria Math" panose="02040503050406030204" pitchFamily="18" charset="0"/>
                        </a:rPr>
                        <m:t>=</m:t>
                      </m:r>
                      <m:nary>
                        <m:naryPr>
                          <m:chr m:val="∑"/>
                          <m:ctrlPr>
                            <a:rPr lang="en-US" altLang="zh-TW" sz="2800" i="1">
                              <a:solidFill>
                                <a:prstClr val="black"/>
                              </a:solidFill>
                              <a:latin typeface="Cambria Math" panose="02040503050406030204" pitchFamily="18" charset="0"/>
                            </a:rPr>
                          </m:ctrlPr>
                        </m:naryPr>
                        <m:sub>
                          <m:r>
                            <m:rPr>
                              <m:brk m:alnAt="23"/>
                            </m:rPr>
                            <a:rPr lang="en-US" altLang="zh-TW" sz="2800" i="1">
                              <a:solidFill>
                                <a:prstClr val="black"/>
                              </a:solidFill>
                              <a:latin typeface="Cambria Math" panose="02040503050406030204" pitchFamily="18" charset="0"/>
                            </a:rPr>
                            <m:t>𝑟</m:t>
                          </m:r>
                          <m:r>
                            <a:rPr lang="en-US" altLang="zh-TW" sz="2800" i="1">
                              <a:solidFill>
                                <a:prstClr val="black"/>
                              </a:solidFill>
                              <a:latin typeface="Cambria Math" panose="02040503050406030204" pitchFamily="18" charset="0"/>
                            </a:rPr>
                            <m:t>=1</m:t>
                          </m:r>
                        </m:sub>
                        <m:sup>
                          <m:r>
                            <a:rPr lang="en-US" altLang="zh-TW" sz="2800" i="1">
                              <a:solidFill>
                                <a:prstClr val="black"/>
                              </a:solidFill>
                              <a:latin typeface="Cambria Math" panose="02040503050406030204" pitchFamily="18" charset="0"/>
                            </a:rPr>
                            <m:t>𝑅</m:t>
                          </m:r>
                        </m:sup>
                        <m:e>
                          <m:sSup>
                            <m:sSupPr>
                              <m:ctrlPr>
                                <a:rPr lang="en-US" altLang="zh-TW" sz="2800" i="1">
                                  <a:solidFill>
                                    <a:prstClr val="black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en-US" altLang="zh-TW" sz="2800" i="1">
                                  <a:solidFill>
                                    <a:prstClr val="black"/>
                                  </a:solidFill>
                                  <a:latin typeface="Cambria Math" panose="02040503050406030204" pitchFamily="18" charset="0"/>
                                </a:rPr>
                                <m:t>𝐿</m:t>
                              </m:r>
                            </m:e>
                            <m:sup>
                              <m:r>
                                <a:rPr lang="en-US" altLang="zh-TW" sz="2800" i="1">
                                  <a:solidFill>
                                    <a:prstClr val="black"/>
                                  </a:solidFill>
                                  <a:latin typeface="Cambria Math" panose="02040503050406030204" pitchFamily="18" charset="0"/>
                                </a:rPr>
                                <m:t>𝑟</m:t>
                              </m:r>
                            </m:sup>
                          </m:sSup>
                          <m:d>
                            <m:dPr>
                              <m:ctrlPr>
                                <a:rPr lang="en-US" altLang="zh-TW" sz="2800" i="1">
                                  <a:solidFill>
                                    <a:prstClr val="black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zh-TW" altLang="en-US" sz="2800" i="1">
                                  <a:solidFill>
                                    <a:prstClr val="black"/>
                                  </a:solidFill>
                                  <a:latin typeface="Cambria Math" panose="02040503050406030204" pitchFamily="18" charset="0"/>
                                </a:rPr>
                                <m:t>𝜃</m:t>
                              </m:r>
                            </m:e>
                          </m:d>
                        </m:e>
                      </m:nary>
                    </m:oMath>
                  </m:oMathPara>
                </a14:m>
                <a:endParaRPr lang="zh-TW" altLang="en-US" sz="2800" dirty="0">
                  <a:solidFill>
                    <a:prstClr val="black"/>
                  </a:solidFill>
                  <a:latin typeface="Calibri"/>
                </a:endParaRPr>
              </a:p>
            </p:txBody>
          </p:sp>
        </mc:Choice>
        <mc:Fallback xmlns="">
          <p:sp>
            <p:nvSpPr>
              <p:cNvPr id="7" name="文字方塊 6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115440" y="2164095"/>
                <a:ext cx="2683940" cy="1209242"/>
              </a:xfrm>
              <a:prstGeom prst="rect">
                <a:avLst/>
              </a:prstGeom>
              <a:blipFill rotWithShape="0">
                <a:blip r:embed="rId12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95" name="文字方塊 94"/>
              <p:cNvSpPr txBox="1"/>
              <p:nvPr/>
            </p:nvSpPr>
            <p:spPr>
              <a:xfrm>
                <a:off x="5658933" y="4938976"/>
                <a:ext cx="3122536" cy="1408334"/>
              </a:xfrm>
              <a:prstGeom prst="rect">
                <a:avLst/>
              </a:prstGeom>
            </p:spPr>
            <p:style>
              <a:lnRef idx="0">
                <a:schemeClr val="accent5"/>
              </a:lnRef>
              <a:fillRef idx="3">
                <a:schemeClr val="accent5"/>
              </a:fillRef>
              <a:effectRef idx="3">
                <a:schemeClr val="accent5"/>
              </a:effectRef>
              <a:fontRef idx="minor">
                <a:schemeClr val="lt1"/>
              </a:fontRef>
            </p:style>
            <p:txBody>
              <a:bodyPr wrap="square" rtlCol="0">
                <a:spAutoFit/>
              </a:bodyPr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altLang="zh-TW" sz="2800" dirty="0">
                    <a:solidFill>
                      <a:prstClr val="white"/>
                    </a:solidFill>
                  </a:rPr>
                  <a:t>Find the network parameters </a:t>
                </a:r>
                <a14:m>
                  <m:oMath xmlns:m="http://schemas.openxmlformats.org/officeDocument/2006/math">
                    <m:sSup>
                      <m:sSupPr>
                        <m:ctrlPr>
                          <a:rPr lang="en-US" altLang="zh-TW" sz="2800" i="1">
                            <a:solidFill>
                              <a:prstClr val="white"/>
                            </a:solidFill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zh-TW" altLang="en-US" sz="2800" i="1">
                            <a:solidFill>
                              <a:prstClr val="white"/>
                            </a:solidFill>
                            <a:latin typeface="Cambria Math" panose="02040503050406030204" pitchFamily="18" charset="0"/>
                          </a:rPr>
                          <m:t>𝜃</m:t>
                        </m:r>
                      </m:e>
                      <m:sup>
                        <m:r>
                          <a:rPr lang="en-US" altLang="zh-TW" sz="2800" i="1">
                            <a:solidFill>
                              <a:prstClr val="white"/>
                            </a:solidFill>
                            <a:latin typeface="Cambria Math" panose="02040503050406030204" pitchFamily="18" charset="0"/>
                          </a:rPr>
                          <m:t>∗</m:t>
                        </m:r>
                      </m:sup>
                    </m:sSup>
                  </m:oMath>
                </a14:m>
                <a:r>
                  <a:rPr lang="en-US" altLang="zh-TW" sz="2800" dirty="0">
                    <a:solidFill>
                      <a:prstClr val="white"/>
                    </a:solidFill>
                  </a:rPr>
                  <a:t> that minimize this value</a:t>
                </a:r>
                <a:endParaRPr lang="zh-TW" altLang="en-US" sz="2800" dirty="0">
                  <a:solidFill>
                    <a:prstClr val="white"/>
                  </a:solidFill>
                </a:endParaRPr>
              </a:p>
            </p:txBody>
          </p:sp>
        </mc:Choice>
        <mc:Fallback xmlns="">
          <p:sp>
            <p:nvSpPr>
              <p:cNvPr id="95" name="文字方塊 94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658933" y="4938976"/>
                <a:ext cx="3122536" cy="1408334"/>
              </a:xfrm>
              <a:prstGeom prst="rect">
                <a:avLst/>
              </a:prstGeom>
              <a:blipFill rotWithShape="0">
                <a:blip r:embed="rId1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77" name="文字方塊 76"/>
          <p:cNvSpPr txBox="1"/>
          <p:nvPr/>
        </p:nvSpPr>
        <p:spPr>
          <a:xfrm>
            <a:off x="5546325" y="1650744"/>
            <a:ext cx="180560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altLang="zh-TW" sz="2800" dirty="0">
                <a:solidFill>
                  <a:prstClr val="black"/>
                </a:solidFill>
                <a:latin typeface="Calibri"/>
              </a:rPr>
              <a:t>Total Cost:</a:t>
            </a:r>
            <a:endParaRPr lang="zh-TW" altLang="en-US" sz="2800" dirty="0">
              <a:solidFill>
                <a:prstClr val="black"/>
              </a:solidFill>
              <a:latin typeface="Calibri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80" name="文字方塊 79"/>
              <p:cNvSpPr txBox="1"/>
              <p:nvPr/>
            </p:nvSpPr>
            <p:spPr>
              <a:xfrm>
                <a:off x="5579001" y="3498631"/>
                <a:ext cx="3425940" cy="138499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altLang="zh-TW" sz="2800" dirty="0">
                    <a:solidFill>
                      <a:prstClr val="black"/>
                    </a:solidFill>
                    <a:latin typeface="Calibri"/>
                  </a:rPr>
                  <a:t>How bad the network parameters </a:t>
                </a:r>
                <a14:m>
                  <m:oMath xmlns:m="http://schemas.openxmlformats.org/officeDocument/2006/math">
                    <m:r>
                      <a:rPr lang="zh-TW" altLang="en-US" sz="2800" i="1">
                        <a:solidFill>
                          <a:prstClr val="black"/>
                        </a:solidFill>
                        <a:latin typeface="Cambria Math" panose="02040503050406030204" pitchFamily="18" charset="0"/>
                      </a:rPr>
                      <m:t>𝜃</m:t>
                    </m:r>
                  </m:oMath>
                </a14:m>
                <a:r>
                  <a:rPr lang="en-US" altLang="zh-TW" sz="2800" dirty="0">
                    <a:solidFill>
                      <a:prstClr val="black"/>
                    </a:solidFill>
                    <a:latin typeface="Calibri"/>
                  </a:rPr>
                  <a:t> is on this task</a:t>
                </a:r>
                <a:endParaRPr lang="zh-TW" altLang="en-US" sz="2800" dirty="0">
                  <a:solidFill>
                    <a:prstClr val="black"/>
                  </a:solidFill>
                  <a:latin typeface="Calibri"/>
                </a:endParaRPr>
              </a:p>
            </p:txBody>
          </p:sp>
        </mc:Choice>
        <mc:Fallback xmlns="">
          <p:sp>
            <p:nvSpPr>
              <p:cNvPr id="80" name="文字方塊 79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579001" y="3498631"/>
                <a:ext cx="3425940" cy="1384995"/>
              </a:xfrm>
              <a:prstGeom prst="rect">
                <a:avLst/>
              </a:prstGeom>
              <a:blipFill rotWithShape="0">
                <a:blip r:embed="rId14"/>
                <a:stretch>
                  <a:fillRect l="-3559" t="-4405" r="-3025" b="-11894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81" name="文字方塊 80"/>
              <p:cNvSpPr txBox="1"/>
              <p:nvPr/>
            </p:nvSpPr>
            <p:spPr>
              <a:xfrm>
                <a:off x="4163084" y="3717652"/>
                <a:ext cx="794898" cy="369332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p>
                        <m:sSupPr>
                          <m:ctrlPr>
                            <a:rPr lang="en-US" altLang="zh-TW" sz="2400" i="1">
                              <a:solidFill>
                                <a:prstClr val="black"/>
                              </a:solidFill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en-US" altLang="zh-TW" sz="2400" i="1">
                              <a:solidFill>
                                <a:prstClr val="black"/>
                              </a:solidFill>
                              <a:latin typeface="Cambria Math" panose="02040503050406030204" pitchFamily="18" charset="0"/>
                            </a:rPr>
                            <m:t>𝐿</m:t>
                          </m:r>
                        </m:e>
                        <m:sup>
                          <m:r>
                            <a:rPr lang="en-US" altLang="zh-TW" sz="2400" i="1">
                              <a:solidFill>
                                <a:prstClr val="black"/>
                              </a:solidFill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p>
                      <m:d>
                        <m:dPr>
                          <m:ctrlPr>
                            <a:rPr lang="en-US" altLang="zh-TW" sz="2400" i="1">
                              <a:solidFill>
                                <a:prstClr val="black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zh-TW" altLang="en-US" sz="2400" i="1">
                              <a:solidFill>
                                <a:prstClr val="black"/>
                              </a:solidFill>
                              <a:latin typeface="Cambria Math" panose="02040503050406030204" pitchFamily="18" charset="0"/>
                            </a:rPr>
                            <m:t>𝜃</m:t>
                          </m:r>
                        </m:e>
                      </m:d>
                    </m:oMath>
                  </m:oMathPara>
                </a14:m>
                <a:endParaRPr lang="zh-TW" altLang="en-US" sz="2400" dirty="0">
                  <a:solidFill>
                    <a:prstClr val="black"/>
                  </a:solidFill>
                  <a:latin typeface="Calibri"/>
                </a:endParaRPr>
              </a:p>
            </p:txBody>
          </p:sp>
        </mc:Choice>
        <mc:Fallback xmlns="">
          <p:sp>
            <p:nvSpPr>
              <p:cNvPr id="81" name="文字方塊 80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163084" y="3717652"/>
                <a:ext cx="794898" cy="369332"/>
              </a:xfrm>
              <a:prstGeom prst="rect">
                <a:avLst/>
              </a:prstGeom>
              <a:blipFill rotWithShape="0">
                <a:blip r:embed="rId15"/>
                <a:stretch>
                  <a:fillRect l="-9231" b="-6667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82" name="文字方塊 81"/>
              <p:cNvSpPr txBox="1"/>
              <p:nvPr/>
            </p:nvSpPr>
            <p:spPr>
              <a:xfrm>
                <a:off x="4150147" y="4724821"/>
                <a:ext cx="794898" cy="369332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p>
                        <m:sSupPr>
                          <m:ctrlPr>
                            <a:rPr lang="en-US" altLang="zh-TW" sz="2400" i="1">
                              <a:solidFill>
                                <a:prstClr val="black"/>
                              </a:solidFill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en-US" altLang="zh-TW" sz="2400" i="1">
                              <a:solidFill>
                                <a:prstClr val="black"/>
                              </a:solidFill>
                              <a:latin typeface="Cambria Math" panose="02040503050406030204" pitchFamily="18" charset="0"/>
                            </a:rPr>
                            <m:t>𝐿</m:t>
                          </m:r>
                        </m:e>
                        <m:sup>
                          <m:r>
                            <a:rPr lang="en-US" altLang="zh-TW" sz="2400" i="1">
                              <a:solidFill>
                                <a:prstClr val="black"/>
                              </a:solidFill>
                              <a:latin typeface="Cambria Math" panose="02040503050406030204" pitchFamily="18" charset="0"/>
                            </a:rPr>
                            <m:t>3</m:t>
                          </m:r>
                        </m:sup>
                      </m:sSup>
                      <m:d>
                        <m:dPr>
                          <m:ctrlPr>
                            <a:rPr lang="en-US" altLang="zh-TW" sz="2400" i="1">
                              <a:solidFill>
                                <a:prstClr val="black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zh-TW" altLang="en-US" sz="2400" i="1">
                              <a:solidFill>
                                <a:prstClr val="black"/>
                              </a:solidFill>
                              <a:latin typeface="Cambria Math" panose="02040503050406030204" pitchFamily="18" charset="0"/>
                            </a:rPr>
                            <m:t>𝜃</m:t>
                          </m:r>
                        </m:e>
                      </m:d>
                    </m:oMath>
                  </m:oMathPara>
                </a14:m>
                <a:endParaRPr lang="zh-TW" altLang="en-US" sz="2400" dirty="0">
                  <a:solidFill>
                    <a:prstClr val="black"/>
                  </a:solidFill>
                  <a:latin typeface="Calibri"/>
                </a:endParaRPr>
              </a:p>
            </p:txBody>
          </p:sp>
        </mc:Choice>
        <mc:Fallback xmlns="">
          <p:sp>
            <p:nvSpPr>
              <p:cNvPr id="82" name="文字方塊 81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150147" y="4724821"/>
                <a:ext cx="794898" cy="369332"/>
              </a:xfrm>
              <a:prstGeom prst="rect">
                <a:avLst/>
              </a:prstGeom>
              <a:blipFill rotWithShape="0">
                <a:blip r:embed="rId16"/>
                <a:stretch>
                  <a:fillRect l="-9231" b="-6557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83" name="文字方塊 82"/>
              <p:cNvSpPr txBox="1"/>
              <p:nvPr/>
            </p:nvSpPr>
            <p:spPr>
              <a:xfrm>
                <a:off x="4150869" y="6228426"/>
                <a:ext cx="819327" cy="369332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p>
                        <m:sSupPr>
                          <m:ctrlPr>
                            <a:rPr lang="en-US" altLang="zh-TW" sz="2400" i="1">
                              <a:solidFill>
                                <a:prstClr val="black"/>
                              </a:solidFill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en-US" altLang="zh-TW" sz="2400" i="1">
                              <a:solidFill>
                                <a:prstClr val="black"/>
                              </a:solidFill>
                              <a:latin typeface="Cambria Math" panose="02040503050406030204" pitchFamily="18" charset="0"/>
                            </a:rPr>
                            <m:t>𝐿</m:t>
                          </m:r>
                        </m:e>
                        <m:sup>
                          <m:r>
                            <a:rPr lang="en-US" altLang="zh-TW" sz="2400" i="1">
                              <a:solidFill>
                                <a:prstClr val="black"/>
                              </a:solidFill>
                              <a:latin typeface="Cambria Math" panose="02040503050406030204" pitchFamily="18" charset="0"/>
                            </a:rPr>
                            <m:t>𝑅</m:t>
                          </m:r>
                        </m:sup>
                      </m:sSup>
                      <m:d>
                        <m:dPr>
                          <m:ctrlPr>
                            <a:rPr lang="en-US" altLang="zh-TW" sz="2400" i="1">
                              <a:solidFill>
                                <a:prstClr val="black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zh-TW" altLang="en-US" sz="2400" i="1">
                              <a:solidFill>
                                <a:prstClr val="black"/>
                              </a:solidFill>
                              <a:latin typeface="Cambria Math" panose="02040503050406030204" pitchFamily="18" charset="0"/>
                            </a:rPr>
                            <m:t>𝜃</m:t>
                          </m:r>
                        </m:e>
                      </m:d>
                    </m:oMath>
                  </m:oMathPara>
                </a14:m>
                <a:endParaRPr lang="zh-TW" altLang="en-US" sz="2400" dirty="0">
                  <a:solidFill>
                    <a:prstClr val="black"/>
                  </a:solidFill>
                  <a:latin typeface="Calibri"/>
                </a:endParaRPr>
              </a:p>
            </p:txBody>
          </p:sp>
        </mc:Choice>
        <mc:Fallback xmlns="">
          <p:sp>
            <p:nvSpPr>
              <p:cNvPr id="83" name="文字方塊 82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150869" y="6228426"/>
                <a:ext cx="819327" cy="369332"/>
              </a:xfrm>
              <a:prstGeom prst="rect">
                <a:avLst/>
              </a:prstGeom>
              <a:blipFill rotWithShape="0">
                <a:blip r:embed="rId17"/>
                <a:stretch>
                  <a:fillRect l="-8955" t="-1667" b="-6667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419710440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95" grpId="0" animBg="1"/>
      <p:bldP spid="77" grpId="0"/>
      <p:bldP spid="80" grpId="0" animBg="1"/>
    </p:bldLst>
  </p:timing>
</p:sld>
</file>

<file path=ppt/slides/slide7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8963" name="Picture 3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0" y="304800"/>
            <a:ext cx="9131300" cy="4787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6" name="TextBox 5"/>
          <p:cNvSpPr txBox="1"/>
          <p:nvPr/>
        </p:nvSpPr>
        <p:spPr>
          <a:xfrm>
            <a:off x="5486400" y="381000"/>
            <a:ext cx="1300356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sz="3200" b="1" dirty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(SGD)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685800" y="5161681"/>
            <a:ext cx="8268417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sz="2400" b="1" dirty="0">
                <a:solidFill>
                  <a:srgbClr val="C00000"/>
                </a:solidFill>
                <a:latin typeface="Calibri"/>
              </a:rPr>
              <a:t>- A special case of mini-batch gradient descent with batch size 1</a:t>
            </a:r>
          </a:p>
        </p:txBody>
      </p:sp>
      <p:sp>
        <p:nvSpPr>
          <p:cNvPr id="2" name="Rectangle 1"/>
          <p:cNvSpPr/>
          <p:nvPr/>
        </p:nvSpPr>
        <p:spPr>
          <a:xfrm>
            <a:off x="164742" y="6166613"/>
            <a:ext cx="8801816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sz="1600" b="1" dirty="0">
                <a:solidFill>
                  <a:srgbClr val="00B050"/>
                </a:solidFill>
              </a:rPr>
              <a:t>Herbert Robbins and Sutton </a:t>
            </a:r>
            <a:r>
              <a:rPr lang="en-US" sz="1600" b="1" dirty="0" err="1">
                <a:solidFill>
                  <a:srgbClr val="00B050"/>
                </a:solidFill>
              </a:rPr>
              <a:t>Monro</a:t>
            </a:r>
            <a:r>
              <a:rPr lang="en-US" sz="1600" b="1" dirty="0">
                <a:solidFill>
                  <a:srgbClr val="00B050"/>
                </a:solidFill>
              </a:rPr>
              <a:t>, A Stochastic Approximation </a:t>
            </a:r>
            <a:r>
              <a:rPr lang="en-US" sz="1600" b="1" i="1" dirty="0" err="1">
                <a:solidFill>
                  <a:srgbClr val="0033CC"/>
                </a:solidFill>
              </a:rPr>
              <a:t>Method,The</a:t>
            </a:r>
            <a:r>
              <a:rPr lang="en-US" sz="1600" b="1" i="1" dirty="0">
                <a:solidFill>
                  <a:srgbClr val="0033CC"/>
                </a:solidFill>
              </a:rPr>
              <a:t> Annals of Mathematical Statistics</a:t>
            </a:r>
            <a:r>
              <a:rPr lang="en-US" sz="1600" b="1" dirty="0">
                <a:solidFill>
                  <a:srgbClr val="00B050"/>
                </a:solidFill>
              </a:rPr>
              <a:t>, Vol. 22, No. 3. (Sep., 1951), pp. 400-407.</a:t>
            </a:r>
            <a:endParaRPr lang="en-US" sz="1600" b="1" dirty="0">
              <a:solidFill>
                <a:srgbClr val="00B050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08016997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</p:bldLst>
  </p:timing>
</p:sld>
</file>

<file path=ppt/slides/slide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圖片 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 rot="16200000">
            <a:off x="5507376" y="1631048"/>
            <a:ext cx="2689840" cy="2809123"/>
          </a:xfrm>
          <a:prstGeom prst="rect">
            <a:avLst/>
          </a:prstGeom>
        </p:spPr>
      </p:pic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TW" dirty="0"/>
              <a:t>Universality Theorem</a:t>
            </a:r>
            <a:endParaRPr lang="zh-TW" altLang="en-US" dirty="0"/>
          </a:p>
        </p:txBody>
      </p:sp>
      <p:sp>
        <p:nvSpPr>
          <p:cNvPr id="4" name="矩形 3"/>
          <p:cNvSpPr/>
          <p:nvPr/>
        </p:nvSpPr>
        <p:spPr>
          <a:xfrm>
            <a:off x="5326190" y="4404313"/>
            <a:ext cx="2930667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altLang="zh-TW" sz="1800" dirty="0">
                <a:solidFill>
                  <a:srgbClr val="0000FF"/>
                </a:solidFill>
                <a:latin typeface="Calibri"/>
              </a:rPr>
              <a:t>Reference</a:t>
            </a:r>
            <a:r>
              <a:rPr lang="zh-TW" altLang="en-US" sz="1800" dirty="0">
                <a:solidFill>
                  <a:srgbClr val="0000FF"/>
                </a:solidFill>
                <a:latin typeface="Calibri"/>
              </a:rPr>
              <a:t> </a:t>
            </a:r>
            <a:r>
              <a:rPr lang="en-US" altLang="zh-TW" sz="1800" dirty="0">
                <a:solidFill>
                  <a:srgbClr val="0000FF"/>
                </a:solidFill>
                <a:latin typeface="Calibri"/>
              </a:rPr>
              <a:t>for the reason: </a:t>
            </a:r>
            <a:r>
              <a:rPr lang="zh-TW" altLang="en-US" sz="1800" u="sng" dirty="0">
                <a:solidFill>
                  <a:prstClr val="black"/>
                </a:solidFill>
                <a:latin typeface="Calibri"/>
              </a:rPr>
              <a:t>http://neuralnetworksanddeeplearning.com/chap4.html</a:t>
            </a:r>
          </a:p>
        </p:txBody>
      </p:sp>
      <p:sp>
        <p:nvSpPr>
          <p:cNvPr id="7" name="文字方塊 6"/>
          <p:cNvSpPr txBox="1"/>
          <p:nvPr/>
        </p:nvSpPr>
        <p:spPr>
          <a:xfrm>
            <a:off x="935342" y="1893033"/>
            <a:ext cx="439084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altLang="zh-TW" sz="2800" dirty="0">
                <a:solidFill>
                  <a:prstClr val="black"/>
                </a:solidFill>
                <a:latin typeface="Calibri"/>
              </a:rPr>
              <a:t>Any continuous function f</a:t>
            </a:r>
            <a:endParaRPr lang="zh-TW" altLang="en-US" sz="2800" dirty="0">
              <a:solidFill>
                <a:prstClr val="black"/>
              </a:solidFill>
              <a:latin typeface="Calibri"/>
            </a:endParaRPr>
          </a:p>
        </p:txBody>
      </p:sp>
      <p:graphicFrame>
        <p:nvGraphicFramePr>
          <p:cNvPr id="8" name="Object 12"/>
          <p:cNvGraphicFramePr>
            <a:graphicFrameLocks noChangeAspect="1"/>
          </p:cNvGraphicFramePr>
          <p:nvPr>
            <p:extLst/>
          </p:nvPr>
        </p:nvGraphicFramePr>
        <p:xfrm>
          <a:off x="1805231" y="2579752"/>
          <a:ext cx="2342046" cy="6300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7717" name="方程式" r:id="rId5" imgW="850900" imgH="228600" progId="Equation.3">
                  <p:embed/>
                </p:oleObj>
              </mc:Choice>
              <mc:Fallback>
                <p:oleObj name="方程式" r:id="rId5" imgW="850900" imgH="228600" progId="Equation.3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805231" y="2579752"/>
                        <a:ext cx="2342046" cy="63000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文字方塊 8"/>
          <p:cNvSpPr txBox="1"/>
          <p:nvPr/>
        </p:nvSpPr>
        <p:spPr>
          <a:xfrm>
            <a:off x="874966" y="3364330"/>
            <a:ext cx="4390847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altLang="zh-TW" sz="2800" dirty="0">
                <a:solidFill>
                  <a:prstClr val="black"/>
                </a:solidFill>
                <a:latin typeface="Calibri"/>
              </a:rPr>
              <a:t>Can be realized by a network with one hidden layer</a:t>
            </a:r>
            <a:endParaRPr lang="zh-TW" altLang="en-US" sz="2800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0" name="文字方塊 9"/>
          <p:cNvSpPr txBox="1"/>
          <p:nvPr/>
        </p:nvSpPr>
        <p:spPr>
          <a:xfrm>
            <a:off x="865786" y="4430840"/>
            <a:ext cx="4220936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altLang="zh-TW" sz="2800" dirty="0">
                <a:solidFill>
                  <a:prstClr val="black"/>
                </a:solidFill>
                <a:latin typeface="Calibri"/>
              </a:rPr>
              <a:t>(given </a:t>
            </a:r>
            <a:r>
              <a:rPr lang="en-US" altLang="zh-TW" sz="2800" b="1" dirty="0">
                <a:solidFill>
                  <a:prstClr val="black"/>
                </a:solidFill>
                <a:latin typeface="Calibri"/>
              </a:rPr>
              <a:t>enough</a:t>
            </a:r>
            <a:r>
              <a:rPr lang="en-US" altLang="zh-TW" sz="2800" dirty="0">
                <a:solidFill>
                  <a:prstClr val="black"/>
                </a:solidFill>
                <a:latin typeface="Calibri"/>
              </a:rPr>
              <a:t> hidden neurons)</a:t>
            </a:r>
            <a:endParaRPr lang="zh-TW" altLang="en-US" sz="2800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5" name="矩形 4"/>
          <p:cNvSpPr/>
          <p:nvPr/>
        </p:nvSpPr>
        <p:spPr>
          <a:xfrm>
            <a:off x="510547" y="5842685"/>
            <a:ext cx="812290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altLang="zh-TW" sz="2800" dirty="0">
                <a:solidFill>
                  <a:srgbClr val="0000FF"/>
                </a:solidFill>
                <a:latin typeface="Calibri"/>
              </a:rPr>
              <a:t>Why “Deep” neural network not “Fat” neural network?</a:t>
            </a:r>
            <a:endParaRPr lang="zh-TW" altLang="en-US" sz="2800" dirty="0">
              <a:solidFill>
                <a:srgbClr val="0000FF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67172817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  <p:bldP spid="7" grpId="0"/>
      <p:bldP spid="9" grpId="0"/>
      <p:bldP spid="10" grpId="0"/>
      <p:bldP spid="5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602" name="Picture 2" descr="C:\Users\hays\Desktop\143 Computer Vision\slides\07\machine_learning_spectrum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1540" y="1219200"/>
            <a:ext cx="7951787" cy="5638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Frame 1"/>
          <p:cNvSpPr/>
          <p:nvPr/>
        </p:nvSpPr>
        <p:spPr>
          <a:xfrm>
            <a:off x="1439652" y="3284984"/>
            <a:ext cx="2851150" cy="1222375"/>
          </a:xfrm>
          <a:prstGeom prst="fram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spcBef>
                <a:spcPct val="20000"/>
              </a:spcBef>
              <a:buClr>
                <a:schemeClr val="accent1"/>
              </a:buClr>
              <a:buSzPct val="65000"/>
              <a:buFont typeface="Wingdings" panose="05000000000000000000" pitchFamily="2" charset="2"/>
              <a:buChar char="n"/>
              <a:defRPr/>
            </a:pPr>
            <a:endParaRPr lang="en-US">
              <a:solidFill>
                <a:schemeClr val="tx1"/>
              </a:solidFill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143508" y="0"/>
            <a:ext cx="3193503" cy="5539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Conventionally….</a:t>
            </a:r>
            <a:endParaRPr lang="en-US" dirty="0"/>
          </a:p>
        </p:txBody>
      </p:sp>
    </p:spTree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TW" dirty="0" smtClean="0"/>
              <a:t>Fat + Short </a:t>
            </a:r>
            <a:r>
              <a:rPr lang="en-US" altLang="zh-TW" dirty="0" err="1" smtClean="0"/>
              <a:t>v.s</a:t>
            </a:r>
            <a:r>
              <a:rPr lang="en-US" altLang="zh-TW" dirty="0" smtClean="0"/>
              <a:t>. Thin + Tall</a:t>
            </a:r>
            <a:endParaRPr lang="zh-TW" altLang="en-US" dirty="0"/>
          </a:p>
        </p:txBody>
      </p:sp>
      <p:sp>
        <p:nvSpPr>
          <p:cNvPr id="6" name="矩形 5"/>
          <p:cNvSpPr/>
          <p:nvPr/>
        </p:nvSpPr>
        <p:spPr>
          <a:xfrm rot="5400000">
            <a:off x="6149823" y="4483524"/>
            <a:ext cx="714976" cy="2524903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zh-TW" altLang="en-US" sz="1800">
              <a:solidFill>
                <a:prstClr val="black"/>
              </a:solidFill>
            </a:endParaRPr>
          </a:p>
        </p:txBody>
      </p:sp>
      <p:sp>
        <p:nvSpPr>
          <p:cNvPr id="7" name="矩形 6"/>
          <p:cNvSpPr/>
          <p:nvPr/>
        </p:nvSpPr>
        <p:spPr>
          <a:xfrm rot="5400000">
            <a:off x="6147437" y="3651090"/>
            <a:ext cx="714976" cy="196789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zh-TW" altLang="en-US" sz="1800">
              <a:solidFill>
                <a:prstClr val="black"/>
              </a:solidFill>
            </a:endParaRPr>
          </a:p>
        </p:txBody>
      </p:sp>
      <p:sp>
        <p:nvSpPr>
          <p:cNvPr id="8" name="矩形 7"/>
          <p:cNvSpPr/>
          <p:nvPr/>
        </p:nvSpPr>
        <p:spPr>
          <a:xfrm rot="5400000">
            <a:off x="6155580" y="2541201"/>
            <a:ext cx="714976" cy="1984173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zh-TW" altLang="en-US" sz="1800">
              <a:solidFill>
                <a:prstClr val="black"/>
              </a:solidFill>
            </a:endParaRPr>
          </a:p>
        </p:txBody>
      </p:sp>
      <p:sp>
        <p:nvSpPr>
          <p:cNvPr id="9" name="矩形 8"/>
          <p:cNvSpPr/>
          <p:nvPr/>
        </p:nvSpPr>
        <p:spPr>
          <a:xfrm rot="5400000">
            <a:off x="6113134" y="1393429"/>
            <a:ext cx="714976" cy="1769606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zh-TW" altLang="en-US" sz="1800">
              <a:solidFill>
                <a:prstClr val="black"/>
              </a:solidFill>
            </a:endParaRPr>
          </a:p>
        </p:txBody>
      </p:sp>
      <p:grpSp>
        <p:nvGrpSpPr>
          <p:cNvPr id="45" name="群組 44"/>
          <p:cNvGrpSpPr/>
          <p:nvPr/>
        </p:nvGrpSpPr>
        <p:grpSpPr>
          <a:xfrm>
            <a:off x="5414826" y="5343054"/>
            <a:ext cx="2283266" cy="556872"/>
            <a:chOff x="755858" y="5735182"/>
            <a:chExt cx="2283266" cy="556872"/>
          </a:xfrm>
        </p:grpSpPr>
        <p:grpSp>
          <p:nvGrpSpPr>
            <p:cNvPr id="77" name="群組 76"/>
            <p:cNvGrpSpPr/>
            <p:nvPr/>
          </p:nvGrpSpPr>
          <p:grpSpPr>
            <a:xfrm>
              <a:off x="755858" y="5895047"/>
              <a:ext cx="289125" cy="383103"/>
              <a:chOff x="2268775" y="3538012"/>
              <a:chExt cx="289125" cy="383103"/>
            </a:xfrm>
          </p:grpSpPr>
          <p:sp>
            <p:nvSpPr>
              <p:cNvPr id="85" name="矩形 84"/>
              <p:cNvSpPr/>
              <p:nvPr/>
            </p:nvSpPr>
            <p:spPr>
              <a:xfrm>
                <a:off x="2268775" y="3617002"/>
                <a:ext cx="289125" cy="284365"/>
              </a:xfrm>
              <a:prstGeom prst="rect">
                <a:avLst/>
              </a:prstGeom>
            </p:spPr>
            <p:style>
              <a:lnRef idx="1">
                <a:schemeClr val="accent4"/>
              </a:lnRef>
              <a:fillRef idx="2">
                <a:schemeClr val="accent4"/>
              </a:fillRef>
              <a:effectRef idx="1">
                <a:schemeClr val="accent4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zh-TW" altLang="en-US" sz="1800">
                  <a:solidFill>
                    <a:prstClr val="black"/>
                  </a:solidFill>
                </a:endParaRPr>
              </a:p>
            </p:txBody>
          </p:sp>
          <p:graphicFrame>
            <p:nvGraphicFramePr>
              <p:cNvPr id="86" name="Object 12"/>
              <p:cNvGraphicFramePr>
                <a:graphicFrameLocks noChangeAspect="1"/>
              </p:cNvGraphicFramePr>
              <p:nvPr>
                <p:extLst/>
              </p:nvPr>
            </p:nvGraphicFramePr>
            <p:xfrm>
              <a:off x="2279483" y="3538012"/>
              <a:ext cx="274401" cy="383103"/>
            </p:xfrm>
            <a:graphic>
              <a:graphicData uri="http://schemas.openxmlformats.org/presentationml/2006/ole">
                <mc:AlternateContent xmlns:mc="http://schemas.openxmlformats.org/markup-compatibility/2006">
                  <mc:Choice xmlns:v="urn:schemas-microsoft-com:vml" Requires="v">
                    <p:oleObj spid="_x0000_s158836" name="方程式" r:id="rId4" imgW="152268" imgH="215713" progId="Equation.3">
                      <p:embed/>
                    </p:oleObj>
                  </mc:Choice>
                  <mc:Fallback>
                    <p:oleObj name="方程式" r:id="rId4" imgW="152268" imgH="215713" progId="Equation.3">
                      <p:embed/>
                      <p:pic>
                        <p:nvPicPr>
                          <p:cNvPr id="0" name=""/>
                          <p:cNvPicPr>
                            <a:picLocks noChangeAspect="1" noChangeArrowheads="1"/>
                          </p:cNvPicPr>
                          <p:nvPr/>
                        </p:nvPicPr>
                        <p:blipFill>
                          <a:blip r:embed="rId5">
                            <a:extLst>
                              <a:ext uri="{28A0092B-C50C-407E-A947-70E740481C1C}">
                                <a14:useLocalDpi xmlns:a14="http://schemas.microsoft.com/office/drawing/2010/main" val="0"/>
                              </a:ext>
                            </a:extLst>
                          </a:blip>
                          <a:srcRect/>
                          <a:stretch>
                            <a:fillRect/>
                          </a:stretch>
                        </p:blipFill>
                        <p:spPr bwMode="auto">
                          <a:xfrm>
                            <a:off x="2279483" y="3538012"/>
                            <a:ext cx="274401" cy="383103"/>
                          </a:xfrm>
                          <a:prstGeom prst="rect">
                            <a:avLst/>
                          </a:prstGeom>
                          <a:noFill/>
                          <a:extLst>
                            <a:ext uri="{909E8E84-426E-40DD-AFC4-6F175D3DCCD1}">
                              <a14:hiddenFill xmlns:a14="http://schemas.microsoft.com/office/drawing/2010/main">
                                <a:solidFill>
                                  <a:srgbClr val="FFFFFF"/>
                                </a:solidFill>
                              </a14:hiddenFill>
                            </a:ext>
                          </a:extLst>
                        </p:spPr>
                      </p:pic>
                    </p:oleObj>
                  </mc:Fallback>
                </mc:AlternateContent>
              </a:graphicData>
            </a:graphic>
          </p:graphicFrame>
        </p:grpSp>
        <p:grpSp>
          <p:nvGrpSpPr>
            <p:cNvPr id="78" name="群組 77"/>
            <p:cNvGrpSpPr/>
            <p:nvPr/>
          </p:nvGrpSpPr>
          <p:grpSpPr>
            <a:xfrm>
              <a:off x="1456763" y="5895047"/>
              <a:ext cx="317234" cy="383104"/>
              <a:chOff x="2263870" y="4021266"/>
              <a:chExt cx="317234" cy="383104"/>
            </a:xfrm>
          </p:grpSpPr>
          <p:sp>
            <p:nvSpPr>
              <p:cNvPr id="83" name="矩形 82"/>
              <p:cNvSpPr/>
              <p:nvPr/>
            </p:nvSpPr>
            <p:spPr>
              <a:xfrm>
                <a:off x="2263870" y="4089974"/>
                <a:ext cx="289125" cy="284365"/>
              </a:xfrm>
              <a:prstGeom prst="rect">
                <a:avLst/>
              </a:prstGeom>
            </p:spPr>
            <p:style>
              <a:lnRef idx="1">
                <a:schemeClr val="accent4"/>
              </a:lnRef>
              <a:fillRef idx="2">
                <a:schemeClr val="accent4"/>
              </a:fillRef>
              <a:effectRef idx="1">
                <a:schemeClr val="accent4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zh-TW" altLang="en-US" sz="1800">
                  <a:solidFill>
                    <a:prstClr val="black"/>
                  </a:solidFill>
                </a:endParaRPr>
              </a:p>
            </p:txBody>
          </p:sp>
          <p:graphicFrame>
            <p:nvGraphicFramePr>
              <p:cNvPr id="84" name="Object 12"/>
              <p:cNvGraphicFramePr>
                <a:graphicFrameLocks noChangeAspect="1"/>
              </p:cNvGraphicFramePr>
              <p:nvPr>
                <p:extLst/>
              </p:nvPr>
            </p:nvGraphicFramePr>
            <p:xfrm>
              <a:off x="2283948" y="4021266"/>
              <a:ext cx="297156" cy="383104"/>
            </p:xfrm>
            <a:graphic>
              <a:graphicData uri="http://schemas.openxmlformats.org/presentationml/2006/ole">
                <mc:AlternateContent xmlns:mc="http://schemas.openxmlformats.org/markup-compatibility/2006">
                  <mc:Choice xmlns:v="urn:schemas-microsoft-com:vml" Requires="v">
                    <p:oleObj spid="_x0000_s158837" name="方程式" r:id="rId6" imgW="164885" imgH="215619" progId="Equation.3">
                      <p:embed/>
                    </p:oleObj>
                  </mc:Choice>
                  <mc:Fallback>
                    <p:oleObj name="方程式" r:id="rId6" imgW="164885" imgH="215619" progId="Equation.3">
                      <p:embed/>
                      <p:pic>
                        <p:nvPicPr>
                          <p:cNvPr id="0" name=""/>
                          <p:cNvPicPr>
                            <a:picLocks noChangeAspect="1" noChangeArrowheads="1"/>
                          </p:cNvPicPr>
                          <p:nvPr/>
                        </p:nvPicPr>
                        <p:blipFill>
                          <a:blip r:embed="rId7">
                            <a:extLst>
                              <a:ext uri="{28A0092B-C50C-407E-A947-70E740481C1C}">
                                <a14:useLocalDpi xmlns:a14="http://schemas.microsoft.com/office/drawing/2010/main" val="0"/>
                              </a:ext>
                            </a:extLst>
                          </a:blip>
                          <a:srcRect/>
                          <a:stretch>
                            <a:fillRect/>
                          </a:stretch>
                        </p:blipFill>
                        <p:spPr bwMode="auto">
                          <a:xfrm>
                            <a:off x="2283948" y="4021266"/>
                            <a:ext cx="297156" cy="383104"/>
                          </a:xfrm>
                          <a:prstGeom prst="rect">
                            <a:avLst/>
                          </a:prstGeom>
                          <a:noFill/>
                          <a:extLst>
                            <a:ext uri="{909E8E84-426E-40DD-AFC4-6F175D3DCCD1}">
                              <a14:hiddenFill xmlns:a14="http://schemas.microsoft.com/office/drawing/2010/main">
                                <a:solidFill>
                                  <a:srgbClr val="FFFFFF"/>
                                </a:solidFill>
                              </a14:hiddenFill>
                            </a:ext>
                          </a:extLst>
                        </p:spPr>
                      </p:pic>
                    </p:oleObj>
                  </mc:Fallback>
                </mc:AlternateContent>
              </a:graphicData>
            </a:graphic>
          </p:graphicFrame>
        </p:grpSp>
        <p:sp>
          <p:nvSpPr>
            <p:cNvPr id="79" name="文字方塊 78"/>
            <p:cNvSpPr txBox="1"/>
            <p:nvPr/>
          </p:nvSpPr>
          <p:spPr>
            <a:xfrm>
              <a:off x="1728860" y="5735182"/>
              <a:ext cx="1061391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</a:pPr>
              <a:r>
                <a:rPr lang="en-US" altLang="zh-TW" sz="2800" dirty="0">
                  <a:solidFill>
                    <a:prstClr val="black"/>
                  </a:solidFill>
                  <a:latin typeface="Calibri"/>
                </a:rPr>
                <a:t>……</a:t>
              </a:r>
              <a:endParaRPr lang="zh-TW" altLang="en-US" sz="2800" dirty="0">
                <a:solidFill>
                  <a:prstClr val="black"/>
                </a:solidFill>
                <a:latin typeface="Calibri"/>
              </a:endParaRPr>
            </a:p>
          </p:txBody>
        </p:sp>
        <p:grpSp>
          <p:nvGrpSpPr>
            <p:cNvPr id="80" name="群組 79"/>
            <p:cNvGrpSpPr/>
            <p:nvPr/>
          </p:nvGrpSpPr>
          <p:grpSpPr>
            <a:xfrm>
              <a:off x="2687405" y="5886570"/>
              <a:ext cx="351719" cy="405484"/>
              <a:chOff x="2257778" y="5192060"/>
              <a:chExt cx="351719" cy="405484"/>
            </a:xfrm>
          </p:grpSpPr>
          <p:sp>
            <p:nvSpPr>
              <p:cNvPr id="81" name="矩形 80"/>
              <p:cNvSpPr/>
              <p:nvPr/>
            </p:nvSpPr>
            <p:spPr>
              <a:xfrm>
                <a:off x="2257778" y="5273306"/>
                <a:ext cx="289125" cy="284365"/>
              </a:xfrm>
              <a:prstGeom prst="rect">
                <a:avLst/>
              </a:prstGeom>
            </p:spPr>
            <p:style>
              <a:lnRef idx="1">
                <a:schemeClr val="accent4"/>
              </a:lnRef>
              <a:fillRef idx="2">
                <a:schemeClr val="accent4"/>
              </a:fillRef>
              <a:effectRef idx="1">
                <a:schemeClr val="accent4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zh-TW" altLang="en-US" sz="1800">
                  <a:solidFill>
                    <a:prstClr val="black"/>
                  </a:solidFill>
                </a:endParaRPr>
              </a:p>
            </p:txBody>
          </p:sp>
          <p:graphicFrame>
            <p:nvGraphicFramePr>
              <p:cNvPr id="82" name="Object 12"/>
              <p:cNvGraphicFramePr>
                <a:graphicFrameLocks noChangeAspect="1"/>
              </p:cNvGraphicFramePr>
              <p:nvPr>
                <p:extLst/>
              </p:nvPr>
            </p:nvGraphicFramePr>
            <p:xfrm>
              <a:off x="2266830" y="5192060"/>
              <a:ext cx="342667" cy="405484"/>
            </p:xfrm>
            <a:graphic>
              <a:graphicData uri="http://schemas.openxmlformats.org/presentationml/2006/ole">
                <mc:AlternateContent xmlns:mc="http://schemas.openxmlformats.org/markup-compatibility/2006">
                  <mc:Choice xmlns:v="urn:schemas-microsoft-com:vml" Requires="v">
                    <p:oleObj spid="_x0000_s158838" name="方程式" r:id="rId8" imgW="190500" imgH="228600" progId="Equation.3">
                      <p:embed/>
                    </p:oleObj>
                  </mc:Choice>
                  <mc:Fallback>
                    <p:oleObj name="方程式" r:id="rId8" imgW="190500" imgH="228600" progId="Equation.3">
                      <p:embed/>
                      <p:pic>
                        <p:nvPicPr>
                          <p:cNvPr id="0" name=""/>
                          <p:cNvPicPr>
                            <a:picLocks noChangeAspect="1" noChangeArrowheads="1"/>
                          </p:cNvPicPr>
                          <p:nvPr/>
                        </p:nvPicPr>
                        <p:blipFill>
                          <a:blip r:embed="rId9">
                            <a:extLst>
                              <a:ext uri="{28A0092B-C50C-407E-A947-70E740481C1C}">
                                <a14:useLocalDpi xmlns:a14="http://schemas.microsoft.com/office/drawing/2010/main" val="0"/>
                              </a:ext>
                            </a:extLst>
                          </a:blip>
                          <a:srcRect/>
                          <a:stretch>
                            <a:fillRect/>
                          </a:stretch>
                        </p:blipFill>
                        <p:spPr bwMode="auto">
                          <a:xfrm>
                            <a:off x="2266830" y="5192060"/>
                            <a:ext cx="342667" cy="405484"/>
                          </a:xfrm>
                          <a:prstGeom prst="rect">
                            <a:avLst/>
                          </a:prstGeom>
                          <a:noFill/>
                          <a:extLst>
                            <a:ext uri="{909E8E84-426E-40DD-AFC4-6F175D3DCCD1}">
                              <a14:hiddenFill xmlns:a14="http://schemas.microsoft.com/office/drawing/2010/main">
                                <a:solidFill>
                                  <a:srgbClr val="FFFFFF"/>
                                </a:solidFill>
                              </a14:hiddenFill>
                            </a:ext>
                          </a:extLst>
                        </p:spPr>
                      </p:pic>
                    </p:oleObj>
                  </mc:Fallback>
                </mc:AlternateContent>
              </a:graphicData>
            </a:graphic>
          </p:graphicFrame>
        </p:grpSp>
      </p:grpSp>
      <p:sp>
        <p:nvSpPr>
          <p:cNvPr id="46" name="橢圓 45"/>
          <p:cNvSpPr/>
          <p:nvPr/>
        </p:nvSpPr>
        <p:spPr>
          <a:xfrm>
            <a:off x="5713181" y="4418969"/>
            <a:ext cx="484116" cy="476147"/>
          </a:xfrm>
          <a:prstGeom prst="ellipse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zh-TW" altLang="en-US" sz="1800">
              <a:solidFill>
                <a:prstClr val="black"/>
              </a:solidFill>
            </a:endParaRPr>
          </a:p>
        </p:txBody>
      </p:sp>
      <p:sp>
        <p:nvSpPr>
          <p:cNvPr id="47" name="橢圓 46"/>
          <p:cNvSpPr/>
          <p:nvPr/>
        </p:nvSpPr>
        <p:spPr>
          <a:xfrm>
            <a:off x="6828491" y="4386146"/>
            <a:ext cx="484116" cy="476147"/>
          </a:xfrm>
          <a:prstGeom prst="ellipse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zh-TW" altLang="en-US" sz="1800">
              <a:solidFill>
                <a:prstClr val="black"/>
              </a:solidFill>
            </a:endParaRPr>
          </a:p>
        </p:txBody>
      </p:sp>
      <p:cxnSp>
        <p:nvCxnSpPr>
          <p:cNvPr id="50" name="直線單箭頭接點 49"/>
          <p:cNvCxnSpPr/>
          <p:nvPr/>
        </p:nvCxnSpPr>
        <p:spPr>
          <a:xfrm flipH="1" flipV="1">
            <a:off x="5941237" y="4921949"/>
            <a:ext cx="341060" cy="649680"/>
          </a:xfrm>
          <a:prstGeom prst="straightConnector1">
            <a:avLst/>
          </a:prstGeom>
          <a:ln w="254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直線單箭頭接點 50"/>
          <p:cNvCxnSpPr>
            <a:endCxn id="47" idx="4"/>
          </p:cNvCxnSpPr>
          <p:nvPr/>
        </p:nvCxnSpPr>
        <p:spPr>
          <a:xfrm flipH="1" flipV="1">
            <a:off x="7070549" y="4862293"/>
            <a:ext cx="437011" cy="725747"/>
          </a:xfrm>
          <a:prstGeom prst="straightConnector1">
            <a:avLst/>
          </a:prstGeom>
          <a:ln w="254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直線單箭頭接點 51"/>
          <p:cNvCxnSpPr>
            <a:endCxn id="46" idx="4"/>
          </p:cNvCxnSpPr>
          <p:nvPr/>
        </p:nvCxnSpPr>
        <p:spPr>
          <a:xfrm flipH="1" flipV="1">
            <a:off x="5955239" y="4895116"/>
            <a:ext cx="1571012" cy="745219"/>
          </a:xfrm>
          <a:prstGeom prst="straightConnector1">
            <a:avLst/>
          </a:prstGeom>
          <a:ln w="254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直線單箭頭接點 53"/>
          <p:cNvCxnSpPr>
            <a:stCxn id="86" idx="0"/>
            <a:endCxn id="46" idx="4"/>
          </p:cNvCxnSpPr>
          <p:nvPr/>
        </p:nvCxnSpPr>
        <p:spPr>
          <a:xfrm flipV="1">
            <a:off x="5562734" y="4895116"/>
            <a:ext cx="392505" cy="607803"/>
          </a:xfrm>
          <a:prstGeom prst="straightConnector1">
            <a:avLst/>
          </a:prstGeom>
          <a:ln w="254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直線單箭頭接點 54"/>
          <p:cNvCxnSpPr>
            <a:stCxn id="84" idx="0"/>
            <a:endCxn id="47" idx="4"/>
          </p:cNvCxnSpPr>
          <p:nvPr/>
        </p:nvCxnSpPr>
        <p:spPr>
          <a:xfrm flipV="1">
            <a:off x="6284387" y="4862293"/>
            <a:ext cx="786162" cy="640626"/>
          </a:xfrm>
          <a:prstGeom prst="straightConnector1">
            <a:avLst/>
          </a:prstGeom>
          <a:ln w="254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橢圓 56"/>
          <p:cNvSpPr/>
          <p:nvPr/>
        </p:nvSpPr>
        <p:spPr>
          <a:xfrm>
            <a:off x="5692478" y="3257555"/>
            <a:ext cx="484116" cy="476147"/>
          </a:xfrm>
          <a:prstGeom prst="ellipse">
            <a:avLst/>
          </a:prstGeo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zh-TW" altLang="en-US" sz="1800">
              <a:solidFill>
                <a:prstClr val="black"/>
              </a:solidFill>
            </a:endParaRPr>
          </a:p>
        </p:txBody>
      </p:sp>
      <p:sp>
        <p:nvSpPr>
          <p:cNvPr id="58" name="橢圓 57"/>
          <p:cNvSpPr/>
          <p:nvPr/>
        </p:nvSpPr>
        <p:spPr>
          <a:xfrm>
            <a:off x="6817987" y="3275939"/>
            <a:ext cx="484116" cy="476147"/>
          </a:xfrm>
          <a:prstGeom prst="ellipse">
            <a:avLst/>
          </a:prstGeo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zh-TW" altLang="en-US" sz="1800">
              <a:solidFill>
                <a:prstClr val="black"/>
              </a:solidFill>
            </a:endParaRPr>
          </a:p>
        </p:txBody>
      </p:sp>
      <p:sp>
        <p:nvSpPr>
          <p:cNvPr id="61" name="橢圓 60"/>
          <p:cNvSpPr/>
          <p:nvPr/>
        </p:nvSpPr>
        <p:spPr>
          <a:xfrm>
            <a:off x="5694883" y="2005207"/>
            <a:ext cx="484116" cy="476147"/>
          </a:xfrm>
          <a:prstGeom prst="ellipse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zh-TW" altLang="en-US" sz="1800">
              <a:solidFill>
                <a:prstClr val="black"/>
              </a:solidFill>
            </a:endParaRPr>
          </a:p>
        </p:txBody>
      </p:sp>
      <p:sp>
        <p:nvSpPr>
          <p:cNvPr id="62" name="橢圓 61"/>
          <p:cNvSpPr/>
          <p:nvPr/>
        </p:nvSpPr>
        <p:spPr>
          <a:xfrm>
            <a:off x="6808838" y="1990978"/>
            <a:ext cx="484116" cy="476147"/>
          </a:xfrm>
          <a:prstGeom prst="ellipse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zh-TW" altLang="en-US" sz="1800">
              <a:solidFill>
                <a:prstClr val="black"/>
              </a:solidFill>
            </a:endParaRPr>
          </a:p>
        </p:txBody>
      </p:sp>
      <p:cxnSp>
        <p:nvCxnSpPr>
          <p:cNvPr id="63" name="直線單箭頭接點 62"/>
          <p:cNvCxnSpPr>
            <a:stCxn id="57" idx="0"/>
            <a:endCxn id="61" idx="4"/>
          </p:cNvCxnSpPr>
          <p:nvPr/>
        </p:nvCxnSpPr>
        <p:spPr>
          <a:xfrm flipV="1">
            <a:off x="5934536" y="2481354"/>
            <a:ext cx="2405" cy="776201"/>
          </a:xfrm>
          <a:prstGeom prst="straightConnector1">
            <a:avLst/>
          </a:prstGeom>
          <a:ln w="254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直線單箭頭接點 63"/>
          <p:cNvCxnSpPr>
            <a:stCxn id="58" idx="0"/>
            <a:endCxn id="61" idx="4"/>
          </p:cNvCxnSpPr>
          <p:nvPr/>
        </p:nvCxnSpPr>
        <p:spPr>
          <a:xfrm flipH="1" flipV="1">
            <a:off x="5936941" y="2481354"/>
            <a:ext cx="1123104" cy="794585"/>
          </a:xfrm>
          <a:prstGeom prst="straightConnector1">
            <a:avLst/>
          </a:prstGeom>
          <a:ln w="254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直線單箭頭接點 66"/>
          <p:cNvCxnSpPr>
            <a:stCxn id="58" idx="0"/>
            <a:endCxn id="62" idx="4"/>
          </p:cNvCxnSpPr>
          <p:nvPr/>
        </p:nvCxnSpPr>
        <p:spPr>
          <a:xfrm flipH="1" flipV="1">
            <a:off x="7050896" y="2467125"/>
            <a:ext cx="9149" cy="808814"/>
          </a:xfrm>
          <a:prstGeom prst="straightConnector1">
            <a:avLst/>
          </a:prstGeom>
          <a:ln w="254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直線單箭頭接點 67"/>
          <p:cNvCxnSpPr>
            <a:stCxn id="57" idx="0"/>
            <a:endCxn id="62" idx="4"/>
          </p:cNvCxnSpPr>
          <p:nvPr/>
        </p:nvCxnSpPr>
        <p:spPr>
          <a:xfrm flipV="1">
            <a:off x="5934536" y="2467125"/>
            <a:ext cx="1116360" cy="790430"/>
          </a:xfrm>
          <a:prstGeom prst="straightConnector1">
            <a:avLst/>
          </a:prstGeom>
          <a:ln w="254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8" name="文字方塊 87"/>
          <p:cNvSpPr txBox="1"/>
          <p:nvPr/>
        </p:nvSpPr>
        <p:spPr>
          <a:xfrm>
            <a:off x="5263063" y="6119354"/>
            <a:ext cx="247748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altLang="zh-TW" sz="2800" dirty="0">
                <a:solidFill>
                  <a:prstClr val="black"/>
                </a:solidFill>
                <a:latin typeface="Calibri"/>
              </a:rPr>
              <a:t>Deep</a:t>
            </a:r>
            <a:endParaRPr lang="zh-TW" altLang="en-US" sz="2800" dirty="0">
              <a:solidFill>
                <a:prstClr val="black"/>
              </a:solidFill>
              <a:latin typeface="Calibri"/>
            </a:endParaRPr>
          </a:p>
        </p:txBody>
      </p:sp>
      <p:cxnSp>
        <p:nvCxnSpPr>
          <p:cNvPr id="91" name="直線單箭頭接點 90"/>
          <p:cNvCxnSpPr/>
          <p:nvPr/>
        </p:nvCxnSpPr>
        <p:spPr>
          <a:xfrm flipV="1">
            <a:off x="5936941" y="1606868"/>
            <a:ext cx="8602" cy="397294"/>
          </a:xfrm>
          <a:prstGeom prst="straightConnector1">
            <a:avLst/>
          </a:prstGeom>
          <a:ln w="254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2" name="直線單箭頭接點 91"/>
          <p:cNvCxnSpPr/>
          <p:nvPr/>
        </p:nvCxnSpPr>
        <p:spPr>
          <a:xfrm flipV="1">
            <a:off x="7060045" y="1592639"/>
            <a:ext cx="8602" cy="397294"/>
          </a:xfrm>
          <a:prstGeom prst="straightConnector1">
            <a:avLst/>
          </a:prstGeom>
          <a:ln w="254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28" name="群組 127"/>
          <p:cNvGrpSpPr/>
          <p:nvPr/>
        </p:nvGrpSpPr>
        <p:grpSpPr>
          <a:xfrm>
            <a:off x="361950" y="2795203"/>
            <a:ext cx="4495802" cy="3854835"/>
            <a:chOff x="361950" y="2795203"/>
            <a:chExt cx="4495802" cy="3854835"/>
          </a:xfrm>
        </p:grpSpPr>
        <p:sp>
          <p:nvSpPr>
            <p:cNvPr id="4" name="矩形 3"/>
            <p:cNvSpPr/>
            <p:nvPr/>
          </p:nvSpPr>
          <p:spPr>
            <a:xfrm rot="5400000">
              <a:off x="2252363" y="2404343"/>
              <a:ext cx="714976" cy="4495802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zh-TW" altLang="en-US" sz="1800">
                <a:solidFill>
                  <a:prstClr val="black"/>
                </a:solidFill>
              </a:endParaRPr>
            </a:p>
          </p:txBody>
        </p:sp>
        <p:sp>
          <p:nvSpPr>
            <p:cNvPr id="5" name="矩形 4"/>
            <p:cNvSpPr/>
            <p:nvPr/>
          </p:nvSpPr>
          <p:spPr>
            <a:xfrm rot="5400000">
              <a:off x="2195397" y="2432167"/>
              <a:ext cx="714976" cy="201719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zh-TW" altLang="en-US" sz="1800">
                <a:solidFill>
                  <a:prstClr val="black"/>
                </a:solidFill>
              </a:endParaRPr>
            </a:p>
          </p:txBody>
        </p:sp>
        <p:sp>
          <p:nvSpPr>
            <p:cNvPr id="10" name="矩形 9"/>
            <p:cNvSpPr/>
            <p:nvPr/>
          </p:nvSpPr>
          <p:spPr>
            <a:xfrm rot="5400000">
              <a:off x="2331114" y="4469637"/>
              <a:ext cx="491526" cy="2564728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zh-TW" altLang="en-US" sz="1800">
                <a:solidFill>
                  <a:prstClr val="black"/>
                </a:solidFill>
              </a:endParaRPr>
            </a:p>
          </p:txBody>
        </p:sp>
        <p:grpSp>
          <p:nvGrpSpPr>
            <p:cNvPr id="11" name="群組 10"/>
            <p:cNvGrpSpPr/>
            <p:nvPr/>
          </p:nvGrpSpPr>
          <p:grpSpPr>
            <a:xfrm>
              <a:off x="1351533" y="3162509"/>
              <a:ext cx="2474555" cy="2765327"/>
              <a:chOff x="1091509" y="3383234"/>
              <a:chExt cx="2474555" cy="2765327"/>
            </a:xfrm>
          </p:grpSpPr>
          <p:sp>
            <p:nvSpPr>
              <p:cNvPr id="12" name="橢圓 11"/>
              <p:cNvSpPr/>
              <p:nvPr/>
            </p:nvSpPr>
            <p:spPr>
              <a:xfrm>
                <a:off x="1091509" y="4646168"/>
                <a:ext cx="484116" cy="476147"/>
              </a:xfrm>
              <a:prstGeom prst="ellipse">
                <a:avLst/>
              </a:prstGeom>
            </p:spPr>
            <p:style>
              <a:lnRef idx="1">
                <a:schemeClr val="accent1"/>
              </a:lnRef>
              <a:fillRef idx="2">
                <a:schemeClr val="accent1"/>
              </a:fillRef>
              <a:effectRef idx="1">
                <a:schemeClr val="accent1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zh-TW" altLang="en-US" sz="1800">
                  <a:solidFill>
                    <a:prstClr val="black"/>
                  </a:solidFill>
                </a:endParaRPr>
              </a:p>
            </p:txBody>
          </p:sp>
          <p:grpSp>
            <p:nvGrpSpPr>
              <p:cNvPr id="13" name="群組 12"/>
              <p:cNvGrpSpPr/>
              <p:nvPr/>
            </p:nvGrpSpPr>
            <p:grpSpPr>
              <a:xfrm>
                <a:off x="1211127" y="5591689"/>
                <a:ext cx="2283266" cy="556872"/>
                <a:chOff x="755858" y="5735182"/>
                <a:chExt cx="2283266" cy="556872"/>
              </a:xfrm>
            </p:grpSpPr>
            <p:grpSp>
              <p:nvGrpSpPr>
                <p:cNvPr id="33" name="群組 32"/>
                <p:cNvGrpSpPr/>
                <p:nvPr/>
              </p:nvGrpSpPr>
              <p:grpSpPr>
                <a:xfrm>
                  <a:off x="755858" y="5895047"/>
                  <a:ext cx="289125" cy="383103"/>
                  <a:chOff x="2268775" y="3538012"/>
                  <a:chExt cx="289125" cy="383103"/>
                </a:xfrm>
              </p:grpSpPr>
              <p:sp>
                <p:nvSpPr>
                  <p:cNvPr id="41" name="矩形 40"/>
                  <p:cNvSpPr/>
                  <p:nvPr/>
                </p:nvSpPr>
                <p:spPr>
                  <a:xfrm>
                    <a:off x="2268775" y="3617002"/>
                    <a:ext cx="289125" cy="284365"/>
                  </a:xfrm>
                  <a:prstGeom prst="rect">
                    <a:avLst/>
                  </a:prstGeom>
                </p:spPr>
                <p:style>
                  <a:lnRef idx="1">
                    <a:schemeClr val="accent4"/>
                  </a:lnRef>
                  <a:fillRef idx="2">
                    <a:schemeClr val="accent4"/>
                  </a:fillRef>
                  <a:effectRef idx="1">
                    <a:schemeClr val="accent4"/>
                  </a:effectRef>
                  <a:fontRef idx="minor">
                    <a:schemeClr val="dk1"/>
                  </a:fontRef>
                </p:style>
                <p:txBody>
                  <a:bodyPr rtlCol="0" anchor="ctr"/>
                  <a:lstStyle/>
                  <a:p>
                    <a:pPr algn="ctr" eaLnBrk="1" fontAlgn="auto" hangingPunct="1">
                      <a:spcBef>
                        <a:spcPts val="0"/>
                      </a:spcBef>
                      <a:spcAft>
                        <a:spcPts val="0"/>
                      </a:spcAft>
                    </a:pPr>
                    <a:endParaRPr lang="zh-TW" altLang="en-US" sz="1800">
                      <a:solidFill>
                        <a:prstClr val="black"/>
                      </a:solidFill>
                    </a:endParaRPr>
                  </a:p>
                </p:txBody>
              </p:sp>
              <p:graphicFrame>
                <p:nvGraphicFramePr>
                  <p:cNvPr id="42" name="Object 12"/>
                  <p:cNvGraphicFramePr>
                    <a:graphicFrameLocks noChangeAspect="1"/>
                  </p:cNvGraphicFramePr>
                  <p:nvPr>
                    <p:extLst/>
                  </p:nvPr>
                </p:nvGraphicFramePr>
                <p:xfrm>
                  <a:off x="2279483" y="3538012"/>
                  <a:ext cx="274401" cy="383103"/>
                </p:xfrm>
                <a:graphic>
                  <a:graphicData uri="http://schemas.openxmlformats.org/presentationml/2006/ole">
                    <mc:AlternateContent xmlns:mc="http://schemas.openxmlformats.org/markup-compatibility/2006">
                      <mc:Choice xmlns:v="urn:schemas-microsoft-com:vml" Requires="v">
                        <p:oleObj spid="_x0000_s158839" name="方程式" r:id="rId10" imgW="152268" imgH="215713" progId="Equation.3">
                          <p:embed/>
                        </p:oleObj>
                      </mc:Choice>
                      <mc:Fallback>
                        <p:oleObj name="方程式" r:id="rId10" imgW="152268" imgH="215713" progId="Equation.3">
                          <p:embed/>
                          <p:pic>
                            <p:nvPicPr>
                              <p:cNvPr id="0" name=""/>
                              <p:cNvPicPr>
                                <a:picLocks noChangeAspect="1" noChangeArrowheads="1"/>
                              </p:cNvPicPr>
                              <p:nvPr/>
                            </p:nvPicPr>
                            <p:blipFill>
                              <a:blip r:embed="rId5">
                                <a:extLst>
                                  <a:ext uri="{28A0092B-C50C-407E-A947-70E740481C1C}">
                                    <a14:useLocalDpi xmlns:a14="http://schemas.microsoft.com/office/drawing/2010/main" val="0"/>
                                  </a:ext>
                                </a:extLst>
                              </a:blip>
                              <a:srcRect/>
                              <a:stretch>
                                <a:fillRect/>
                              </a:stretch>
                            </p:blipFill>
                            <p:spPr bwMode="auto">
                              <a:xfrm>
                                <a:off x="2279483" y="3538012"/>
                                <a:ext cx="274401" cy="383103"/>
                              </a:xfrm>
                              <a:prstGeom prst="rect">
                                <a:avLst/>
                              </a:prstGeom>
                              <a:noFill/>
                              <a:extLst>
                                <a:ext uri="{909E8E84-426E-40DD-AFC4-6F175D3DCCD1}">
                                  <a14:hiddenFill xmlns:a14="http://schemas.microsoft.com/office/drawing/2010/main">
                                    <a:solidFill>
                                      <a:srgbClr val="FFFFFF"/>
                                    </a:solidFill>
                                  </a14:hiddenFill>
                                </a:ext>
                              </a:extLst>
                            </p:spPr>
                          </p:pic>
                        </p:oleObj>
                      </mc:Fallback>
                    </mc:AlternateContent>
                  </a:graphicData>
                </a:graphic>
              </p:graphicFrame>
            </p:grpSp>
            <p:grpSp>
              <p:nvGrpSpPr>
                <p:cNvPr id="34" name="群組 33"/>
                <p:cNvGrpSpPr/>
                <p:nvPr/>
              </p:nvGrpSpPr>
              <p:grpSpPr>
                <a:xfrm>
                  <a:off x="1456763" y="5895047"/>
                  <a:ext cx="317234" cy="383104"/>
                  <a:chOff x="2263870" y="4021266"/>
                  <a:chExt cx="317234" cy="383104"/>
                </a:xfrm>
              </p:grpSpPr>
              <p:sp>
                <p:nvSpPr>
                  <p:cNvPr id="39" name="矩形 38"/>
                  <p:cNvSpPr/>
                  <p:nvPr/>
                </p:nvSpPr>
                <p:spPr>
                  <a:xfrm>
                    <a:off x="2263870" y="4089974"/>
                    <a:ext cx="289125" cy="284365"/>
                  </a:xfrm>
                  <a:prstGeom prst="rect">
                    <a:avLst/>
                  </a:prstGeom>
                </p:spPr>
                <p:style>
                  <a:lnRef idx="1">
                    <a:schemeClr val="accent4"/>
                  </a:lnRef>
                  <a:fillRef idx="2">
                    <a:schemeClr val="accent4"/>
                  </a:fillRef>
                  <a:effectRef idx="1">
                    <a:schemeClr val="accent4"/>
                  </a:effectRef>
                  <a:fontRef idx="minor">
                    <a:schemeClr val="dk1"/>
                  </a:fontRef>
                </p:style>
                <p:txBody>
                  <a:bodyPr rtlCol="0" anchor="ctr"/>
                  <a:lstStyle/>
                  <a:p>
                    <a:pPr algn="ctr" eaLnBrk="1" fontAlgn="auto" hangingPunct="1">
                      <a:spcBef>
                        <a:spcPts val="0"/>
                      </a:spcBef>
                      <a:spcAft>
                        <a:spcPts val="0"/>
                      </a:spcAft>
                    </a:pPr>
                    <a:endParaRPr lang="zh-TW" altLang="en-US" sz="1800">
                      <a:solidFill>
                        <a:prstClr val="black"/>
                      </a:solidFill>
                    </a:endParaRPr>
                  </a:p>
                </p:txBody>
              </p:sp>
              <p:graphicFrame>
                <p:nvGraphicFramePr>
                  <p:cNvPr id="40" name="Object 12"/>
                  <p:cNvGraphicFramePr>
                    <a:graphicFrameLocks noChangeAspect="1"/>
                  </p:cNvGraphicFramePr>
                  <p:nvPr>
                    <p:extLst/>
                  </p:nvPr>
                </p:nvGraphicFramePr>
                <p:xfrm>
                  <a:off x="2283948" y="4021266"/>
                  <a:ext cx="297156" cy="383104"/>
                </p:xfrm>
                <a:graphic>
                  <a:graphicData uri="http://schemas.openxmlformats.org/presentationml/2006/ole">
                    <mc:AlternateContent xmlns:mc="http://schemas.openxmlformats.org/markup-compatibility/2006">
                      <mc:Choice xmlns:v="urn:schemas-microsoft-com:vml" Requires="v">
                        <p:oleObj spid="_x0000_s158840" name="方程式" r:id="rId11" imgW="164885" imgH="215619" progId="Equation.3">
                          <p:embed/>
                        </p:oleObj>
                      </mc:Choice>
                      <mc:Fallback>
                        <p:oleObj name="方程式" r:id="rId11" imgW="164885" imgH="215619" progId="Equation.3">
                          <p:embed/>
                          <p:pic>
                            <p:nvPicPr>
                              <p:cNvPr id="0" name=""/>
                              <p:cNvPicPr>
                                <a:picLocks noChangeAspect="1" noChangeArrowheads="1"/>
                              </p:cNvPicPr>
                              <p:nvPr/>
                            </p:nvPicPr>
                            <p:blipFill>
                              <a:blip r:embed="rId7">
                                <a:extLst>
                                  <a:ext uri="{28A0092B-C50C-407E-A947-70E740481C1C}">
                                    <a14:useLocalDpi xmlns:a14="http://schemas.microsoft.com/office/drawing/2010/main" val="0"/>
                                  </a:ext>
                                </a:extLst>
                              </a:blip>
                              <a:srcRect/>
                              <a:stretch>
                                <a:fillRect/>
                              </a:stretch>
                            </p:blipFill>
                            <p:spPr bwMode="auto">
                              <a:xfrm>
                                <a:off x="2283948" y="4021266"/>
                                <a:ext cx="297156" cy="383104"/>
                              </a:xfrm>
                              <a:prstGeom prst="rect">
                                <a:avLst/>
                              </a:prstGeom>
                              <a:noFill/>
                              <a:extLst>
                                <a:ext uri="{909E8E84-426E-40DD-AFC4-6F175D3DCCD1}">
                                  <a14:hiddenFill xmlns:a14="http://schemas.microsoft.com/office/drawing/2010/main">
                                    <a:solidFill>
                                      <a:srgbClr val="FFFFFF"/>
                                    </a:solidFill>
                                  </a14:hiddenFill>
                                </a:ext>
                              </a:extLst>
                            </p:spPr>
                          </p:pic>
                        </p:oleObj>
                      </mc:Fallback>
                    </mc:AlternateContent>
                  </a:graphicData>
                </a:graphic>
              </p:graphicFrame>
            </p:grpSp>
            <p:sp>
              <p:nvSpPr>
                <p:cNvPr id="35" name="文字方塊 34"/>
                <p:cNvSpPr txBox="1"/>
                <p:nvPr/>
              </p:nvSpPr>
              <p:spPr>
                <a:xfrm>
                  <a:off x="1728860" y="5735182"/>
                  <a:ext cx="1061391" cy="523220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</a:pPr>
                  <a:r>
                    <a:rPr lang="en-US" altLang="zh-TW" sz="2800" dirty="0">
                      <a:solidFill>
                        <a:prstClr val="black"/>
                      </a:solidFill>
                      <a:latin typeface="Calibri"/>
                    </a:rPr>
                    <a:t>……</a:t>
                  </a:r>
                  <a:endParaRPr lang="zh-TW" altLang="en-US" sz="2800" dirty="0">
                    <a:solidFill>
                      <a:prstClr val="black"/>
                    </a:solidFill>
                    <a:latin typeface="Calibri"/>
                  </a:endParaRPr>
                </a:p>
              </p:txBody>
            </p:sp>
            <p:grpSp>
              <p:nvGrpSpPr>
                <p:cNvPr id="36" name="群組 35"/>
                <p:cNvGrpSpPr/>
                <p:nvPr/>
              </p:nvGrpSpPr>
              <p:grpSpPr>
                <a:xfrm>
                  <a:off x="2687405" y="5886570"/>
                  <a:ext cx="351719" cy="405484"/>
                  <a:chOff x="2257778" y="5192060"/>
                  <a:chExt cx="351719" cy="405484"/>
                </a:xfrm>
              </p:grpSpPr>
              <p:sp>
                <p:nvSpPr>
                  <p:cNvPr id="37" name="矩形 36"/>
                  <p:cNvSpPr/>
                  <p:nvPr/>
                </p:nvSpPr>
                <p:spPr>
                  <a:xfrm>
                    <a:off x="2257778" y="5273306"/>
                    <a:ext cx="289125" cy="284365"/>
                  </a:xfrm>
                  <a:prstGeom prst="rect">
                    <a:avLst/>
                  </a:prstGeom>
                </p:spPr>
                <p:style>
                  <a:lnRef idx="1">
                    <a:schemeClr val="accent4"/>
                  </a:lnRef>
                  <a:fillRef idx="2">
                    <a:schemeClr val="accent4"/>
                  </a:fillRef>
                  <a:effectRef idx="1">
                    <a:schemeClr val="accent4"/>
                  </a:effectRef>
                  <a:fontRef idx="minor">
                    <a:schemeClr val="dk1"/>
                  </a:fontRef>
                </p:style>
                <p:txBody>
                  <a:bodyPr rtlCol="0" anchor="ctr"/>
                  <a:lstStyle/>
                  <a:p>
                    <a:pPr algn="ctr" eaLnBrk="1" fontAlgn="auto" hangingPunct="1">
                      <a:spcBef>
                        <a:spcPts val="0"/>
                      </a:spcBef>
                      <a:spcAft>
                        <a:spcPts val="0"/>
                      </a:spcAft>
                    </a:pPr>
                    <a:endParaRPr lang="zh-TW" altLang="en-US" sz="1800">
                      <a:solidFill>
                        <a:prstClr val="black"/>
                      </a:solidFill>
                    </a:endParaRPr>
                  </a:p>
                </p:txBody>
              </p:sp>
              <p:graphicFrame>
                <p:nvGraphicFramePr>
                  <p:cNvPr id="38" name="Object 12"/>
                  <p:cNvGraphicFramePr>
                    <a:graphicFrameLocks noChangeAspect="1"/>
                  </p:cNvGraphicFramePr>
                  <p:nvPr>
                    <p:extLst/>
                  </p:nvPr>
                </p:nvGraphicFramePr>
                <p:xfrm>
                  <a:off x="2266830" y="5192060"/>
                  <a:ext cx="342667" cy="405484"/>
                </p:xfrm>
                <a:graphic>
                  <a:graphicData uri="http://schemas.openxmlformats.org/presentationml/2006/ole">
                    <mc:AlternateContent xmlns:mc="http://schemas.openxmlformats.org/markup-compatibility/2006">
                      <mc:Choice xmlns:v="urn:schemas-microsoft-com:vml" Requires="v">
                        <p:oleObj spid="_x0000_s158841" name="方程式" r:id="rId12" imgW="190500" imgH="228600" progId="Equation.3">
                          <p:embed/>
                        </p:oleObj>
                      </mc:Choice>
                      <mc:Fallback>
                        <p:oleObj name="方程式" r:id="rId12" imgW="190500" imgH="228600" progId="Equation.3">
                          <p:embed/>
                          <p:pic>
                            <p:nvPicPr>
                              <p:cNvPr id="0" name=""/>
                              <p:cNvPicPr>
                                <a:picLocks noChangeAspect="1" noChangeArrowheads="1"/>
                              </p:cNvPicPr>
                              <p:nvPr/>
                            </p:nvPicPr>
                            <p:blipFill>
                              <a:blip r:embed="rId9">
                                <a:extLst>
                                  <a:ext uri="{28A0092B-C50C-407E-A947-70E740481C1C}">
                                    <a14:useLocalDpi xmlns:a14="http://schemas.microsoft.com/office/drawing/2010/main" val="0"/>
                                  </a:ext>
                                </a:extLst>
                              </a:blip>
                              <a:srcRect/>
                              <a:stretch>
                                <a:fillRect/>
                              </a:stretch>
                            </p:blipFill>
                            <p:spPr bwMode="auto">
                              <a:xfrm>
                                <a:off x="2266830" y="5192060"/>
                                <a:ext cx="342667" cy="405484"/>
                              </a:xfrm>
                              <a:prstGeom prst="rect">
                                <a:avLst/>
                              </a:prstGeom>
                              <a:noFill/>
                              <a:extLst>
                                <a:ext uri="{909E8E84-426E-40DD-AFC4-6F175D3DCCD1}">
                                  <a14:hiddenFill xmlns:a14="http://schemas.microsoft.com/office/drawing/2010/main">
                                    <a:solidFill>
                                      <a:srgbClr val="FFFFFF"/>
                                    </a:solidFill>
                                  </a14:hiddenFill>
                                </a:ext>
                              </a:extLst>
                            </p:spPr>
                          </p:pic>
                        </p:oleObj>
                      </mc:Fallback>
                    </mc:AlternateContent>
                  </a:graphicData>
                </a:graphic>
              </p:graphicFrame>
            </p:grpSp>
          </p:grpSp>
          <p:sp>
            <p:nvSpPr>
              <p:cNvPr id="14" name="橢圓 13"/>
              <p:cNvSpPr/>
              <p:nvPr/>
            </p:nvSpPr>
            <p:spPr>
              <a:xfrm>
                <a:off x="1836539" y="4666527"/>
                <a:ext cx="484116" cy="476147"/>
              </a:xfrm>
              <a:prstGeom prst="ellipse">
                <a:avLst/>
              </a:prstGeom>
            </p:spPr>
            <p:style>
              <a:lnRef idx="1">
                <a:schemeClr val="accent1"/>
              </a:lnRef>
              <a:fillRef idx="2">
                <a:schemeClr val="accent1"/>
              </a:fillRef>
              <a:effectRef idx="1">
                <a:schemeClr val="accent1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zh-TW" altLang="en-US" sz="1800">
                  <a:solidFill>
                    <a:prstClr val="black"/>
                  </a:solidFill>
                </a:endParaRPr>
              </a:p>
            </p:txBody>
          </p:sp>
          <p:sp>
            <p:nvSpPr>
              <p:cNvPr id="15" name="橢圓 14"/>
              <p:cNvSpPr/>
              <p:nvPr/>
            </p:nvSpPr>
            <p:spPr>
              <a:xfrm>
                <a:off x="3081948" y="4653966"/>
                <a:ext cx="484116" cy="476147"/>
              </a:xfrm>
              <a:prstGeom prst="ellipse">
                <a:avLst/>
              </a:prstGeom>
            </p:spPr>
            <p:style>
              <a:lnRef idx="1">
                <a:schemeClr val="accent1"/>
              </a:lnRef>
              <a:fillRef idx="2">
                <a:schemeClr val="accent1"/>
              </a:fillRef>
              <a:effectRef idx="1">
                <a:schemeClr val="accent1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zh-TW" altLang="en-US" sz="1800">
                  <a:solidFill>
                    <a:prstClr val="black"/>
                  </a:solidFill>
                </a:endParaRPr>
              </a:p>
            </p:txBody>
          </p:sp>
          <p:sp>
            <p:nvSpPr>
              <p:cNvPr id="16" name="文字方塊 15"/>
              <p:cNvSpPr txBox="1"/>
              <p:nvPr/>
            </p:nvSpPr>
            <p:spPr>
              <a:xfrm>
                <a:off x="2186531" y="4544968"/>
                <a:ext cx="1061391" cy="52322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altLang="zh-TW" sz="2800" dirty="0">
                    <a:solidFill>
                      <a:prstClr val="black"/>
                    </a:solidFill>
                    <a:latin typeface="Calibri"/>
                  </a:rPr>
                  <a:t>……</a:t>
                </a:r>
                <a:endParaRPr lang="zh-TW" altLang="en-US" sz="2800" dirty="0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17" name="橢圓 16"/>
              <p:cNvSpPr/>
              <p:nvPr/>
            </p:nvSpPr>
            <p:spPr>
              <a:xfrm>
                <a:off x="1513734" y="3397463"/>
                <a:ext cx="484116" cy="476147"/>
              </a:xfrm>
              <a:prstGeom prst="ellipse">
                <a:avLst/>
              </a:prstGeom>
            </p:spPr>
            <p:style>
              <a:lnRef idx="1">
                <a:schemeClr val="accent6"/>
              </a:lnRef>
              <a:fillRef idx="2">
                <a:schemeClr val="accent6"/>
              </a:fillRef>
              <a:effectRef idx="1">
                <a:schemeClr val="accent6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zh-TW" altLang="en-US" sz="1800">
                  <a:solidFill>
                    <a:prstClr val="black"/>
                  </a:solidFill>
                </a:endParaRPr>
              </a:p>
            </p:txBody>
          </p:sp>
          <p:sp>
            <p:nvSpPr>
              <p:cNvPr id="18" name="橢圓 17"/>
              <p:cNvSpPr/>
              <p:nvPr/>
            </p:nvSpPr>
            <p:spPr>
              <a:xfrm>
                <a:off x="2627689" y="3383234"/>
                <a:ext cx="484116" cy="476147"/>
              </a:xfrm>
              <a:prstGeom prst="ellipse">
                <a:avLst/>
              </a:prstGeom>
            </p:spPr>
            <p:style>
              <a:lnRef idx="1">
                <a:schemeClr val="accent6"/>
              </a:lnRef>
              <a:fillRef idx="2">
                <a:schemeClr val="accent6"/>
              </a:fillRef>
              <a:effectRef idx="1">
                <a:schemeClr val="accent6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zh-TW" altLang="en-US" sz="1800">
                  <a:solidFill>
                    <a:prstClr val="black"/>
                  </a:solidFill>
                </a:endParaRPr>
              </a:p>
            </p:txBody>
          </p:sp>
          <p:cxnSp>
            <p:nvCxnSpPr>
              <p:cNvPr id="19" name="直線單箭頭接點 18"/>
              <p:cNvCxnSpPr>
                <a:endCxn id="12" idx="4"/>
              </p:cNvCxnSpPr>
              <p:nvPr/>
            </p:nvCxnSpPr>
            <p:spPr>
              <a:xfrm flipV="1">
                <a:off x="1333567" y="5122315"/>
                <a:ext cx="0" cy="708229"/>
              </a:xfrm>
              <a:prstGeom prst="straightConnector1">
                <a:avLst/>
              </a:prstGeom>
              <a:ln w="25400">
                <a:solidFill>
                  <a:schemeClr val="tx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0" name="直線單箭頭接點 19"/>
              <p:cNvCxnSpPr/>
              <p:nvPr/>
            </p:nvCxnSpPr>
            <p:spPr>
              <a:xfrm flipV="1">
                <a:off x="2078597" y="5112033"/>
                <a:ext cx="0" cy="708229"/>
              </a:xfrm>
              <a:prstGeom prst="straightConnector1">
                <a:avLst/>
              </a:prstGeom>
              <a:ln w="25400">
                <a:solidFill>
                  <a:schemeClr val="tx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" name="直線單箭頭接點 20"/>
              <p:cNvCxnSpPr/>
              <p:nvPr/>
            </p:nvCxnSpPr>
            <p:spPr>
              <a:xfrm flipV="1">
                <a:off x="3303861" y="5128445"/>
                <a:ext cx="0" cy="708229"/>
              </a:xfrm>
              <a:prstGeom prst="straightConnector1">
                <a:avLst/>
              </a:prstGeom>
              <a:ln w="25400">
                <a:solidFill>
                  <a:schemeClr val="tx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" name="直線單箭頭接點 21"/>
              <p:cNvCxnSpPr>
                <a:endCxn id="14" idx="4"/>
              </p:cNvCxnSpPr>
              <p:nvPr/>
            </p:nvCxnSpPr>
            <p:spPr>
              <a:xfrm flipH="1" flipV="1">
                <a:off x="2078597" y="5142674"/>
                <a:ext cx="1164518" cy="687870"/>
              </a:xfrm>
              <a:prstGeom prst="straightConnector1">
                <a:avLst/>
              </a:prstGeom>
              <a:ln w="25400">
                <a:solidFill>
                  <a:schemeClr val="tx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" name="直線單箭頭接點 22"/>
              <p:cNvCxnSpPr/>
              <p:nvPr/>
            </p:nvCxnSpPr>
            <p:spPr>
              <a:xfrm flipH="1" flipV="1">
                <a:off x="1349851" y="5128445"/>
                <a:ext cx="1951605" cy="732740"/>
              </a:xfrm>
              <a:prstGeom prst="straightConnector1">
                <a:avLst/>
              </a:prstGeom>
              <a:ln w="25400">
                <a:solidFill>
                  <a:schemeClr val="tx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" name="直線單箭頭接點 23"/>
              <p:cNvCxnSpPr>
                <a:endCxn id="14" idx="4"/>
              </p:cNvCxnSpPr>
              <p:nvPr/>
            </p:nvCxnSpPr>
            <p:spPr>
              <a:xfrm flipV="1">
                <a:off x="1337430" y="5142674"/>
                <a:ext cx="741167" cy="731073"/>
              </a:xfrm>
              <a:prstGeom prst="straightConnector1">
                <a:avLst/>
              </a:prstGeom>
              <a:ln w="25400">
                <a:solidFill>
                  <a:schemeClr val="tx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" name="直線單箭頭接點 24"/>
              <p:cNvCxnSpPr>
                <a:endCxn id="15" idx="4"/>
              </p:cNvCxnSpPr>
              <p:nvPr/>
            </p:nvCxnSpPr>
            <p:spPr>
              <a:xfrm flipV="1">
                <a:off x="2071100" y="5130113"/>
                <a:ext cx="1252906" cy="713378"/>
              </a:xfrm>
              <a:prstGeom prst="straightConnector1">
                <a:avLst/>
              </a:prstGeom>
              <a:ln w="25400">
                <a:solidFill>
                  <a:schemeClr val="tx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6" name="直線單箭頭接點 25"/>
              <p:cNvCxnSpPr>
                <a:endCxn id="12" idx="4"/>
              </p:cNvCxnSpPr>
              <p:nvPr/>
            </p:nvCxnSpPr>
            <p:spPr>
              <a:xfrm flipH="1" flipV="1">
                <a:off x="1333567" y="5122315"/>
                <a:ext cx="664283" cy="721176"/>
              </a:xfrm>
              <a:prstGeom prst="straightConnector1">
                <a:avLst/>
              </a:prstGeom>
              <a:ln w="25400">
                <a:solidFill>
                  <a:schemeClr val="tx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7" name="直線單箭頭接點 26"/>
              <p:cNvCxnSpPr>
                <a:stCxn id="12" idx="0"/>
                <a:endCxn id="17" idx="4"/>
              </p:cNvCxnSpPr>
              <p:nvPr/>
            </p:nvCxnSpPr>
            <p:spPr>
              <a:xfrm flipV="1">
                <a:off x="1333567" y="3873610"/>
                <a:ext cx="422225" cy="772558"/>
              </a:xfrm>
              <a:prstGeom prst="straightConnector1">
                <a:avLst/>
              </a:prstGeom>
              <a:ln w="25400">
                <a:solidFill>
                  <a:schemeClr val="tx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8" name="直線單箭頭接點 27"/>
              <p:cNvCxnSpPr>
                <a:stCxn id="14" idx="0"/>
                <a:endCxn id="17" idx="4"/>
              </p:cNvCxnSpPr>
              <p:nvPr/>
            </p:nvCxnSpPr>
            <p:spPr>
              <a:xfrm flipH="1" flipV="1">
                <a:off x="1755792" y="3873610"/>
                <a:ext cx="322805" cy="792917"/>
              </a:xfrm>
              <a:prstGeom prst="straightConnector1">
                <a:avLst/>
              </a:prstGeom>
              <a:ln w="25400">
                <a:solidFill>
                  <a:schemeClr val="tx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" name="直線單箭頭接點 28"/>
              <p:cNvCxnSpPr>
                <a:stCxn id="15" idx="0"/>
                <a:endCxn id="17" idx="4"/>
              </p:cNvCxnSpPr>
              <p:nvPr/>
            </p:nvCxnSpPr>
            <p:spPr>
              <a:xfrm flipH="1" flipV="1">
                <a:off x="1755792" y="3873610"/>
                <a:ext cx="1568214" cy="780356"/>
              </a:xfrm>
              <a:prstGeom prst="straightConnector1">
                <a:avLst/>
              </a:prstGeom>
              <a:ln w="25400">
                <a:solidFill>
                  <a:schemeClr val="tx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0" name="直線單箭頭接點 29"/>
              <p:cNvCxnSpPr>
                <a:stCxn id="15" idx="0"/>
                <a:endCxn id="18" idx="4"/>
              </p:cNvCxnSpPr>
              <p:nvPr/>
            </p:nvCxnSpPr>
            <p:spPr>
              <a:xfrm flipH="1" flipV="1">
                <a:off x="2869747" y="3859381"/>
                <a:ext cx="454259" cy="794585"/>
              </a:xfrm>
              <a:prstGeom prst="straightConnector1">
                <a:avLst/>
              </a:prstGeom>
              <a:ln w="25400">
                <a:solidFill>
                  <a:schemeClr val="tx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1" name="直線單箭頭接點 30"/>
              <p:cNvCxnSpPr>
                <a:stCxn id="14" idx="0"/>
                <a:endCxn id="18" idx="4"/>
              </p:cNvCxnSpPr>
              <p:nvPr/>
            </p:nvCxnSpPr>
            <p:spPr>
              <a:xfrm flipV="1">
                <a:off x="2078597" y="3859381"/>
                <a:ext cx="791150" cy="807146"/>
              </a:xfrm>
              <a:prstGeom prst="straightConnector1">
                <a:avLst/>
              </a:prstGeom>
              <a:ln w="25400">
                <a:solidFill>
                  <a:schemeClr val="tx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2" name="直線單箭頭接點 31"/>
              <p:cNvCxnSpPr>
                <a:stCxn id="12" idx="0"/>
                <a:endCxn id="18" idx="4"/>
              </p:cNvCxnSpPr>
              <p:nvPr/>
            </p:nvCxnSpPr>
            <p:spPr>
              <a:xfrm flipV="1">
                <a:off x="1333567" y="3859381"/>
                <a:ext cx="1536180" cy="786787"/>
              </a:xfrm>
              <a:prstGeom prst="straightConnector1">
                <a:avLst/>
              </a:prstGeom>
              <a:ln w="25400">
                <a:solidFill>
                  <a:schemeClr val="tx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87" name="文字方塊 86"/>
            <p:cNvSpPr txBox="1"/>
            <p:nvPr/>
          </p:nvSpPr>
          <p:spPr>
            <a:xfrm>
              <a:off x="1276935" y="6126818"/>
              <a:ext cx="2477482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</a:pPr>
              <a:r>
                <a:rPr lang="en-US" altLang="zh-TW" sz="2800" dirty="0">
                  <a:solidFill>
                    <a:prstClr val="black"/>
                  </a:solidFill>
                  <a:latin typeface="Calibri"/>
                </a:rPr>
                <a:t>Shallow</a:t>
              </a:r>
              <a:endParaRPr lang="zh-TW" altLang="en-US" sz="2800" dirty="0">
                <a:solidFill>
                  <a:prstClr val="black"/>
                </a:solidFill>
                <a:latin typeface="Calibri"/>
              </a:endParaRPr>
            </a:p>
          </p:txBody>
        </p:sp>
        <p:cxnSp>
          <p:nvCxnSpPr>
            <p:cNvPr id="89" name="直線單箭頭接點 88"/>
            <p:cNvCxnSpPr/>
            <p:nvPr/>
          </p:nvCxnSpPr>
          <p:spPr>
            <a:xfrm flipV="1">
              <a:off x="2022770" y="2826808"/>
              <a:ext cx="8602" cy="397294"/>
            </a:xfrm>
            <a:prstGeom prst="straightConnector1">
              <a:avLst/>
            </a:prstGeom>
            <a:ln w="254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0" name="直線單箭頭接點 89"/>
            <p:cNvCxnSpPr/>
            <p:nvPr/>
          </p:nvCxnSpPr>
          <p:spPr>
            <a:xfrm flipV="1">
              <a:off x="3151277" y="2795203"/>
              <a:ext cx="8602" cy="397294"/>
            </a:xfrm>
            <a:prstGeom prst="straightConnector1">
              <a:avLst/>
            </a:prstGeom>
            <a:ln w="254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3" name="橢圓 92"/>
            <p:cNvSpPr/>
            <p:nvPr/>
          </p:nvSpPr>
          <p:spPr>
            <a:xfrm>
              <a:off x="533220" y="4405331"/>
              <a:ext cx="484116" cy="476147"/>
            </a:xfrm>
            <a:prstGeom prst="ellipse">
              <a:avLst/>
            </a:prstGeom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zh-TW" altLang="en-US" sz="1800">
                <a:solidFill>
                  <a:prstClr val="black"/>
                </a:solidFill>
              </a:endParaRPr>
            </a:p>
          </p:txBody>
        </p:sp>
        <p:sp>
          <p:nvSpPr>
            <p:cNvPr id="94" name="橢圓 93"/>
            <p:cNvSpPr/>
            <p:nvPr/>
          </p:nvSpPr>
          <p:spPr>
            <a:xfrm>
              <a:off x="4195437" y="4450170"/>
              <a:ext cx="484116" cy="476147"/>
            </a:xfrm>
            <a:prstGeom prst="ellipse">
              <a:avLst/>
            </a:prstGeom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zh-TW" altLang="en-US" sz="1800">
                <a:solidFill>
                  <a:prstClr val="black"/>
                </a:solidFill>
              </a:endParaRPr>
            </a:p>
          </p:txBody>
        </p:sp>
        <p:cxnSp>
          <p:nvCxnSpPr>
            <p:cNvPr id="95" name="直線單箭頭接點 94"/>
            <p:cNvCxnSpPr>
              <a:endCxn id="94" idx="3"/>
            </p:cNvCxnSpPr>
            <p:nvPr/>
          </p:nvCxnSpPr>
          <p:spPr>
            <a:xfrm flipV="1">
              <a:off x="3541139" y="4856587"/>
              <a:ext cx="725195" cy="831092"/>
            </a:xfrm>
            <a:prstGeom prst="straightConnector1">
              <a:avLst/>
            </a:prstGeom>
            <a:ln w="254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直線單箭頭接點 98"/>
            <p:cNvCxnSpPr>
              <a:endCxn id="93" idx="4"/>
            </p:cNvCxnSpPr>
            <p:nvPr/>
          </p:nvCxnSpPr>
          <p:spPr>
            <a:xfrm flipH="1" flipV="1">
              <a:off x="775278" y="4881478"/>
              <a:ext cx="2819573" cy="806201"/>
            </a:xfrm>
            <a:prstGeom prst="straightConnector1">
              <a:avLst/>
            </a:prstGeom>
            <a:ln w="254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3" name="直線單箭頭接點 102"/>
            <p:cNvCxnSpPr>
              <a:endCxn id="94" idx="3"/>
            </p:cNvCxnSpPr>
            <p:nvPr/>
          </p:nvCxnSpPr>
          <p:spPr>
            <a:xfrm flipV="1">
              <a:off x="2346118" y="4856587"/>
              <a:ext cx="1920216" cy="795016"/>
            </a:xfrm>
            <a:prstGeom prst="straightConnector1">
              <a:avLst/>
            </a:prstGeom>
            <a:ln w="254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直線單箭頭接點 106"/>
            <p:cNvCxnSpPr>
              <a:endCxn id="93" idx="4"/>
            </p:cNvCxnSpPr>
            <p:nvPr/>
          </p:nvCxnSpPr>
          <p:spPr>
            <a:xfrm flipH="1" flipV="1">
              <a:off x="775278" y="4881478"/>
              <a:ext cx="1565332" cy="794716"/>
            </a:xfrm>
            <a:prstGeom prst="straightConnector1">
              <a:avLst/>
            </a:prstGeom>
            <a:ln w="254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直線單箭頭接點 109"/>
            <p:cNvCxnSpPr>
              <a:endCxn id="94" idx="3"/>
            </p:cNvCxnSpPr>
            <p:nvPr/>
          </p:nvCxnSpPr>
          <p:spPr>
            <a:xfrm flipV="1">
              <a:off x="1577134" y="4856587"/>
              <a:ext cx="2689200" cy="795016"/>
            </a:xfrm>
            <a:prstGeom prst="straightConnector1">
              <a:avLst/>
            </a:prstGeom>
            <a:ln w="254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直線單箭頭接點 112"/>
            <p:cNvCxnSpPr>
              <a:endCxn id="93" idx="4"/>
            </p:cNvCxnSpPr>
            <p:nvPr/>
          </p:nvCxnSpPr>
          <p:spPr>
            <a:xfrm flipH="1" flipV="1">
              <a:off x="775278" y="4881478"/>
              <a:ext cx="803632" cy="758982"/>
            </a:xfrm>
            <a:prstGeom prst="straightConnector1">
              <a:avLst/>
            </a:prstGeom>
            <a:ln w="254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直線單箭頭接點 115"/>
            <p:cNvCxnSpPr>
              <a:stCxn id="94" idx="0"/>
            </p:cNvCxnSpPr>
            <p:nvPr/>
          </p:nvCxnSpPr>
          <p:spPr>
            <a:xfrm flipH="1" flipV="1">
              <a:off x="3222223" y="3701326"/>
              <a:ext cx="1215272" cy="748844"/>
            </a:xfrm>
            <a:prstGeom prst="straightConnector1">
              <a:avLst/>
            </a:prstGeom>
            <a:ln w="254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直線單箭頭接點 118"/>
            <p:cNvCxnSpPr>
              <a:stCxn id="94" idx="0"/>
            </p:cNvCxnSpPr>
            <p:nvPr/>
          </p:nvCxnSpPr>
          <p:spPr>
            <a:xfrm flipH="1" flipV="1">
              <a:off x="2117281" y="3675932"/>
              <a:ext cx="2320214" cy="774238"/>
            </a:xfrm>
            <a:prstGeom prst="straightConnector1">
              <a:avLst/>
            </a:prstGeom>
            <a:ln w="254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直線單箭頭接點 121"/>
            <p:cNvCxnSpPr>
              <a:endCxn id="18" idx="4"/>
            </p:cNvCxnSpPr>
            <p:nvPr/>
          </p:nvCxnSpPr>
          <p:spPr>
            <a:xfrm flipV="1">
              <a:off x="856319" y="3638656"/>
              <a:ext cx="2273452" cy="811514"/>
            </a:xfrm>
            <a:prstGeom prst="straightConnector1">
              <a:avLst/>
            </a:prstGeom>
            <a:ln w="254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直線單箭頭接點 123"/>
            <p:cNvCxnSpPr>
              <a:stCxn id="93" idx="0"/>
            </p:cNvCxnSpPr>
            <p:nvPr/>
          </p:nvCxnSpPr>
          <p:spPr>
            <a:xfrm flipV="1">
              <a:off x="775278" y="3679127"/>
              <a:ext cx="1189281" cy="726204"/>
            </a:xfrm>
            <a:prstGeom prst="straightConnector1">
              <a:avLst/>
            </a:prstGeom>
            <a:ln w="254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37" name="直線單箭頭接點 136"/>
          <p:cNvCxnSpPr/>
          <p:nvPr/>
        </p:nvCxnSpPr>
        <p:spPr>
          <a:xfrm flipV="1">
            <a:off x="5934536" y="3661383"/>
            <a:ext cx="2405" cy="776201"/>
          </a:xfrm>
          <a:prstGeom prst="straightConnector1">
            <a:avLst/>
          </a:prstGeom>
          <a:ln w="254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直線單箭頭接點 137"/>
          <p:cNvCxnSpPr/>
          <p:nvPr/>
        </p:nvCxnSpPr>
        <p:spPr>
          <a:xfrm flipH="1" flipV="1">
            <a:off x="5936941" y="3661383"/>
            <a:ext cx="1123104" cy="794585"/>
          </a:xfrm>
          <a:prstGeom prst="straightConnector1">
            <a:avLst/>
          </a:prstGeom>
          <a:ln w="254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9" name="直線單箭頭接點 138"/>
          <p:cNvCxnSpPr/>
          <p:nvPr/>
        </p:nvCxnSpPr>
        <p:spPr>
          <a:xfrm flipH="1" flipV="1">
            <a:off x="7050896" y="3647154"/>
            <a:ext cx="9149" cy="808814"/>
          </a:xfrm>
          <a:prstGeom prst="straightConnector1">
            <a:avLst/>
          </a:prstGeom>
          <a:ln w="254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0" name="直線單箭頭接點 139"/>
          <p:cNvCxnSpPr/>
          <p:nvPr/>
        </p:nvCxnSpPr>
        <p:spPr>
          <a:xfrm flipV="1">
            <a:off x="5934536" y="3647154"/>
            <a:ext cx="1116360" cy="790430"/>
          </a:xfrm>
          <a:prstGeom prst="straightConnector1">
            <a:avLst/>
          </a:prstGeom>
          <a:ln w="254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7" name="文字方塊 146"/>
          <p:cNvSpPr txBox="1"/>
          <p:nvPr/>
        </p:nvSpPr>
        <p:spPr>
          <a:xfrm>
            <a:off x="2126391" y="4096121"/>
            <a:ext cx="5209843" cy="646331"/>
          </a:xfrm>
          <a:prstGeom prst="rect">
            <a:avLst/>
          </a:prstGeom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altLang="zh-TW" sz="3600" dirty="0">
                <a:solidFill>
                  <a:prstClr val="white"/>
                </a:solidFill>
              </a:rPr>
              <a:t>Which one is better?</a:t>
            </a:r>
            <a:endParaRPr lang="zh-TW" altLang="en-US" sz="3600" dirty="0">
              <a:solidFill>
                <a:prstClr val="white"/>
              </a:solidFill>
            </a:endParaRPr>
          </a:p>
        </p:txBody>
      </p:sp>
      <p:sp>
        <p:nvSpPr>
          <p:cNvPr id="3" name="文字方塊 2"/>
          <p:cNvSpPr txBox="1"/>
          <p:nvPr/>
        </p:nvSpPr>
        <p:spPr>
          <a:xfrm>
            <a:off x="1718059" y="1641206"/>
            <a:ext cx="2969919" cy="954107"/>
          </a:xfrm>
          <a:prstGeom prst="rect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altLang="zh-TW" sz="2800" dirty="0">
                <a:solidFill>
                  <a:prstClr val="white"/>
                </a:solidFill>
              </a:rPr>
              <a:t>The same number of parameters</a:t>
            </a:r>
            <a:endParaRPr lang="zh-TW" altLang="en-US" sz="2800" dirty="0">
              <a:solidFill>
                <a:prstClr val="white"/>
              </a:solidFill>
            </a:endParaRPr>
          </a:p>
        </p:txBody>
      </p:sp>
      <p:sp>
        <p:nvSpPr>
          <p:cNvPr id="43" name="左-右雙向箭號 42"/>
          <p:cNvSpPr/>
          <p:nvPr/>
        </p:nvSpPr>
        <p:spPr>
          <a:xfrm rot="20486886">
            <a:off x="3826753" y="2839509"/>
            <a:ext cx="1533838" cy="672579"/>
          </a:xfrm>
          <a:prstGeom prst="leftRightArrow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zh-TW" altLang="en-US" sz="180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486071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7" grpId="0" animBg="1"/>
      <p:bldP spid="3" grpId="0" animBg="1"/>
      <p:bldP spid="43" grpId="0" animBg="1"/>
    </p:bldLst>
  </p:timing>
</p:sld>
</file>

<file path=ppt/slides/slide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矩形 22"/>
          <p:cNvSpPr/>
          <p:nvPr/>
        </p:nvSpPr>
        <p:spPr>
          <a:xfrm>
            <a:off x="6618287" y="3509115"/>
            <a:ext cx="825500" cy="799887"/>
          </a:xfrm>
          <a:prstGeom prst="rect">
            <a:avLst/>
          </a:prstGeom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altLang="zh-TW" sz="1400" dirty="0" err="1">
                <a:solidFill>
                  <a:prstClr val="black"/>
                </a:solidFill>
              </a:rPr>
              <a:t>Cheiko</a:t>
            </a:r>
            <a:endParaRPr lang="zh-TW" altLang="en-US" sz="1400" dirty="0">
              <a:solidFill>
                <a:prstClr val="black"/>
              </a:solidFill>
            </a:endParaRPr>
          </a:p>
        </p:txBody>
      </p:sp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TW" dirty="0"/>
              <a:t>Why Deep? </a:t>
            </a:r>
            <a:endParaRPr lang="zh-TW" altLang="en-US" dirty="0"/>
          </a:p>
        </p:txBody>
      </p:sp>
      <p:sp>
        <p:nvSpPr>
          <p:cNvPr id="3" name="內容版面配置區 2"/>
          <p:cNvSpPr>
            <a:spLocks noGrp="1"/>
          </p:cNvSpPr>
          <p:nvPr>
            <p:ph idx="1"/>
          </p:nvPr>
        </p:nvSpPr>
        <p:spPr>
          <a:xfrm>
            <a:off x="389499" y="1902997"/>
            <a:ext cx="7886700" cy="4351338"/>
          </a:xfrm>
        </p:spPr>
        <p:txBody>
          <a:bodyPr/>
          <a:lstStyle/>
          <a:p>
            <a:r>
              <a:rPr lang="en-US" altLang="zh-TW" dirty="0" smtClean="0"/>
              <a:t>Deep → Modularization</a:t>
            </a:r>
            <a:endParaRPr lang="zh-TW" altLang="en-US" dirty="0"/>
          </a:p>
        </p:txBody>
      </p:sp>
      <p:sp>
        <p:nvSpPr>
          <p:cNvPr id="4" name="文字方塊 3"/>
          <p:cNvSpPr txBox="1"/>
          <p:nvPr/>
        </p:nvSpPr>
        <p:spPr>
          <a:xfrm>
            <a:off x="4917282" y="2361386"/>
            <a:ext cx="1602014" cy="830997"/>
          </a:xfrm>
          <a:prstGeom prst="rect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altLang="zh-TW" sz="2400" dirty="0">
                <a:solidFill>
                  <a:prstClr val="white"/>
                </a:solidFill>
              </a:rPr>
              <a:t>Girls with </a:t>
            </a:r>
          </a:p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altLang="zh-TW" sz="2400" dirty="0">
                <a:solidFill>
                  <a:prstClr val="white"/>
                </a:solidFill>
              </a:rPr>
              <a:t>long hair</a:t>
            </a:r>
            <a:endParaRPr lang="zh-TW" altLang="en-US" sz="2400" dirty="0">
              <a:solidFill>
                <a:prstClr val="white"/>
              </a:solidFill>
            </a:endParaRPr>
          </a:p>
        </p:txBody>
      </p:sp>
      <p:sp>
        <p:nvSpPr>
          <p:cNvPr id="5" name="文字方塊 4"/>
          <p:cNvSpPr txBox="1"/>
          <p:nvPr/>
        </p:nvSpPr>
        <p:spPr>
          <a:xfrm>
            <a:off x="4920457" y="5554640"/>
            <a:ext cx="1621064" cy="830997"/>
          </a:xfrm>
          <a:prstGeom prst="rect">
            <a:avLst/>
          </a:prstGeom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altLang="zh-TW" sz="2400" dirty="0">
                <a:solidFill>
                  <a:prstClr val="white"/>
                </a:solidFill>
              </a:rPr>
              <a:t>Boys with short hair </a:t>
            </a:r>
            <a:endParaRPr lang="zh-TW" altLang="en-US" sz="2400" dirty="0">
              <a:solidFill>
                <a:prstClr val="white"/>
              </a:solidFill>
            </a:endParaRPr>
          </a:p>
        </p:txBody>
      </p:sp>
      <p:sp>
        <p:nvSpPr>
          <p:cNvPr id="6" name="文字方塊 5"/>
          <p:cNvSpPr txBox="1"/>
          <p:nvPr/>
        </p:nvSpPr>
        <p:spPr>
          <a:xfrm>
            <a:off x="4929982" y="3425257"/>
            <a:ext cx="1602014" cy="830997"/>
          </a:xfrm>
          <a:prstGeom prst="rect">
            <a:avLst/>
          </a:prstGeom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altLang="zh-TW" sz="2400" dirty="0">
                <a:solidFill>
                  <a:prstClr val="white"/>
                </a:solidFill>
              </a:rPr>
              <a:t>Boys with </a:t>
            </a:r>
          </a:p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altLang="zh-TW" sz="2400" dirty="0">
                <a:solidFill>
                  <a:prstClr val="white"/>
                </a:solidFill>
              </a:rPr>
              <a:t>long hair</a:t>
            </a:r>
            <a:endParaRPr lang="zh-TW" altLang="en-US" sz="2400" dirty="0">
              <a:solidFill>
                <a:prstClr val="white"/>
              </a:solidFill>
            </a:endParaRPr>
          </a:p>
        </p:txBody>
      </p:sp>
      <p:sp>
        <p:nvSpPr>
          <p:cNvPr id="7" name="矩形 6"/>
          <p:cNvSpPr/>
          <p:nvPr/>
        </p:nvSpPr>
        <p:spPr>
          <a:xfrm>
            <a:off x="476250" y="3659095"/>
            <a:ext cx="1333500" cy="1388879"/>
          </a:xfrm>
          <a:prstGeom prst="rect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altLang="zh-TW" sz="2400" dirty="0">
                <a:solidFill>
                  <a:prstClr val="black"/>
                </a:solidFill>
              </a:rPr>
              <a:t>Image</a:t>
            </a:r>
            <a:endParaRPr lang="zh-TW" altLang="en-US" sz="2400" dirty="0">
              <a:solidFill>
                <a:prstClr val="black"/>
              </a:solidFill>
            </a:endParaRPr>
          </a:p>
        </p:txBody>
      </p:sp>
      <p:sp>
        <p:nvSpPr>
          <p:cNvPr id="8" name="矩形 7"/>
          <p:cNvSpPr/>
          <p:nvPr/>
        </p:nvSpPr>
        <p:spPr>
          <a:xfrm>
            <a:off x="2762250" y="2370038"/>
            <a:ext cx="1447800" cy="83099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altLang="zh-TW" sz="2400" dirty="0">
                <a:solidFill>
                  <a:prstClr val="white"/>
                </a:solidFill>
              </a:rPr>
              <a:t>Classifier 1</a:t>
            </a:r>
            <a:endParaRPr lang="zh-TW" altLang="en-US" sz="2400" dirty="0">
              <a:solidFill>
                <a:prstClr val="white"/>
              </a:solidFill>
            </a:endParaRPr>
          </a:p>
        </p:txBody>
      </p:sp>
      <p:sp>
        <p:nvSpPr>
          <p:cNvPr id="9" name="矩形 8"/>
          <p:cNvSpPr/>
          <p:nvPr/>
        </p:nvSpPr>
        <p:spPr>
          <a:xfrm>
            <a:off x="2755276" y="3425257"/>
            <a:ext cx="1447800" cy="830997"/>
          </a:xfrm>
          <a:prstGeom prst="rect">
            <a:avLst/>
          </a:prstGeom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altLang="zh-TW" sz="2400" dirty="0">
                <a:solidFill>
                  <a:prstClr val="white"/>
                </a:solidFill>
              </a:rPr>
              <a:t>Classifier 2</a:t>
            </a:r>
            <a:endParaRPr lang="zh-TW" altLang="en-US" sz="2400" dirty="0">
              <a:solidFill>
                <a:prstClr val="white"/>
              </a:solidFill>
            </a:endParaRPr>
          </a:p>
        </p:txBody>
      </p:sp>
      <p:sp>
        <p:nvSpPr>
          <p:cNvPr id="10" name="矩形 9"/>
          <p:cNvSpPr/>
          <p:nvPr/>
        </p:nvSpPr>
        <p:spPr>
          <a:xfrm>
            <a:off x="2752272" y="4501304"/>
            <a:ext cx="1447800" cy="830997"/>
          </a:xfrm>
          <a:prstGeom prst="rect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altLang="zh-TW" sz="2400" dirty="0">
                <a:solidFill>
                  <a:prstClr val="white"/>
                </a:solidFill>
              </a:rPr>
              <a:t>Classifier 3</a:t>
            </a:r>
            <a:endParaRPr lang="zh-TW" altLang="en-US" sz="2400" dirty="0">
              <a:solidFill>
                <a:prstClr val="white"/>
              </a:solidFill>
            </a:endParaRPr>
          </a:p>
        </p:txBody>
      </p:sp>
      <p:cxnSp>
        <p:nvCxnSpPr>
          <p:cNvPr id="12" name="直線單箭頭接點 11"/>
          <p:cNvCxnSpPr>
            <a:stCxn id="7" idx="3"/>
            <a:endCxn id="8" idx="1"/>
          </p:cNvCxnSpPr>
          <p:nvPr/>
        </p:nvCxnSpPr>
        <p:spPr>
          <a:xfrm flipV="1">
            <a:off x="1809750" y="2785537"/>
            <a:ext cx="952500" cy="1567998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直線單箭頭接點 20"/>
          <p:cNvCxnSpPr>
            <a:stCxn id="7" idx="3"/>
            <a:endCxn id="9" idx="1"/>
          </p:cNvCxnSpPr>
          <p:nvPr/>
        </p:nvCxnSpPr>
        <p:spPr>
          <a:xfrm flipV="1">
            <a:off x="1809750" y="3840756"/>
            <a:ext cx="945526" cy="512779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直線單箭頭接點 23"/>
          <p:cNvCxnSpPr>
            <a:stCxn id="7" idx="3"/>
            <a:endCxn id="10" idx="1"/>
          </p:cNvCxnSpPr>
          <p:nvPr/>
        </p:nvCxnSpPr>
        <p:spPr>
          <a:xfrm>
            <a:off x="1809750" y="4353535"/>
            <a:ext cx="942522" cy="563268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直線單箭頭接點 26"/>
          <p:cNvCxnSpPr/>
          <p:nvPr/>
        </p:nvCxnSpPr>
        <p:spPr>
          <a:xfrm flipV="1">
            <a:off x="4257675" y="2785536"/>
            <a:ext cx="628650" cy="0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直線單箭頭接點 28"/>
          <p:cNvCxnSpPr/>
          <p:nvPr/>
        </p:nvCxnSpPr>
        <p:spPr>
          <a:xfrm flipV="1">
            <a:off x="4248150" y="3833304"/>
            <a:ext cx="628650" cy="0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直線單箭頭接點 29"/>
          <p:cNvCxnSpPr/>
          <p:nvPr/>
        </p:nvCxnSpPr>
        <p:spPr>
          <a:xfrm flipV="1">
            <a:off x="4248150" y="4935780"/>
            <a:ext cx="628650" cy="0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矩形 17"/>
          <p:cNvSpPr/>
          <p:nvPr/>
        </p:nvSpPr>
        <p:spPr>
          <a:xfrm>
            <a:off x="6625544" y="2385594"/>
            <a:ext cx="825500" cy="799887"/>
          </a:xfrm>
          <a:prstGeom prst="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altLang="zh-TW" sz="1400" dirty="0">
                <a:solidFill>
                  <a:prstClr val="black"/>
                </a:solidFill>
              </a:rPr>
              <a:t>Long hair women</a:t>
            </a:r>
            <a:endParaRPr lang="zh-TW" altLang="en-US" sz="1400" dirty="0">
              <a:solidFill>
                <a:prstClr val="black"/>
              </a:solidFill>
            </a:endParaRPr>
          </a:p>
        </p:txBody>
      </p:sp>
      <p:sp>
        <p:nvSpPr>
          <p:cNvPr id="19" name="矩形 18"/>
          <p:cNvSpPr/>
          <p:nvPr/>
        </p:nvSpPr>
        <p:spPr>
          <a:xfrm>
            <a:off x="6967594" y="2522730"/>
            <a:ext cx="825500" cy="799887"/>
          </a:xfrm>
          <a:prstGeom prst="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altLang="zh-TW" sz="1400" dirty="0">
                <a:solidFill>
                  <a:prstClr val="black"/>
                </a:solidFill>
              </a:rPr>
              <a:t>Long hair women</a:t>
            </a:r>
            <a:endParaRPr lang="zh-TW" altLang="en-US" sz="1400" dirty="0">
              <a:solidFill>
                <a:prstClr val="black"/>
              </a:solidFill>
            </a:endParaRPr>
          </a:p>
        </p:txBody>
      </p:sp>
      <p:sp>
        <p:nvSpPr>
          <p:cNvPr id="20" name="矩形 19"/>
          <p:cNvSpPr/>
          <p:nvPr/>
        </p:nvSpPr>
        <p:spPr>
          <a:xfrm>
            <a:off x="7308226" y="2671424"/>
            <a:ext cx="825500" cy="799887"/>
          </a:xfrm>
          <a:prstGeom prst="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altLang="zh-TW" sz="1400" dirty="0">
                <a:solidFill>
                  <a:prstClr val="black"/>
                </a:solidFill>
              </a:rPr>
              <a:t>Long hair women</a:t>
            </a:r>
            <a:endParaRPr lang="zh-TW" altLang="en-US" sz="1400" dirty="0">
              <a:solidFill>
                <a:prstClr val="black"/>
              </a:solidFill>
            </a:endParaRPr>
          </a:p>
        </p:txBody>
      </p:sp>
      <p:sp>
        <p:nvSpPr>
          <p:cNvPr id="22" name="矩形 21"/>
          <p:cNvSpPr/>
          <p:nvPr/>
        </p:nvSpPr>
        <p:spPr>
          <a:xfrm>
            <a:off x="7648858" y="2785537"/>
            <a:ext cx="825500" cy="799887"/>
          </a:xfrm>
          <a:prstGeom prst="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altLang="zh-TW" sz="1400" dirty="0">
                <a:solidFill>
                  <a:prstClr val="black"/>
                </a:solidFill>
              </a:rPr>
              <a:t>Long hair women</a:t>
            </a:r>
            <a:endParaRPr lang="zh-TW" altLang="en-US" sz="1400" dirty="0">
              <a:solidFill>
                <a:prstClr val="black"/>
              </a:solidFill>
            </a:endParaRPr>
          </a:p>
        </p:txBody>
      </p:sp>
      <p:sp>
        <p:nvSpPr>
          <p:cNvPr id="25" name="文字方塊 24"/>
          <p:cNvSpPr txBox="1"/>
          <p:nvPr/>
        </p:nvSpPr>
        <p:spPr>
          <a:xfrm>
            <a:off x="4914107" y="4489128"/>
            <a:ext cx="1602014" cy="830997"/>
          </a:xfrm>
          <a:prstGeom prst="rect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altLang="zh-TW" sz="2400" dirty="0">
                <a:solidFill>
                  <a:prstClr val="white"/>
                </a:solidFill>
              </a:rPr>
              <a:t>Girls with </a:t>
            </a:r>
          </a:p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altLang="zh-TW" sz="2400" dirty="0">
                <a:solidFill>
                  <a:prstClr val="white"/>
                </a:solidFill>
              </a:rPr>
              <a:t>short hair</a:t>
            </a:r>
            <a:endParaRPr lang="zh-TW" altLang="en-US" sz="2400" dirty="0">
              <a:solidFill>
                <a:prstClr val="white"/>
              </a:solidFill>
            </a:endParaRPr>
          </a:p>
        </p:txBody>
      </p:sp>
      <p:sp>
        <p:nvSpPr>
          <p:cNvPr id="26" name="矩形 25"/>
          <p:cNvSpPr/>
          <p:nvPr/>
        </p:nvSpPr>
        <p:spPr>
          <a:xfrm>
            <a:off x="6625544" y="4486609"/>
            <a:ext cx="825500" cy="799887"/>
          </a:xfrm>
          <a:prstGeom prst="rect">
            <a:avLst/>
          </a:prstGeo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sz="1400" dirty="0">
                <a:solidFill>
                  <a:prstClr val="black"/>
                </a:solidFill>
              </a:rPr>
              <a:t>Short hair woman</a:t>
            </a:r>
            <a:endParaRPr lang="zh-TW" altLang="en-US" sz="1400" dirty="0">
              <a:solidFill>
                <a:prstClr val="black"/>
              </a:solidFill>
            </a:endParaRPr>
          </a:p>
        </p:txBody>
      </p:sp>
      <p:sp>
        <p:nvSpPr>
          <p:cNvPr id="33" name="矩形 32"/>
          <p:cNvSpPr/>
          <p:nvPr/>
        </p:nvSpPr>
        <p:spPr>
          <a:xfrm>
            <a:off x="6625544" y="5536290"/>
            <a:ext cx="825500" cy="799887"/>
          </a:xfrm>
          <a:prstGeom prst="rect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sz="1400" dirty="0">
                <a:solidFill>
                  <a:prstClr val="black"/>
                </a:solidFill>
              </a:rPr>
              <a:t>Short hair male</a:t>
            </a:r>
            <a:endParaRPr lang="zh-TW" altLang="en-US" sz="1400" dirty="0">
              <a:solidFill>
                <a:prstClr val="black"/>
              </a:solidFill>
            </a:endParaRPr>
          </a:p>
        </p:txBody>
      </p:sp>
      <p:sp>
        <p:nvSpPr>
          <p:cNvPr id="34" name="矩形 33"/>
          <p:cNvSpPr/>
          <p:nvPr/>
        </p:nvSpPr>
        <p:spPr>
          <a:xfrm>
            <a:off x="6947126" y="5650255"/>
            <a:ext cx="825500" cy="799887"/>
          </a:xfrm>
          <a:prstGeom prst="rect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sz="1400" dirty="0">
                <a:solidFill>
                  <a:prstClr val="black"/>
                </a:solidFill>
              </a:rPr>
              <a:t>Short hair male</a:t>
            </a:r>
            <a:endParaRPr lang="zh-TW" altLang="en-US" sz="1400" dirty="0">
              <a:solidFill>
                <a:prstClr val="black"/>
              </a:solidFill>
            </a:endParaRPr>
          </a:p>
        </p:txBody>
      </p:sp>
      <p:sp>
        <p:nvSpPr>
          <p:cNvPr id="35" name="矩形 34"/>
          <p:cNvSpPr/>
          <p:nvPr/>
        </p:nvSpPr>
        <p:spPr>
          <a:xfrm>
            <a:off x="7315200" y="5793838"/>
            <a:ext cx="825500" cy="799887"/>
          </a:xfrm>
          <a:prstGeom prst="rect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sz="1400" dirty="0">
                <a:solidFill>
                  <a:prstClr val="black"/>
                </a:solidFill>
              </a:rPr>
              <a:t>Short hair male</a:t>
            </a:r>
            <a:endParaRPr lang="zh-TW" altLang="en-US" sz="1400" dirty="0">
              <a:solidFill>
                <a:prstClr val="black"/>
              </a:solidFill>
            </a:endParaRPr>
          </a:p>
        </p:txBody>
      </p:sp>
      <p:sp>
        <p:nvSpPr>
          <p:cNvPr id="36" name="矩形 35"/>
          <p:cNvSpPr/>
          <p:nvPr/>
        </p:nvSpPr>
        <p:spPr>
          <a:xfrm>
            <a:off x="7652884" y="5936233"/>
            <a:ext cx="825500" cy="799887"/>
          </a:xfrm>
          <a:prstGeom prst="rect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sz="1400" dirty="0">
                <a:solidFill>
                  <a:prstClr val="black"/>
                </a:solidFill>
              </a:rPr>
              <a:t>Short hair male</a:t>
            </a:r>
            <a:endParaRPr lang="zh-TW" altLang="en-US" sz="1400" dirty="0">
              <a:solidFill>
                <a:prstClr val="black"/>
              </a:solidFill>
            </a:endParaRPr>
          </a:p>
        </p:txBody>
      </p:sp>
      <p:sp>
        <p:nvSpPr>
          <p:cNvPr id="37" name="矩形 36"/>
          <p:cNvSpPr/>
          <p:nvPr/>
        </p:nvSpPr>
        <p:spPr>
          <a:xfrm>
            <a:off x="6947126" y="4624506"/>
            <a:ext cx="825500" cy="799887"/>
          </a:xfrm>
          <a:prstGeom prst="rect">
            <a:avLst/>
          </a:prstGeo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sz="1400" dirty="0">
                <a:solidFill>
                  <a:prstClr val="black"/>
                </a:solidFill>
              </a:rPr>
              <a:t>Short hair woman</a:t>
            </a:r>
            <a:endParaRPr lang="zh-TW" altLang="en-US" sz="1400" dirty="0">
              <a:solidFill>
                <a:prstClr val="black"/>
              </a:solidFill>
            </a:endParaRPr>
          </a:p>
        </p:txBody>
      </p:sp>
      <p:sp>
        <p:nvSpPr>
          <p:cNvPr id="38" name="矩形 37"/>
          <p:cNvSpPr/>
          <p:nvPr/>
        </p:nvSpPr>
        <p:spPr>
          <a:xfrm>
            <a:off x="7289799" y="4793385"/>
            <a:ext cx="825500" cy="799887"/>
          </a:xfrm>
          <a:prstGeom prst="rect">
            <a:avLst/>
          </a:prstGeo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sz="1400" dirty="0">
                <a:solidFill>
                  <a:prstClr val="black"/>
                </a:solidFill>
              </a:rPr>
              <a:t>Short hair woman</a:t>
            </a:r>
            <a:endParaRPr lang="zh-TW" altLang="en-US" sz="1400" dirty="0">
              <a:solidFill>
                <a:prstClr val="black"/>
              </a:solidFill>
            </a:endParaRPr>
          </a:p>
        </p:txBody>
      </p:sp>
      <p:sp>
        <p:nvSpPr>
          <p:cNvPr id="39" name="矩形 38"/>
          <p:cNvSpPr/>
          <p:nvPr/>
        </p:nvSpPr>
        <p:spPr>
          <a:xfrm>
            <a:off x="7676357" y="4935780"/>
            <a:ext cx="825500" cy="799887"/>
          </a:xfrm>
          <a:prstGeom prst="rect">
            <a:avLst/>
          </a:prstGeo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sz="1400" dirty="0">
                <a:solidFill>
                  <a:prstClr val="black"/>
                </a:solidFill>
              </a:rPr>
              <a:t>Short hair woman</a:t>
            </a:r>
            <a:endParaRPr lang="zh-TW" altLang="en-US" sz="1400" dirty="0">
              <a:solidFill>
                <a:prstClr val="black"/>
              </a:solidFill>
            </a:endParaRPr>
          </a:p>
        </p:txBody>
      </p:sp>
      <p:sp>
        <p:nvSpPr>
          <p:cNvPr id="40" name="矩形 39"/>
          <p:cNvSpPr/>
          <p:nvPr/>
        </p:nvSpPr>
        <p:spPr>
          <a:xfrm>
            <a:off x="2752272" y="5554640"/>
            <a:ext cx="1447800" cy="830997"/>
          </a:xfrm>
          <a:prstGeom prst="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altLang="zh-TW" sz="2400" dirty="0">
                <a:solidFill>
                  <a:prstClr val="white"/>
                </a:solidFill>
              </a:rPr>
              <a:t>Classifier 4</a:t>
            </a:r>
            <a:endParaRPr lang="zh-TW" altLang="en-US" sz="2400" dirty="0">
              <a:solidFill>
                <a:prstClr val="white"/>
              </a:solidFill>
            </a:endParaRPr>
          </a:p>
        </p:txBody>
      </p:sp>
      <p:cxnSp>
        <p:nvCxnSpPr>
          <p:cNvPr id="41" name="直線單箭頭接點 40"/>
          <p:cNvCxnSpPr/>
          <p:nvPr/>
        </p:nvCxnSpPr>
        <p:spPr>
          <a:xfrm flipV="1">
            <a:off x="4257675" y="5978318"/>
            <a:ext cx="628650" cy="0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直線單箭頭接點 41"/>
          <p:cNvCxnSpPr>
            <a:stCxn id="7" idx="3"/>
            <a:endCxn id="40" idx="1"/>
          </p:cNvCxnSpPr>
          <p:nvPr/>
        </p:nvCxnSpPr>
        <p:spPr>
          <a:xfrm>
            <a:off x="1809750" y="4353535"/>
            <a:ext cx="942522" cy="1616604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文字方塊 42"/>
          <p:cNvSpPr txBox="1"/>
          <p:nvPr/>
        </p:nvSpPr>
        <p:spPr>
          <a:xfrm>
            <a:off x="6319753" y="3899779"/>
            <a:ext cx="2559050" cy="523220"/>
          </a:xfrm>
          <a:prstGeom prst="rect">
            <a:avLst/>
          </a:prstGeom>
        </p:spPr>
        <p:style>
          <a:lnRef idx="0">
            <a:schemeClr val="dk1"/>
          </a:lnRef>
          <a:fillRef idx="3">
            <a:schemeClr val="dk1"/>
          </a:fillRef>
          <a:effectRef idx="3">
            <a:schemeClr val="dk1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altLang="zh-TW" sz="2800" dirty="0">
                <a:solidFill>
                  <a:prstClr val="white"/>
                </a:solidFill>
              </a:rPr>
              <a:t>Little examples</a:t>
            </a:r>
            <a:endParaRPr lang="zh-TW" altLang="en-US" sz="2800" dirty="0">
              <a:solidFill>
                <a:prstClr val="white"/>
              </a:solidFill>
            </a:endParaRPr>
          </a:p>
        </p:txBody>
      </p:sp>
      <p:sp>
        <p:nvSpPr>
          <p:cNvPr id="44" name="文字方塊 43"/>
          <p:cNvSpPr txBox="1"/>
          <p:nvPr/>
        </p:nvSpPr>
        <p:spPr>
          <a:xfrm>
            <a:off x="3631576" y="3899779"/>
            <a:ext cx="1447800" cy="523220"/>
          </a:xfrm>
          <a:prstGeom prst="rect">
            <a:avLst/>
          </a:prstGeom>
        </p:spPr>
        <p:style>
          <a:lnRef idx="0">
            <a:schemeClr val="dk1"/>
          </a:lnRef>
          <a:fillRef idx="3">
            <a:schemeClr val="dk1"/>
          </a:fillRef>
          <a:effectRef idx="3">
            <a:schemeClr val="dk1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altLang="zh-TW" sz="2800" dirty="0">
                <a:solidFill>
                  <a:prstClr val="white"/>
                </a:solidFill>
              </a:rPr>
              <a:t>weak</a:t>
            </a:r>
            <a:endParaRPr lang="zh-TW" altLang="en-US" sz="280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9333928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7" fill="hold">
                      <p:stCondLst>
                        <p:cond delay="indefinite"/>
                      </p:stCondLst>
                      <p:childTnLst>
                        <p:par>
                          <p:cTn id="58" fill="hold">
                            <p:stCondLst>
                              <p:cond delay="0"/>
                            </p:stCondLst>
                            <p:childTnLst>
                              <p:par>
                                <p:cTn id="5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1" fill="hold">
                      <p:stCondLst>
                        <p:cond delay="indefinite"/>
                      </p:stCondLst>
                      <p:childTnLst>
                        <p:par>
                          <p:cTn id="62" fill="hold">
                            <p:stCondLst>
                              <p:cond delay="0"/>
                            </p:stCondLst>
                            <p:childTnLst>
                              <p:par>
                                <p:cTn id="6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 animBg="1"/>
      <p:bldP spid="8" grpId="0" animBg="1"/>
      <p:bldP spid="9" grpId="0" animBg="1"/>
      <p:bldP spid="10" grpId="0" animBg="1"/>
      <p:bldP spid="18" grpId="0" animBg="1"/>
      <p:bldP spid="19" grpId="0" animBg="1"/>
      <p:bldP spid="20" grpId="0" animBg="1"/>
      <p:bldP spid="22" grpId="0" animBg="1"/>
      <p:bldP spid="26" grpId="0" animBg="1"/>
      <p:bldP spid="33" grpId="0" animBg="1"/>
      <p:bldP spid="34" grpId="0" animBg="1"/>
      <p:bldP spid="35" grpId="0" animBg="1"/>
      <p:bldP spid="36" grpId="0" animBg="1"/>
      <p:bldP spid="37" grpId="0" animBg="1"/>
      <p:bldP spid="38" grpId="0" animBg="1"/>
      <p:bldP spid="39" grpId="0" animBg="1"/>
      <p:bldP spid="40" grpId="0" animBg="1"/>
      <p:bldP spid="43" grpId="0" animBg="1"/>
      <p:bldP spid="44" grpId="0" animBg="1"/>
    </p:bldLst>
  </p:timing>
</p:sld>
</file>

<file path=ppt/slides/slide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628650" y="288724"/>
            <a:ext cx="7886700" cy="1325563"/>
          </a:xfrm>
        </p:spPr>
        <p:txBody>
          <a:bodyPr/>
          <a:lstStyle/>
          <a:p>
            <a:r>
              <a:rPr lang="en-US" altLang="zh-TW" dirty="0"/>
              <a:t>Why Deep?</a:t>
            </a:r>
            <a:endParaRPr lang="zh-TW" altLang="en-US" dirty="0"/>
          </a:p>
        </p:txBody>
      </p:sp>
      <p:sp>
        <p:nvSpPr>
          <p:cNvPr id="3" name="內容版面配置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altLang="zh-TW" dirty="0"/>
              <a:t>Deep → Modularization</a:t>
            </a:r>
            <a:endParaRPr lang="zh-TW" altLang="en-US" dirty="0"/>
          </a:p>
          <a:p>
            <a:endParaRPr lang="zh-TW" altLang="en-US" dirty="0"/>
          </a:p>
        </p:txBody>
      </p:sp>
      <p:sp>
        <p:nvSpPr>
          <p:cNvPr id="7" name="矩形 6"/>
          <p:cNvSpPr/>
          <p:nvPr/>
        </p:nvSpPr>
        <p:spPr>
          <a:xfrm>
            <a:off x="136992" y="3384615"/>
            <a:ext cx="1123950" cy="1388879"/>
          </a:xfrm>
          <a:prstGeom prst="rect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altLang="zh-TW" sz="2400" dirty="0">
                <a:solidFill>
                  <a:prstClr val="black"/>
                </a:solidFill>
              </a:rPr>
              <a:t>Image</a:t>
            </a:r>
            <a:endParaRPr lang="zh-TW" altLang="en-US" sz="2400" dirty="0">
              <a:solidFill>
                <a:prstClr val="black"/>
              </a:solidFill>
            </a:endParaRPr>
          </a:p>
        </p:txBody>
      </p:sp>
      <p:cxnSp>
        <p:nvCxnSpPr>
          <p:cNvPr id="11" name="直線單箭頭接點 10"/>
          <p:cNvCxnSpPr>
            <a:stCxn id="7" idx="3"/>
            <a:endCxn id="22" idx="1"/>
          </p:cNvCxnSpPr>
          <p:nvPr/>
        </p:nvCxnSpPr>
        <p:spPr>
          <a:xfrm flipV="1">
            <a:off x="1260942" y="3286042"/>
            <a:ext cx="559595" cy="793013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直線單箭頭接點 11"/>
          <p:cNvCxnSpPr>
            <a:stCxn id="7" idx="3"/>
            <a:endCxn id="20" idx="1"/>
          </p:cNvCxnSpPr>
          <p:nvPr/>
        </p:nvCxnSpPr>
        <p:spPr>
          <a:xfrm>
            <a:off x="1260942" y="4079055"/>
            <a:ext cx="559595" cy="952209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矩形 19"/>
          <p:cNvSpPr/>
          <p:nvPr/>
        </p:nvSpPr>
        <p:spPr>
          <a:xfrm>
            <a:off x="1820537" y="4615765"/>
            <a:ext cx="1581229" cy="830997"/>
          </a:xfrm>
          <a:prstGeom prst="rect">
            <a:avLst/>
          </a:prstGeom>
        </p:spPr>
        <p:style>
          <a:lnRef idx="0">
            <a:schemeClr val="dk1"/>
          </a:lnRef>
          <a:fillRef idx="3">
            <a:schemeClr val="dk1"/>
          </a:fillRef>
          <a:effectRef idx="3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altLang="zh-TW" sz="2400" dirty="0">
                <a:solidFill>
                  <a:prstClr val="white"/>
                </a:solidFill>
              </a:rPr>
              <a:t>Long or short?</a:t>
            </a:r>
            <a:endParaRPr lang="zh-TW" altLang="en-US" sz="2400" dirty="0">
              <a:solidFill>
                <a:prstClr val="white"/>
              </a:solidFill>
            </a:endParaRPr>
          </a:p>
        </p:txBody>
      </p:sp>
      <p:sp>
        <p:nvSpPr>
          <p:cNvPr id="22" name="矩形 21"/>
          <p:cNvSpPr/>
          <p:nvPr/>
        </p:nvSpPr>
        <p:spPr>
          <a:xfrm>
            <a:off x="1820537" y="2870543"/>
            <a:ext cx="1626471" cy="830997"/>
          </a:xfrm>
          <a:prstGeom prst="rect">
            <a:avLst/>
          </a:prstGeom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altLang="zh-TW" sz="2400" dirty="0">
                <a:solidFill>
                  <a:prstClr val="white"/>
                </a:solidFill>
              </a:rPr>
              <a:t>Boy or Girl?</a:t>
            </a:r>
            <a:endParaRPr lang="zh-TW" altLang="en-US" sz="2400" dirty="0">
              <a:solidFill>
                <a:prstClr val="white"/>
              </a:solidFill>
            </a:endParaRPr>
          </a:p>
        </p:txBody>
      </p:sp>
      <p:sp>
        <p:nvSpPr>
          <p:cNvPr id="52" name="文字方塊 51"/>
          <p:cNvSpPr txBox="1"/>
          <p:nvPr/>
        </p:nvSpPr>
        <p:spPr>
          <a:xfrm>
            <a:off x="1367833" y="5628619"/>
            <a:ext cx="2392155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altLang="zh-TW" sz="2400" dirty="0">
                <a:solidFill>
                  <a:prstClr val="black"/>
                </a:solidFill>
                <a:latin typeface="Calibri"/>
              </a:rPr>
              <a:t>Classifiers for the attributes</a:t>
            </a:r>
            <a:endParaRPr lang="zh-TW" altLang="en-US" sz="2400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5" name="矩形 14"/>
          <p:cNvSpPr/>
          <p:nvPr/>
        </p:nvSpPr>
        <p:spPr>
          <a:xfrm>
            <a:off x="8162444" y="2400813"/>
            <a:ext cx="825500" cy="799887"/>
          </a:xfrm>
          <a:prstGeom prst="rect">
            <a:avLst/>
          </a:prstGeom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altLang="zh-TW" sz="1400" dirty="0">
                <a:solidFill>
                  <a:prstClr val="black"/>
                </a:solidFill>
              </a:rPr>
              <a:t>Chieko</a:t>
            </a:r>
            <a:endParaRPr lang="zh-TW" altLang="en-US" sz="1400" dirty="0">
              <a:solidFill>
                <a:prstClr val="black"/>
              </a:solidFill>
            </a:endParaRPr>
          </a:p>
        </p:txBody>
      </p:sp>
      <p:sp>
        <p:nvSpPr>
          <p:cNvPr id="16" name="矩形 15"/>
          <p:cNvSpPr/>
          <p:nvPr/>
        </p:nvSpPr>
        <p:spPr>
          <a:xfrm>
            <a:off x="4302500" y="2486155"/>
            <a:ext cx="825500" cy="799887"/>
          </a:xfrm>
          <a:prstGeom prst="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altLang="zh-TW" sz="1400" dirty="0">
                <a:solidFill>
                  <a:prstClr val="black"/>
                </a:solidFill>
              </a:rPr>
              <a:t>Long hair woman</a:t>
            </a:r>
            <a:endParaRPr lang="zh-TW" altLang="en-US" sz="1400" dirty="0">
              <a:solidFill>
                <a:prstClr val="black"/>
              </a:solidFill>
            </a:endParaRPr>
          </a:p>
        </p:txBody>
      </p:sp>
      <p:sp>
        <p:nvSpPr>
          <p:cNvPr id="17" name="矩形 16"/>
          <p:cNvSpPr/>
          <p:nvPr/>
        </p:nvSpPr>
        <p:spPr>
          <a:xfrm>
            <a:off x="4644550" y="2623291"/>
            <a:ext cx="825500" cy="799887"/>
          </a:xfrm>
          <a:prstGeom prst="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altLang="zh-TW" sz="1400" dirty="0">
                <a:solidFill>
                  <a:prstClr val="black"/>
                </a:solidFill>
              </a:rPr>
              <a:t>Long hair woman</a:t>
            </a:r>
            <a:endParaRPr lang="zh-TW" altLang="en-US" sz="1400" dirty="0">
              <a:solidFill>
                <a:prstClr val="black"/>
              </a:solidFill>
            </a:endParaRPr>
          </a:p>
        </p:txBody>
      </p:sp>
      <p:sp>
        <p:nvSpPr>
          <p:cNvPr id="18" name="矩形 17"/>
          <p:cNvSpPr/>
          <p:nvPr/>
        </p:nvSpPr>
        <p:spPr>
          <a:xfrm>
            <a:off x="4985182" y="2771985"/>
            <a:ext cx="825500" cy="799887"/>
          </a:xfrm>
          <a:prstGeom prst="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altLang="zh-TW" sz="1400" dirty="0">
                <a:solidFill>
                  <a:prstClr val="black"/>
                </a:solidFill>
              </a:rPr>
              <a:t>Long hair woman</a:t>
            </a:r>
            <a:endParaRPr lang="zh-TW" altLang="en-US" sz="1400" dirty="0">
              <a:solidFill>
                <a:prstClr val="black"/>
              </a:solidFill>
            </a:endParaRPr>
          </a:p>
        </p:txBody>
      </p:sp>
      <p:sp>
        <p:nvSpPr>
          <p:cNvPr id="19" name="矩形 18"/>
          <p:cNvSpPr/>
          <p:nvPr/>
        </p:nvSpPr>
        <p:spPr>
          <a:xfrm>
            <a:off x="5325814" y="2886098"/>
            <a:ext cx="825500" cy="799887"/>
          </a:xfrm>
          <a:prstGeom prst="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altLang="zh-TW" sz="1400" dirty="0">
                <a:solidFill>
                  <a:prstClr val="black"/>
                </a:solidFill>
              </a:rPr>
              <a:t>Long hair woman</a:t>
            </a:r>
            <a:endParaRPr lang="zh-TW" altLang="en-US" sz="1400" dirty="0">
              <a:solidFill>
                <a:prstClr val="black"/>
              </a:solidFill>
            </a:endParaRPr>
          </a:p>
        </p:txBody>
      </p:sp>
      <p:sp>
        <p:nvSpPr>
          <p:cNvPr id="23" name="矩形 22"/>
          <p:cNvSpPr/>
          <p:nvPr/>
        </p:nvSpPr>
        <p:spPr>
          <a:xfrm>
            <a:off x="3652079" y="2800757"/>
            <a:ext cx="825500" cy="799887"/>
          </a:xfrm>
          <a:prstGeom prst="rect">
            <a:avLst/>
          </a:prstGeo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altLang="zh-TW" sz="1400" dirty="0">
                <a:solidFill>
                  <a:prstClr val="black"/>
                </a:solidFill>
              </a:rPr>
              <a:t>Short hair woman</a:t>
            </a:r>
            <a:endParaRPr lang="zh-TW" altLang="en-US" sz="1400" dirty="0">
              <a:solidFill>
                <a:prstClr val="black"/>
              </a:solidFill>
            </a:endParaRPr>
          </a:p>
        </p:txBody>
      </p:sp>
      <p:sp>
        <p:nvSpPr>
          <p:cNvPr id="24" name="矩形 23"/>
          <p:cNvSpPr/>
          <p:nvPr/>
        </p:nvSpPr>
        <p:spPr>
          <a:xfrm>
            <a:off x="6783793" y="3040803"/>
            <a:ext cx="825500" cy="799887"/>
          </a:xfrm>
          <a:prstGeom prst="rect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altLang="zh-TW" sz="1400" dirty="0">
                <a:solidFill>
                  <a:prstClr val="black"/>
                </a:solidFill>
              </a:rPr>
              <a:t>Short hair male</a:t>
            </a:r>
            <a:endParaRPr lang="zh-TW" altLang="en-US" sz="1400" dirty="0">
              <a:solidFill>
                <a:prstClr val="black"/>
              </a:solidFill>
            </a:endParaRPr>
          </a:p>
        </p:txBody>
      </p:sp>
      <p:sp>
        <p:nvSpPr>
          <p:cNvPr id="25" name="矩形 24"/>
          <p:cNvSpPr/>
          <p:nvPr/>
        </p:nvSpPr>
        <p:spPr>
          <a:xfrm>
            <a:off x="7105375" y="3154768"/>
            <a:ext cx="825500" cy="799887"/>
          </a:xfrm>
          <a:prstGeom prst="rect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altLang="zh-TW" sz="1400" dirty="0">
                <a:solidFill>
                  <a:prstClr val="black"/>
                </a:solidFill>
              </a:rPr>
              <a:t>Short hair male</a:t>
            </a:r>
            <a:endParaRPr lang="zh-TW" altLang="en-US" sz="1400" dirty="0">
              <a:solidFill>
                <a:prstClr val="black"/>
              </a:solidFill>
            </a:endParaRPr>
          </a:p>
        </p:txBody>
      </p:sp>
      <p:sp>
        <p:nvSpPr>
          <p:cNvPr id="26" name="矩形 25"/>
          <p:cNvSpPr/>
          <p:nvPr/>
        </p:nvSpPr>
        <p:spPr>
          <a:xfrm>
            <a:off x="7473449" y="3298351"/>
            <a:ext cx="825500" cy="799887"/>
          </a:xfrm>
          <a:prstGeom prst="rect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altLang="zh-TW" sz="1400" dirty="0">
                <a:solidFill>
                  <a:prstClr val="black"/>
                </a:solidFill>
              </a:rPr>
              <a:t>Short hair male</a:t>
            </a:r>
            <a:endParaRPr lang="zh-TW" altLang="en-US" sz="1400" dirty="0">
              <a:solidFill>
                <a:prstClr val="black"/>
              </a:solidFill>
            </a:endParaRPr>
          </a:p>
        </p:txBody>
      </p:sp>
      <p:sp>
        <p:nvSpPr>
          <p:cNvPr id="27" name="矩形 26"/>
          <p:cNvSpPr/>
          <p:nvPr/>
        </p:nvSpPr>
        <p:spPr>
          <a:xfrm>
            <a:off x="7811133" y="3440746"/>
            <a:ext cx="825500" cy="799887"/>
          </a:xfrm>
          <a:prstGeom prst="rect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altLang="zh-TW" sz="1400" dirty="0">
                <a:solidFill>
                  <a:prstClr val="black"/>
                </a:solidFill>
              </a:rPr>
              <a:t>Short hair male</a:t>
            </a:r>
            <a:endParaRPr lang="zh-TW" altLang="en-US" sz="1400" dirty="0">
              <a:solidFill>
                <a:prstClr val="black"/>
              </a:solidFill>
            </a:endParaRPr>
          </a:p>
        </p:txBody>
      </p:sp>
      <p:sp>
        <p:nvSpPr>
          <p:cNvPr id="29" name="矩形 28"/>
          <p:cNvSpPr/>
          <p:nvPr/>
        </p:nvSpPr>
        <p:spPr>
          <a:xfrm>
            <a:off x="3973661" y="2938654"/>
            <a:ext cx="825500" cy="799887"/>
          </a:xfrm>
          <a:prstGeom prst="rect">
            <a:avLst/>
          </a:prstGeo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altLang="zh-TW" sz="1400" dirty="0">
                <a:solidFill>
                  <a:prstClr val="black"/>
                </a:solidFill>
              </a:rPr>
              <a:t>Short hair woman</a:t>
            </a:r>
            <a:endParaRPr lang="zh-TW" altLang="en-US" sz="1400" dirty="0">
              <a:solidFill>
                <a:prstClr val="black"/>
              </a:solidFill>
            </a:endParaRPr>
          </a:p>
        </p:txBody>
      </p:sp>
      <p:sp>
        <p:nvSpPr>
          <p:cNvPr id="30" name="矩形 29"/>
          <p:cNvSpPr/>
          <p:nvPr/>
        </p:nvSpPr>
        <p:spPr>
          <a:xfrm>
            <a:off x="4316334" y="3107533"/>
            <a:ext cx="825500" cy="799887"/>
          </a:xfrm>
          <a:prstGeom prst="rect">
            <a:avLst/>
          </a:prstGeo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altLang="zh-TW" sz="1400" dirty="0">
                <a:solidFill>
                  <a:prstClr val="black"/>
                </a:solidFill>
              </a:rPr>
              <a:t>Short hair woman</a:t>
            </a:r>
            <a:endParaRPr lang="zh-TW" altLang="en-US" sz="1400" dirty="0">
              <a:solidFill>
                <a:prstClr val="black"/>
              </a:solidFill>
            </a:endParaRPr>
          </a:p>
        </p:txBody>
      </p:sp>
      <p:sp>
        <p:nvSpPr>
          <p:cNvPr id="31" name="矩形 30"/>
          <p:cNvSpPr/>
          <p:nvPr/>
        </p:nvSpPr>
        <p:spPr>
          <a:xfrm>
            <a:off x="4702892" y="3249928"/>
            <a:ext cx="825500" cy="799887"/>
          </a:xfrm>
          <a:prstGeom prst="rect">
            <a:avLst/>
          </a:prstGeo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altLang="zh-TW" sz="1400" dirty="0">
                <a:solidFill>
                  <a:prstClr val="black"/>
                </a:solidFill>
              </a:rPr>
              <a:t>Short hair woman</a:t>
            </a:r>
            <a:endParaRPr lang="zh-TW" altLang="en-US" sz="1400" dirty="0">
              <a:solidFill>
                <a:prstClr val="black"/>
              </a:solidFill>
            </a:endParaRPr>
          </a:p>
        </p:txBody>
      </p:sp>
      <p:sp>
        <p:nvSpPr>
          <p:cNvPr id="6" name="文字方塊 5"/>
          <p:cNvSpPr txBox="1"/>
          <p:nvPr/>
        </p:nvSpPr>
        <p:spPr>
          <a:xfrm>
            <a:off x="5991119" y="3031491"/>
            <a:ext cx="97311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altLang="zh-TW" sz="2800" dirty="0" err="1">
                <a:solidFill>
                  <a:prstClr val="black"/>
                </a:solidFill>
                <a:latin typeface="Calibri"/>
              </a:rPr>
              <a:t>v.s</a:t>
            </a:r>
            <a:r>
              <a:rPr lang="en-US" altLang="zh-TW" sz="2800" dirty="0">
                <a:solidFill>
                  <a:prstClr val="black"/>
                </a:solidFill>
                <a:latin typeface="Calibri"/>
              </a:rPr>
              <a:t>.</a:t>
            </a:r>
            <a:endParaRPr lang="zh-TW" altLang="en-US" sz="2800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45" name="矩形 44"/>
          <p:cNvSpPr/>
          <p:nvPr/>
        </p:nvSpPr>
        <p:spPr>
          <a:xfrm>
            <a:off x="3994970" y="5478034"/>
            <a:ext cx="825500" cy="799887"/>
          </a:xfrm>
          <a:prstGeom prst="rect">
            <a:avLst/>
          </a:prstGeom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altLang="zh-TW" sz="1400" dirty="0">
                <a:solidFill>
                  <a:prstClr val="black"/>
                </a:solidFill>
              </a:rPr>
              <a:t>Chieko</a:t>
            </a:r>
            <a:endParaRPr lang="zh-TW" altLang="en-US" sz="1400" dirty="0">
              <a:solidFill>
                <a:prstClr val="black"/>
              </a:solidFill>
            </a:endParaRPr>
          </a:p>
        </p:txBody>
      </p:sp>
      <p:sp>
        <p:nvSpPr>
          <p:cNvPr id="46" name="矩形 45"/>
          <p:cNvSpPr/>
          <p:nvPr/>
        </p:nvSpPr>
        <p:spPr>
          <a:xfrm>
            <a:off x="4065670" y="4434541"/>
            <a:ext cx="825500" cy="799887"/>
          </a:xfrm>
          <a:prstGeom prst="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altLang="zh-TW" sz="1400" dirty="0">
                <a:solidFill>
                  <a:prstClr val="black"/>
                </a:solidFill>
              </a:rPr>
              <a:t>Long hair woman</a:t>
            </a:r>
            <a:endParaRPr lang="zh-TW" altLang="en-US" sz="1400" dirty="0">
              <a:solidFill>
                <a:prstClr val="black"/>
              </a:solidFill>
            </a:endParaRPr>
          </a:p>
        </p:txBody>
      </p:sp>
      <p:sp>
        <p:nvSpPr>
          <p:cNvPr id="47" name="矩形 46"/>
          <p:cNvSpPr/>
          <p:nvPr/>
        </p:nvSpPr>
        <p:spPr>
          <a:xfrm>
            <a:off x="4407720" y="4571677"/>
            <a:ext cx="825500" cy="799887"/>
          </a:xfrm>
          <a:prstGeom prst="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altLang="zh-TW" sz="1400" dirty="0">
                <a:solidFill>
                  <a:prstClr val="black"/>
                </a:solidFill>
              </a:rPr>
              <a:t>Long hair woman</a:t>
            </a:r>
            <a:endParaRPr lang="zh-TW" altLang="en-US" sz="1400" dirty="0">
              <a:solidFill>
                <a:prstClr val="black"/>
              </a:solidFill>
            </a:endParaRPr>
          </a:p>
        </p:txBody>
      </p:sp>
      <p:sp>
        <p:nvSpPr>
          <p:cNvPr id="48" name="矩形 47"/>
          <p:cNvSpPr/>
          <p:nvPr/>
        </p:nvSpPr>
        <p:spPr>
          <a:xfrm>
            <a:off x="4748352" y="4720371"/>
            <a:ext cx="825500" cy="799887"/>
          </a:xfrm>
          <a:prstGeom prst="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altLang="zh-TW" sz="1400" dirty="0">
                <a:solidFill>
                  <a:prstClr val="black"/>
                </a:solidFill>
              </a:rPr>
              <a:t>Long hair woman</a:t>
            </a:r>
            <a:endParaRPr lang="zh-TW" altLang="en-US" sz="1400" dirty="0">
              <a:solidFill>
                <a:prstClr val="black"/>
              </a:solidFill>
            </a:endParaRPr>
          </a:p>
        </p:txBody>
      </p:sp>
      <p:sp>
        <p:nvSpPr>
          <p:cNvPr id="49" name="矩形 48"/>
          <p:cNvSpPr/>
          <p:nvPr/>
        </p:nvSpPr>
        <p:spPr>
          <a:xfrm>
            <a:off x="5088984" y="4834484"/>
            <a:ext cx="825500" cy="799887"/>
          </a:xfrm>
          <a:prstGeom prst="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altLang="zh-TW" sz="1400" dirty="0">
                <a:solidFill>
                  <a:prstClr val="black"/>
                </a:solidFill>
              </a:rPr>
              <a:t>Long hair woman</a:t>
            </a:r>
            <a:endParaRPr lang="zh-TW" altLang="en-US" sz="1400" dirty="0">
              <a:solidFill>
                <a:prstClr val="black"/>
              </a:solidFill>
            </a:endParaRPr>
          </a:p>
        </p:txBody>
      </p:sp>
      <p:sp>
        <p:nvSpPr>
          <p:cNvPr id="50" name="矩形 49"/>
          <p:cNvSpPr/>
          <p:nvPr/>
        </p:nvSpPr>
        <p:spPr>
          <a:xfrm>
            <a:off x="6903535" y="4425046"/>
            <a:ext cx="825500" cy="799887"/>
          </a:xfrm>
          <a:prstGeom prst="rect">
            <a:avLst/>
          </a:prstGeo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sz="1400" dirty="0">
                <a:solidFill>
                  <a:prstClr val="black"/>
                </a:solidFill>
              </a:rPr>
              <a:t>Short hair woman</a:t>
            </a:r>
            <a:endParaRPr lang="zh-TW" altLang="en-US" sz="1400" dirty="0">
              <a:solidFill>
                <a:prstClr val="black"/>
              </a:solidFill>
            </a:endParaRPr>
          </a:p>
        </p:txBody>
      </p:sp>
      <p:sp>
        <p:nvSpPr>
          <p:cNvPr id="51" name="矩形 50"/>
          <p:cNvSpPr/>
          <p:nvPr/>
        </p:nvSpPr>
        <p:spPr>
          <a:xfrm>
            <a:off x="6929511" y="5354411"/>
            <a:ext cx="825500" cy="799887"/>
          </a:xfrm>
          <a:prstGeom prst="rect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altLang="zh-TW" sz="1400" dirty="0">
                <a:solidFill>
                  <a:prstClr val="black"/>
                </a:solidFill>
              </a:rPr>
              <a:t>Short hair male </a:t>
            </a:r>
            <a:endParaRPr lang="zh-TW" altLang="en-US" sz="1400" dirty="0">
              <a:solidFill>
                <a:prstClr val="black"/>
              </a:solidFill>
            </a:endParaRPr>
          </a:p>
        </p:txBody>
      </p:sp>
      <p:sp>
        <p:nvSpPr>
          <p:cNvPr id="53" name="矩形 52"/>
          <p:cNvSpPr/>
          <p:nvPr/>
        </p:nvSpPr>
        <p:spPr>
          <a:xfrm>
            <a:off x="7251093" y="5468376"/>
            <a:ext cx="825500" cy="799887"/>
          </a:xfrm>
          <a:prstGeom prst="rect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altLang="zh-TW" sz="1400" dirty="0">
                <a:solidFill>
                  <a:prstClr val="black"/>
                </a:solidFill>
              </a:rPr>
              <a:t>Short hair male </a:t>
            </a:r>
            <a:endParaRPr lang="zh-TW" altLang="en-US" sz="1400" dirty="0">
              <a:solidFill>
                <a:prstClr val="black"/>
              </a:solidFill>
            </a:endParaRPr>
          </a:p>
        </p:txBody>
      </p:sp>
      <p:sp>
        <p:nvSpPr>
          <p:cNvPr id="54" name="矩形 53"/>
          <p:cNvSpPr/>
          <p:nvPr/>
        </p:nvSpPr>
        <p:spPr>
          <a:xfrm>
            <a:off x="7619167" y="5611959"/>
            <a:ext cx="825500" cy="799887"/>
          </a:xfrm>
          <a:prstGeom prst="rect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altLang="zh-TW" sz="1400" dirty="0">
                <a:solidFill>
                  <a:prstClr val="black"/>
                </a:solidFill>
              </a:rPr>
              <a:t>Short hair male </a:t>
            </a:r>
            <a:endParaRPr lang="zh-TW" altLang="en-US" sz="1400" dirty="0">
              <a:solidFill>
                <a:prstClr val="black"/>
              </a:solidFill>
            </a:endParaRPr>
          </a:p>
        </p:txBody>
      </p:sp>
      <p:sp>
        <p:nvSpPr>
          <p:cNvPr id="55" name="矩形 54"/>
          <p:cNvSpPr/>
          <p:nvPr/>
        </p:nvSpPr>
        <p:spPr>
          <a:xfrm>
            <a:off x="7956851" y="5754354"/>
            <a:ext cx="825500" cy="799887"/>
          </a:xfrm>
          <a:prstGeom prst="rect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altLang="zh-TW" sz="1400" dirty="0">
                <a:solidFill>
                  <a:prstClr val="black"/>
                </a:solidFill>
              </a:rPr>
              <a:t>Short hair male </a:t>
            </a:r>
            <a:endParaRPr lang="zh-TW" altLang="en-US" sz="1400" dirty="0">
              <a:solidFill>
                <a:prstClr val="black"/>
              </a:solidFill>
            </a:endParaRPr>
          </a:p>
        </p:txBody>
      </p:sp>
      <p:sp>
        <p:nvSpPr>
          <p:cNvPr id="56" name="矩形 55"/>
          <p:cNvSpPr/>
          <p:nvPr/>
        </p:nvSpPr>
        <p:spPr>
          <a:xfrm>
            <a:off x="7225117" y="4562943"/>
            <a:ext cx="825500" cy="799887"/>
          </a:xfrm>
          <a:prstGeom prst="rect">
            <a:avLst/>
          </a:prstGeo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sz="1400" dirty="0">
                <a:solidFill>
                  <a:prstClr val="black"/>
                </a:solidFill>
              </a:rPr>
              <a:t>Short hair woman</a:t>
            </a:r>
            <a:endParaRPr lang="zh-TW" altLang="en-US" sz="1400" dirty="0">
              <a:solidFill>
                <a:prstClr val="black"/>
              </a:solidFill>
            </a:endParaRPr>
          </a:p>
        </p:txBody>
      </p:sp>
      <p:sp>
        <p:nvSpPr>
          <p:cNvPr id="57" name="矩形 56"/>
          <p:cNvSpPr/>
          <p:nvPr/>
        </p:nvSpPr>
        <p:spPr>
          <a:xfrm>
            <a:off x="7567790" y="4731822"/>
            <a:ext cx="825500" cy="799887"/>
          </a:xfrm>
          <a:prstGeom prst="rect">
            <a:avLst/>
          </a:prstGeo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sz="1400" dirty="0">
                <a:solidFill>
                  <a:prstClr val="black"/>
                </a:solidFill>
              </a:rPr>
              <a:t>Short hair woman</a:t>
            </a:r>
            <a:endParaRPr lang="zh-TW" altLang="en-US" sz="1400" dirty="0">
              <a:solidFill>
                <a:prstClr val="black"/>
              </a:solidFill>
            </a:endParaRPr>
          </a:p>
        </p:txBody>
      </p:sp>
      <p:sp>
        <p:nvSpPr>
          <p:cNvPr id="58" name="矩形 57"/>
          <p:cNvSpPr/>
          <p:nvPr/>
        </p:nvSpPr>
        <p:spPr>
          <a:xfrm>
            <a:off x="7954348" y="4874217"/>
            <a:ext cx="825500" cy="799887"/>
          </a:xfrm>
          <a:prstGeom prst="rect">
            <a:avLst/>
          </a:prstGeo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sz="1400" dirty="0">
                <a:solidFill>
                  <a:prstClr val="black"/>
                </a:solidFill>
              </a:rPr>
              <a:t>Short hair woman</a:t>
            </a:r>
            <a:endParaRPr lang="zh-TW" altLang="en-US" sz="1400" dirty="0">
              <a:solidFill>
                <a:prstClr val="black"/>
              </a:solidFill>
            </a:endParaRPr>
          </a:p>
        </p:txBody>
      </p:sp>
      <p:sp>
        <p:nvSpPr>
          <p:cNvPr id="59" name="文字方塊 58"/>
          <p:cNvSpPr txBox="1"/>
          <p:nvPr/>
        </p:nvSpPr>
        <p:spPr>
          <a:xfrm>
            <a:off x="6000440" y="5014805"/>
            <a:ext cx="97311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altLang="zh-TW" sz="2800" dirty="0" err="1">
                <a:solidFill>
                  <a:prstClr val="black"/>
                </a:solidFill>
                <a:latin typeface="Calibri"/>
              </a:rPr>
              <a:t>v.s</a:t>
            </a:r>
            <a:r>
              <a:rPr lang="en-US" altLang="zh-TW" sz="2800" dirty="0">
                <a:solidFill>
                  <a:prstClr val="black"/>
                </a:solidFill>
                <a:latin typeface="Calibri"/>
              </a:rPr>
              <a:t>.</a:t>
            </a:r>
            <a:endParaRPr lang="zh-TW" altLang="en-US" sz="2800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28" name="文字方塊 27"/>
          <p:cNvSpPr txBox="1"/>
          <p:nvPr/>
        </p:nvSpPr>
        <p:spPr>
          <a:xfrm>
            <a:off x="4064829" y="554237"/>
            <a:ext cx="4594665" cy="954107"/>
          </a:xfrm>
          <a:prstGeom prst="rect">
            <a:avLst/>
          </a:prstGeom>
        </p:spPr>
        <p:style>
          <a:lnRef idx="0">
            <a:schemeClr val="dk1"/>
          </a:lnRef>
          <a:fillRef idx="3">
            <a:schemeClr val="dk1"/>
          </a:fillRef>
          <a:effectRef idx="3">
            <a:schemeClr val="dk1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altLang="zh-TW" sz="2800" dirty="0">
                <a:solidFill>
                  <a:prstClr val="white"/>
                </a:solidFill>
              </a:rPr>
              <a:t>Each basic classifier can have sufficient training examples.</a:t>
            </a:r>
            <a:endParaRPr lang="zh-TW" altLang="en-US" sz="2800" dirty="0">
              <a:solidFill>
                <a:prstClr val="white"/>
              </a:solidFill>
            </a:endParaRPr>
          </a:p>
        </p:txBody>
      </p:sp>
      <p:sp>
        <p:nvSpPr>
          <p:cNvPr id="60" name="矩形 59"/>
          <p:cNvSpPr/>
          <p:nvPr/>
        </p:nvSpPr>
        <p:spPr>
          <a:xfrm>
            <a:off x="1689032" y="2696616"/>
            <a:ext cx="1867479" cy="2843642"/>
          </a:xfrm>
          <a:prstGeom prst="rect">
            <a:avLst/>
          </a:prstGeom>
          <a:noFill/>
          <a:ln w="38100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zh-TW" altLang="en-US" sz="1800">
              <a:solidFill>
                <a:prstClr val="white"/>
              </a:solidFill>
            </a:endParaRPr>
          </a:p>
        </p:txBody>
      </p:sp>
      <p:sp>
        <p:nvSpPr>
          <p:cNvPr id="61" name="文字方塊 60"/>
          <p:cNvSpPr txBox="1"/>
          <p:nvPr/>
        </p:nvSpPr>
        <p:spPr>
          <a:xfrm>
            <a:off x="1974430" y="3740680"/>
            <a:ext cx="129251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altLang="zh-TW" sz="2400" dirty="0">
                <a:solidFill>
                  <a:srgbClr val="0000FF"/>
                </a:solidFill>
                <a:latin typeface="Calibri"/>
              </a:rPr>
              <a:t>Basic </a:t>
            </a:r>
          </a:p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altLang="zh-TW" sz="2400" dirty="0">
                <a:solidFill>
                  <a:srgbClr val="0000FF"/>
                </a:solidFill>
                <a:latin typeface="Calibri"/>
              </a:rPr>
              <a:t>Classifier</a:t>
            </a:r>
            <a:endParaRPr lang="zh-TW" altLang="en-US" sz="2400" dirty="0">
              <a:solidFill>
                <a:srgbClr val="0000FF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90074741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3" fill="hold">
                      <p:stCondLst>
                        <p:cond delay="indefinite"/>
                      </p:stCondLst>
                      <p:childTnLst>
                        <p:par>
                          <p:cTn id="64" fill="hold">
                            <p:stCondLst>
                              <p:cond delay="0"/>
                            </p:stCondLst>
                            <p:childTnLst>
                              <p:par>
                                <p:cTn id="6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 animBg="1"/>
      <p:bldP spid="16" grpId="0" animBg="1"/>
      <p:bldP spid="17" grpId="0" animBg="1"/>
      <p:bldP spid="18" grpId="0" animBg="1"/>
      <p:bldP spid="19" grpId="0" animBg="1"/>
      <p:bldP spid="23" grpId="0" animBg="1"/>
      <p:bldP spid="24" grpId="0" animBg="1"/>
      <p:bldP spid="25" grpId="0" animBg="1"/>
      <p:bldP spid="26" grpId="0" animBg="1"/>
      <p:bldP spid="27" grpId="0" animBg="1"/>
      <p:bldP spid="29" grpId="0" animBg="1"/>
      <p:bldP spid="30" grpId="0" animBg="1"/>
      <p:bldP spid="31" grpId="0" animBg="1"/>
      <p:bldP spid="6" grpId="0"/>
      <p:bldP spid="45" grpId="0" animBg="1"/>
      <p:bldP spid="46" grpId="0" animBg="1"/>
      <p:bldP spid="47" grpId="0" animBg="1"/>
      <p:bldP spid="48" grpId="0" animBg="1"/>
      <p:bldP spid="49" grpId="0" animBg="1"/>
      <p:bldP spid="50" grpId="0" animBg="1"/>
      <p:bldP spid="51" grpId="0" animBg="1"/>
      <p:bldP spid="53" grpId="0" animBg="1"/>
      <p:bldP spid="54" grpId="0" animBg="1"/>
      <p:bldP spid="55" grpId="0" animBg="1"/>
      <p:bldP spid="56" grpId="0" animBg="1"/>
      <p:bldP spid="57" grpId="0" animBg="1"/>
      <p:bldP spid="58" grpId="0" animBg="1"/>
      <p:bldP spid="59" grpId="0"/>
      <p:bldP spid="28" grpId="0" animBg="1"/>
    </p:bldLst>
  </p:timing>
</p:sld>
</file>

<file path=ppt/slides/slide8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628650" y="288724"/>
            <a:ext cx="7886700" cy="1325563"/>
          </a:xfrm>
        </p:spPr>
        <p:txBody>
          <a:bodyPr/>
          <a:lstStyle/>
          <a:p>
            <a:r>
              <a:rPr lang="en-US" altLang="zh-TW" dirty="0"/>
              <a:t>Why Deep?</a:t>
            </a:r>
            <a:endParaRPr lang="zh-TW" altLang="en-US" dirty="0"/>
          </a:p>
        </p:txBody>
      </p:sp>
      <p:sp>
        <p:nvSpPr>
          <p:cNvPr id="3" name="內容版面配置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altLang="zh-TW" dirty="0"/>
              <a:t>Deep → Modularization</a:t>
            </a:r>
            <a:endParaRPr lang="zh-TW" altLang="en-US" dirty="0"/>
          </a:p>
          <a:p>
            <a:endParaRPr lang="zh-TW" altLang="en-US" dirty="0"/>
          </a:p>
        </p:txBody>
      </p:sp>
      <p:sp>
        <p:nvSpPr>
          <p:cNvPr id="7" name="矩形 6"/>
          <p:cNvSpPr/>
          <p:nvPr/>
        </p:nvSpPr>
        <p:spPr>
          <a:xfrm>
            <a:off x="136992" y="3384615"/>
            <a:ext cx="1123950" cy="1388879"/>
          </a:xfrm>
          <a:prstGeom prst="rect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altLang="zh-TW" sz="2400" dirty="0">
                <a:solidFill>
                  <a:prstClr val="black"/>
                </a:solidFill>
              </a:rPr>
              <a:t>Image</a:t>
            </a:r>
            <a:endParaRPr lang="zh-TW" altLang="en-US" sz="2400" dirty="0">
              <a:solidFill>
                <a:prstClr val="black"/>
              </a:solidFill>
            </a:endParaRPr>
          </a:p>
        </p:txBody>
      </p:sp>
      <p:cxnSp>
        <p:nvCxnSpPr>
          <p:cNvPr id="11" name="直線單箭頭接點 10"/>
          <p:cNvCxnSpPr>
            <a:stCxn id="7" idx="3"/>
            <a:endCxn id="22" idx="1"/>
          </p:cNvCxnSpPr>
          <p:nvPr/>
        </p:nvCxnSpPr>
        <p:spPr>
          <a:xfrm flipV="1">
            <a:off x="1260942" y="3286042"/>
            <a:ext cx="559595" cy="793013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直線單箭頭接點 11"/>
          <p:cNvCxnSpPr>
            <a:stCxn id="7" idx="3"/>
            <a:endCxn id="20" idx="1"/>
          </p:cNvCxnSpPr>
          <p:nvPr/>
        </p:nvCxnSpPr>
        <p:spPr>
          <a:xfrm>
            <a:off x="1260942" y="4079055"/>
            <a:ext cx="559595" cy="952209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矩形 19"/>
          <p:cNvSpPr/>
          <p:nvPr/>
        </p:nvSpPr>
        <p:spPr>
          <a:xfrm>
            <a:off x="1820537" y="4615765"/>
            <a:ext cx="1581229" cy="830997"/>
          </a:xfrm>
          <a:prstGeom prst="rect">
            <a:avLst/>
          </a:prstGeom>
        </p:spPr>
        <p:style>
          <a:lnRef idx="0">
            <a:schemeClr val="dk1"/>
          </a:lnRef>
          <a:fillRef idx="3">
            <a:schemeClr val="dk1"/>
          </a:fillRef>
          <a:effectRef idx="3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altLang="zh-TW" sz="2400" dirty="0">
                <a:solidFill>
                  <a:prstClr val="white"/>
                </a:solidFill>
              </a:rPr>
              <a:t>Long or short?</a:t>
            </a:r>
            <a:endParaRPr lang="zh-TW" altLang="en-US" sz="2400" dirty="0">
              <a:solidFill>
                <a:prstClr val="white"/>
              </a:solidFill>
            </a:endParaRPr>
          </a:p>
        </p:txBody>
      </p:sp>
      <p:sp>
        <p:nvSpPr>
          <p:cNvPr id="22" name="矩形 21"/>
          <p:cNvSpPr/>
          <p:nvPr/>
        </p:nvSpPr>
        <p:spPr>
          <a:xfrm>
            <a:off x="1820537" y="2870543"/>
            <a:ext cx="1626471" cy="830997"/>
          </a:xfrm>
          <a:prstGeom prst="rect">
            <a:avLst/>
          </a:prstGeom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altLang="zh-TW" sz="2400" dirty="0">
                <a:solidFill>
                  <a:prstClr val="white"/>
                </a:solidFill>
              </a:rPr>
              <a:t>Boy or Girl?</a:t>
            </a:r>
            <a:endParaRPr lang="zh-TW" altLang="en-US" sz="2400" dirty="0">
              <a:solidFill>
                <a:prstClr val="white"/>
              </a:solidFill>
            </a:endParaRPr>
          </a:p>
        </p:txBody>
      </p:sp>
      <p:sp>
        <p:nvSpPr>
          <p:cNvPr id="52" name="文字方塊 51"/>
          <p:cNvSpPr txBox="1"/>
          <p:nvPr/>
        </p:nvSpPr>
        <p:spPr>
          <a:xfrm>
            <a:off x="1319269" y="5594778"/>
            <a:ext cx="2629005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altLang="zh-TW" sz="2400" dirty="0">
                <a:solidFill>
                  <a:srgbClr val="0000FF"/>
                </a:solidFill>
                <a:latin typeface="Calibri"/>
              </a:rPr>
              <a:t>Sharing by the following classifiers </a:t>
            </a:r>
            <a:r>
              <a:rPr lang="en-US" altLang="zh-TW" sz="2400" dirty="0">
                <a:solidFill>
                  <a:srgbClr val="FF0000"/>
                </a:solidFill>
                <a:latin typeface="Calibri"/>
              </a:rPr>
              <a:t>as module</a:t>
            </a:r>
            <a:endParaRPr lang="zh-TW" altLang="en-US" sz="2400" dirty="0">
              <a:solidFill>
                <a:srgbClr val="FF0000"/>
              </a:solidFill>
              <a:latin typeface="Calibri"/>
            </a:endParaRPr>
          </a:p>
        </p:txBody>
      </p:sp>
      <p:sp>
        <p:nvSpPr>
          <p:cNvPr id="39" name="文字方塊 38"/>
          <p:cNvSpPr txBox="1"/>
          <p:nvPr/>
        </p:nvSpPr>
        <p:spPr>
          <a:xfrm>
            <a:off x="4248497" y="1020355"/>
            <a:ext cx="4241454" cy="523220"/>
          </a:xfrm>
          <a:prstGeom prst="rect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altLang="zh-TW" sz="2800" dirty="0">
                <a:solidFill>
                  <a:prstClr val="white"/>
                </a:solidFill>
              </a:rPr>
              <a:t>can be trained by little data</a:t>
            </a:r>
            <a:endParaRPr lang="zh-TW" altLang="en-US" sz="2800" dirty="0">
              <a:solidFill>
                <a:prstClr val="white"/>
              </a:solidFill>
            </a:endParaRPr>
          </a:p>
        </p:txBody>
      </p:sp>
      <p:sp>
        <p:nvSpPr>
          <p:cNvPr id="40" name="文字方塊 39"/>
          <p:cNvSpPr txBox="1"/>
          <p:nvPr/>
        </p:nvSpPr>
        <p:spPr>
          <a:xfrm>
            <a:off x="6891111" y="2086160"/>
            <a:ext cx="1602014" cy="830997"/>
          </a:xfrm>
          <a:prstGeom prst="rect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altLang="zh-TW" sz="2400" dirty="0">
                <a:solidFill>
                  <a:prstClr val="white"/>
                </a:solidFill>
              </a:rPr>
              <a:t>Girls with </a:t>
            </a:r>
          </a:p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altLang="zh-TW" sz="2400" dirty="0">
                <a:solidFill>
                  <a:prstClr val="white"/>
                </a:solidFill>
              </a:rPr>
              <a:t>long hair</a:t>
            </a:r>
            <a:endParaRPr lang="zh-TW" altLang="en-US" sz="2400" dirty="0">
              <a:solidFill>
                <a:prstClr val="white"/>
              </a:solidFill>
            </a:endParaRPr>
          </a:p>
        </p:txBody>
      </p:sp>
      <p:sp>
        <p:nvSpPr>
          <p:cNvPr id="41" name="文字方塊 40"/>
          <p:cNvSpPr txBox="1"/>
          <p:nvPr/>
        </p:nvSpPr>
        <p:spPr>
          <a:xfrm>
            <a:off x="6894286" y="5279414"/>
            <a:ext cx="1621064" cy="830997"/>
          </a:xfrm>
          <a:prstGeom prst="rect">
            <a:avLst/>
          </a:prstGeom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altLang="zh-TW" sz="2400" dirty="0">
                <a:solidFill>
                  <a:prstClr val="white"/>
                </a:solidFill>
              </a:rPr>
              <a:t>Boys with short hair </a:t>
            </a:r>
            <a:endParaRPr lang="zh-TW" altLang="en-US" sz="2400" dirty="0">
              <a:solidFill>
                <a:prstClr val="white"/>
              </a:solidFill>
            </a:endParaRPr>
          </a:p>
        </p:txBody>
      </p:sp>
      <p:sp>
        <p:nvSpPr>
          <p:cNvPr id="42" name="文字方塊 41"/>
          <p:cNvSpPr txBox="1"/>
          <p:nvPr/>
        </p:nvSpPr>
        <p:spPr>
          <a:xfrm>
            <a:off x="6903811" y="3150031"/>
            <a:ext cx="1602014" cy="830997"/>
          </a:xfrm>
          <a:prstGeom prst="rect">
            <a:avLst/>
          </a:prstGeom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altLang="zh-TW" sz="2400" dirty="0">
                <a:solidFill>
                  <a:prstClr val="white"/>
                </a:solidFill>
              </a:rPr>
              <a:t>Boys with </a:t>
            </a:r>
          </a:p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altLang="zh-TW" sz="2400" dirty="0">
                <a:solidFill>
                  <a:prstClr val="white"/>
                </a:solidFill>
              </a:rPr>
              <a:t>long hair</a:t>
            </a:r>
            <a:endParaRPr lang="zh-TW" altLang="en-US" sz="2400" dirty="0">
              <a:solidFill>
                <a:prstClr val="white"/>
              </a:solidFill>
            </a:endParaRPr>
          </a:p>
        </p:txBody>
      </p:sp>
      <p:sp>
        <p:nvSpPr>
          <p:cNvPr id="43" name="矩形 42"/>
          <p:cNvSpPr/>
          <p:nvPr/>
        </p:nvSpPr>
        <p:spPr>
          <a:xfrm>
            <a:off x="4736079" y="2094812"/>
            <a:ext cx="1447800" cy="83099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altLang="zh-TW" sz="2400" dirty="0">
                <a:solidFill>
                  <a:prstClr val="white"/>
                </a:solidFill>
              </a:rPr>
              <a:t>Classifier 1</a:t>
            </a:r>
            <a:endParaRPr lang="zh-TW" altLang="en-US" sz="2400" dirty="0">
              <a:solidFill>
                <a:prstClr val="white"/>
              </a:solidFill>
            </a:endParaRPr>
          </a:p>
        </p:txBody>
      </p:sp>
      <p:sp>
        <p:nvSpPr>
          <p:cNvPr id="44" name="矩形 43"/>
          <p:cNvSpPr/>
          <p:nvPr/>
        </p:nvSpPr>
        <p:spPr>
          <a:xfrm>
            <a:off x="4729105" y="3150031"/>
            <a:ext cx="1447800" cy="830997"/>
          </a:xfrm>
          <a:prstGeom prst="rect">
            <a:avLst/>
          </a:prstGeom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altLang="zh-TW" sz="2400" dirty="0">
                <a:solidFill>
                  <a:prstClr val="white"/>
                </a:solidFill>
              </a:rPr>
              <a:t>Classifier 2</a:t>
            </a:r>
            <a:endParaRPr lang="zh-TW" altLang="en-US" sz="2400" dirty="0">
              <a:solidFill>
                <a:prstClr val="white"/>
              </a:solidFill>
            </a:endParaRPr>
          </a:p>
        </p:txBody>
      </p:sp>
      <p:sp>
        <p:nvSpPr>
          <p:cNvPr id="60" name="矩形 59"/>
          <p:cNvSpPr/>
          <p:nvPr/>
        </p:nvSpPr>
        <p:spPr>
          <a:xfrm>
            <a:off x="4726101" y="4226078"/>
            <a:ext cx="1447800" cy="830997"/>
          </a:xfrm>
          <a:prstGeom prst="rect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altLang="zh-TW" sz="2400" dirty="0">
                <a:solidFill>
                  <a:prstClr val="white"/>
                </a:solidFill>
              </a:rPr>
              <a:t>Classifier 3</a:t>
            </a:r>
            <a:endParaRPr lang="zh-TW" altLang="en-US" sz="2400" dirty="0">
              <a:solidFill>
                <a:prstClr val="white"/>
              </a:solidFill>
            </a:endParaRPr>
          </a:p>
        </p:txBody>
      </p:sp>
      <p:cxnSp>
        <p:nvCxnSpPr>
          <p:cNvPr id="61" name="直線單箭頭接點 60"/>
          <p:cNvCxnSpPr/>
          <p:nvPr/>
        </p:nvCxnSpPr>
        <p:spPr>
          <a:xfrm flipV="1">
            <a:off x="6231504" y="2510310"/>
            <a:ext cx="628650" cy="0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直線單箭頭接點 61"/>
          <p:cNvCxnSpPr/>
          <p:nvPr/>
        </p:nvCxnSpPr>
        <p:spPr>
          <a:xfrm flipV="1">
            <a:off x="6221979" y="3558078"/>
            <a:ext cx="628650" cy="0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直線單箭頭接點 62"/>
          <p:cNvCxnSpPr/>
          <p:nvPr/>
        </p:nvCxnSpPr>
        <p:spPr>
          <a:xfrm flipV="1">
            <a:off x="6221979" y="4660554"/>
            <a:ext cx="628650" cy="0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文字方塊 63"/>
          <p:cNvSpPr txBox="1"/>
          <p:nvPr/>
        </p:nvSpPr>
        <p:spPr>
          <a:xfrm>
            <a:off x="6887936" y="4213902"/>
            <a:ext cx="1602014" cy="830997"/>
          </a:xfrm>
          <a:prstGeom prst="rect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altLang="zh-TW" sz="2400" dirty="0">
                <a:solidFill>
                  <a:prstClr val="white"/>
                </a:solidFill>
              </a:rPr>
              <a:t>Girls with </a:t>
            </a:r>
          </a:p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altLang="zh-TW" sz="2400" dirty="0">
                <a:solidFill>
                  <a:prstClr val="white"/>
                </a:solidFill>
              </a:rPr>
              <a:t>short hair</a:t>
            </a:r>
            <a:endParaRPr lang="zh-TW" altLang="en-US" sz="2400" dirty="0">
              <a:solidFill>
                <a:prstClr val="white"/>
              </a:solidFill>
            </a:endParaRPr>
          </a:p>
        </p:txBody>
      </p:sp>
      <p:sp>
        <p:nvSpPr>
          <p:cNvPr id="65" name="矩形 64"/>
          <p:cNvSpPr/>
          <p:nvPr/>
        </p:nvSpPr>
        <p:spPr>
          <a:xfrm>
            <a:off x="4726101" y="5279414"/>
            <a:ext cx="1447800" cy="830997"/>
          </a:xfrm>
          <a:prstGeom prst="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altLang="zh-TW" sz="2400" dirty="0">
                <a:solidFill>
                  <a:prstClr val="white"/>
                </a:solidFill>
              </a:rPr>
              <a:t>Classifier 4</a:t>
            </a:r>
            <a:endParaRPr lang="zh-TW" altLang="en-US" sz="2400" dirty="0">
              <a:solidFill>
                <a:prstClr val="white"/>
              </a:solidFill>
            </a:endParaRPr>
          </a:p>
        </p:txBody>
      </p:sp>
      <p:cxnSp>
        <p:nvCxnSpPr>
          <p:cNvPr id="66" name="直線單箭頭接點 65"/>
          <p:cNvCxnSpPr/>
          <p:nvPr/>
        </p:nvCxnSpPr>
        <p:spPr>
          <a:xfrm flipV="1">
            <a:off x="6231504" y="5703092"/>
            <a:ext cx="628650" cy="0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直線單箭頭接點 67"/>
          <p:cNvCxnSpPr>
            <a:endCxn id="43" idx="1"/>
          </p:cNvCxnSpPr>
          <p:nvPr/>
        </p:nvCxnSpPr>
        <p:spPr>
          <a:xfrm flipV="1">
            <a:off x="3442604" y="2510311"/>
            <a:ext cx="1293475" cy="756739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直線單箭頭接點 68"/>
          <p:cNvCxnSpPr>
            <a:endCxn id="44" idx="1"/>
          </p:cNvCxnSpPr>
          <p:nvPr/>
        </p:nvCxnSpPr>
        <p:spPr>
          <a:xfrm>
            <a:off x="3449897" y="3277050"/>
            <a:ext cx="1279208" cy="288480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" name="直線單箭頭接點 69"/>
          <p:cNvCxnSpPr>
            <a:stCxn id="22" idx="3"/>
            <a:endCxn id="60" idx="1"/>
          </p:cNvCxnSpPr>
          <p:nvPr/>
        </p:nvCxnSpPr>
        <p:spPr>
          <a:xfrm>
            <a:off x="3447008" y="3286042"/>
            <a:ext cx="1279093" cy="1355535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直線單箭頭接點 70"/>
          <p:cNvCxnSpPr/>
          <p:nvPr/>
        </p:nvCxnSpPr>
        <p:spPr>
          <a:xfrm>
            <a:off x="3389405" y="3267050"/>
            <a:ext cx="1346674" cy="2426453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" name="直線單箭頭接點 71"/>
          <p:cNvCxnSpPr>
            <a:endCxn id="43" idx="1"/>
          </p:cNvCxnSpPr>
          <p:nvPr/>
        </p:nvCxnSpPr>
        <p:spPr>
          <a:xfrm flipV="1">
            <a:off x="3378348" y="2510311"/>
            <a:ext cx="1357731" cy="2585841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3" name="直線單箭頭接點 72"/>
          <p:cNvCxnSpPr>
            <a:stCxn id="20" idx="3"/>
            <a:endCxn id="44" idx="1"/>
          </p:cNvCxnSpPr>
          <p:nvPr/>
        </p:nvCxnSpPr>
        <p:spPr>
          <a:xfrm flipV="1">
            <a:off x="3401766" y="3565530"/>
            <a:ext cx="1327339" cy="1465734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" name="直線單箭頭接點 73"/>
          <p:cNvCxnSpPr>
            <a:stCxn id="20" idx="3"/>
            <a:endCxn id="60" idx="1"/>
          </p:cNvCxnSpPr>
          <p:nvPr/>
        </p:nvCxnSpPr>
        <p:spPr>
          <a:xfrm flipV="1">
            <a:off x="3401766" y="4641577"/>
            <a:ext cx="1324335" cy="389687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直線單箭頭接點 74"/>
          <p:cNvCxnSpPr>
            <a:stCxn id="20" idx="3"/>
            <a:endCxn id="65" idx="1"/>
          </p:cNvCxnSpPr>
          <p:nvPr/>
        </p:nvCxnSpPr>
        <p:spPr>
          <a:xfrm>
            <a:off x="3401766" y="5031264"/>
            <a:ext cx="1324335" cy="663649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6" name="矩形 75"/>
          <p:cNvSpPr/>
          <p:nvPr/>
        </p:nvSpPr>
        <p:spPr>
          <a:xfrm>
            <a:off x="4612381" y="1946313"/>
            <a:ext cx="1692566" cy="4230650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zh-TW" altLang="en-US" sz="1800">
              <a:solidFill>
                <a:prstClr val="white"/>
              </a:solidFill>
            </a:endParaRPr>
          </a:p>
        </p:txBody>
      </p:sp>
      <p:sp>
        <p:nvSpPr>
          <p:cNvPr id="77" name="矩形 76"/>
          <p:cNvSpPr/>
          <p:nvPr/>
        </p:nvSpPr>
        <p:spPr>
          <a:xfrm>
            <a:off x="1689032" y="2696616"/>
            <a:ext cx="1867479" cy="2843642"/>
          </a:xfrm>
          <a:prstGeom prst="rect">
            <a:avLst/>
          </a:prstGeom>
          <a:noFill/>
          <a:ln w="38100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zh-TW" altLang="en-US" sz="1800">
              <a:solidFill>
                <a:prstClr val="white"/>
              </a:solidFill>
            </a:endParaRPr>
          </a:p>
        </p:txBody>
      </p:sp>
      <p:sp>
        <p:nvSpPr>
          <p:cNvPr id="78" name="文字方塊 77"/>
          <p:cNvSpPr txBox="1"/>
          <p:nvPr/>
        </p:nvSpPr>
        <p:spPr>
          <a:xfrm>
            <a:off x="7609437" y="3614076"/>
            <a:ext cx="1504777" cy="461665"/>
          </a:xfrm>
          <a:prstGeom prst="rect">
            <a:avLst/>
          </a:prstGeom>
        </p:spPr>
        <p:style>
          <a:lnRef idx="0">
            <a:schemeClr val="dk1"/>
          </a:lnRef>
          <a:fillRef idx="3">
            <a:schemeClr val="dk1"/>
          </a:fillRef>
          <a:effectRef idx="3">
            <a:schemeClr val="dk1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altLang="zh-TW" sz="2400" dirty="0">
                <a:solidFill>
                  <a:prstClr val="white"/>
                </a:solidFill>
              </a:rPr>
              <a:t>Little data</a:t>
            </a:r>
            <a:endParaRPr lang="zh-TW" altLang="en-US" sz="2400" dirty="0">
              <a:solidFill>
                <a:prstClr val="white"/>
              </a:solidFill>
            </a:endParaRPr>
          </a:p>
        </p:txBody>
      </p:sp>
      <p:sp>
        <p:nvSpPr>
          <p:cNvPr id="79" name="文字方塊 78"/>
          <p:cNvSpPr txBox="1"/>
          <p:nvPr/>
        </p:nvSpPr>
        <p:spPr>
          <a:xfrm>
            <a:off x="5686261" y="3640051"/>
            <a:ext cx="1109331" cy="461665"/>
          </a:xfrm>
          <a:prstGeom prst="rect">
            <a:avLst/>
          </a:prstGeom>
        </p:spPr>
        <p:style>
          <a:lnRef idx="0">
            <a:schemeClr val="dk1"/>
          </a:lnRef>
          <a:fillRef idx="3">
            <a:schemeClr val="dk1"/>
          </a:fillRef>
          <a:effectRef idx="3">
            <a:schemeClr val="dk1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altLang="zh-TW" sz="2400" dirty="0">
                <a:solidFill>
                  <a:prstClr val="white"/>
                </a:solidFill>
              </a:rPr>
              <a:t>fine</a:t>
            </a:r>
            <a:endParaRPr lang="zh-TW" altLang="en-US" sz="2400" dirty="0">
              <a:solidFill>
                <a:prstClr val="white"/>
              </a:solidFill>
            </a:endParaRPr>
          </a:p>
        </p:txBody>
      </p:sp>
      <p:sp>
        <p:nvSpPr>
          <p:cNvPr id="81" name="文字方塊 80"/>
          <p:cNvSpPr txBox="1"/>
          <p:nvPr/>
        </p:nvSpPr>
        <p:spPr>
          <a:xfrm>
            <a:off x="1974430" y="3740680"/>
            <a:ext cx="129251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altLang="zh-TW" sz="2400" dirty="0">
                <a:solidFill>
                  <a:srgbClr val="0000FF"/>
                </a:solidFill>
                <a:latin typeface="Calibri"/>
              </a:rPr>
              <a:t>Basic </a:t>
            </a:r>
          </a:p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altLang="zh-TW" sz="2400" dirty="0">
                <a:solidFill>
                  <a:srgbClr val="0000FF"/>
                </a:solidFill>
                <a:latin typeface="Calibri"/>
              </a:rPr>
              <a:t>Classifier</a:t>
            </a:r>
            <a:endParaRPr lang="zh-TW" altLang="en-US" sz="2400" dirty="0">
              <a:solidFill>
                <a:srgbClr val="0000FF"/>
              </a:solidFill>
              <a:latin typeface="Calibri"/>
            </a:endParaRPr>
          </a:p>
        </p:txBody>
      </p:sp>
      <p:sp>
        <p:nvSpPr>
          <p:cNvPr id="37" name="向上箭號 36"/>
          <p:cNvSpPr/>
          <p:nvPr/>
        </p:nvSpPr>
        <p:spPr>
          <a:xfrm>
            <a:off x="5130686" y="1569869"/>
            <a:ext cx="638629" cy="356419"/>
          </a:xfrm>
          <a:prstGeom prst="up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zh-TW" altLang="en-US" sz="180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8164020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>
                      <p:stCondLst>
                        <p:cond delay="indefinite"/>
                      </p:stCondLst>
                      <p:childTnLst>
                        <p:par>
                          <p:cTn id="52" fill="hold">
                            <p:stCondLst>
                              <p:cond delay="0"/>
                            </p:stCondLst>
                            <p:childTnLst>
                              <p:par>
                                <p:cTn id="5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9" fill="hold">
                      <p:stCondLst>
                        <p:cond delay="indefinite"/>
                      </p:stCondLst>
                      <p:childTnLst>
                        <p:par>
                          <p:cTn id="60" fill="hold">
                            <p:stCondLst>
                              <p:cond delay="0"/>
                            </p:stCondLst>
                            <p:childTnLst>
                              <p:par>
                                <p:cTn id="6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3" fill="hold">
                      <p:stCondLst>
                        <p:cond delay="indefinite"/>
                      </p:stCondLst>
                      <p:childTnLst>
                        <p:par>
                          <p:cTn id="64" fill="hold">
                            <p:stCondLst>
                              <p:cond delay="0"/>
                            </p:stCondLst>
                            <p:childTnLst>
                              <p:par>
                                <p:cTn id="6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2" grpId="0"/>
      <p:bldP spid="39" grpId="0" animBg="1"/>
      <p:bldP spid="40" grpId="0" animBg="1"/>
      <p:bldP spid="41" grpId="0" animBg="1"/>
      <p:bldP spid="42" grpId="0" animBg="1"/>
      <p:bldP spid="43" grpId="0" animBg="1"/>
      <p:bldP spid="44" grpId="0" animBg="1"/>
      <p:bldP spid="60" grpId="0" animBg="1"/>
      <p:bldP spid="64" grpId="0" animBg="1"/>
      <p:bldP spid="65" grpId="0" animBg="1"/>
      <p:bldP spid="76" grpId="0" animBg="1"/>
      <p:bldP spid="78" grpId="0" animBg="1"/>
      <p:bldP spid="79" grpId="0" animBg="1"/>
      <p:bldP spid="37" grpId="0" animBg="1"/>
    </p:bldLst>
  </p:timing>
</p:sld>
</file>

<file path=ppt/slides/slide8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217365" y="218355"/>
            <a:ext cx="7886700" cy="670827"/>
          </a:xfrm>
        </p:spPr>
        <p:txBody>
          <a:bodyPr>
            <a:normAutofit fontScale="90000"/>
          </a:bodyPr>
          <a:lstStyle/>
          <a:p>
            <a:r>
              <a:rPr lang="en-US" altLang="zh-TW" dirty="0"/>
              <a:t>Why Deep?</a:t>
            </a:r>
            <a:endParaRPr lang="zh-TW" altLang="en-US" dirty="0"/>
          </a:p>
        </p:txBody>
      </p:sp>
      <p:sp>
        <p:nvSpPr>
          <p:cNvPr id="3" name="內容版面配置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altLang="zh-TW" dirty="0"/>
              <a:t>Deep → Modularization</a:t>
            </a:r>
            <a:endParaRPr lang="zh-TW" altLang="en-US" dirty="0"/>
          </a:p>
          <a:p>
            <a:endParaRPr lang="zh-TW" altLang="en-US" dirty="0"/>
          </a:p>
        </p:txBody>
      </p:sp>
      <p:grpSp>
        <p:nvGrpSpPr>
          <p:cNvPr id="5" name="群組 4"/>
          <p:cNvGrpSpPr/>
          <p:nvPr/>
        </p:nvGrpSpPr>
        <p:grpSpPr>
          <a:xfrm>
            <a:off x="1652026" y="2399574"/>
            <a:ext cx="5983918" cy="2720549"/>
            <a:chOff x="1260141" y="2780968"/>
            <a:chExt cx="5983918" cy="2720549"/>
          </a:xfrm>
        </p:grpSpPr>
        <p:sp>
          <p:nvSpPr>
            <p:cNvPr id="37" name="矩形 36"/>
            <p:cNvSpPr/>
            <p:nvPr/>
          </p:nvSpPr>
          <p:spPr>
            <a:xfrm>
              <a:off x="1260141" y="2853290"/>
              <a:ext cx="498951" cy="2625052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zh-TW" altLang="en-US" sz="1800">
                <a:solidFill>
                  <a:prstClr val="black"/>
                </a:solidFill>
              </a:endParaRPr>
            </a:p>
          </p:txBody>
        </p:sp>
        <p:cxnSp>
          <p:nvCxnSpPr>
            <p:cNvPr id="44" name="直線單箭頭接點 43"/>
            <p:cNvCxnSpPr/>
            <p:nvPr/>
          </p:nvCxnSpPr>
          <p:spPr>
            <a:xfrm>
              <a:off x="5531732" y="3891561"/>
              <a:ext cx="1018599" cy="0"/>
            </a:xfrm>
            <a:prstGeom prst="straightConnector1">
              <a:avLst/>
            </a:prstGeom>
            <a:ln w="254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直線單箭頭接點 44"/>
            <p:cNvCxnSpPr/>
            <p:nvPr/>
          </p:nvCxnSpPr>
          <p:spPr>
            <a:xfrm>
              <a:off x="5641048" y="5137451"/>
              <a:ext cx="905748" cy="0"/>
            </a:xfrm>
            <a:prstGeom prst="straightConnector1">
              <a:avLst/>
            </a:prstGeom>
            <a:ln w="254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直線單箭頭接點 45"/>
            <p:cNvCxnSpPr/>
            <p:nvPr/>
          </p:nvCxnSpPr>
          <p:spPr>
            <a:xfrm>
              <a:off x="5507848" y="3112758"/>
              <a:ext cx="1050372" cy="0"/>
            </a:xfrm>
            <a:prstGeom prst="straightConnector1">
              <a:avLst/>
            </a:prstGeom>
            <a:ln w="254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7" name="矩形 46"/>
            <p:cNvSpPr/>
            <p:nvPr/>
          </p:nvSpPr>
          <p:spPr>
            <a:xfrm>
              <a:off x="1328529" y="3570983"/>
              <a:ext cx="342900" cy="342900"/>
            </a:xfrm>
            <a:prstGeom prst="rect">
              <a:avLst/>
            </a:prstGeom>
          </p:spPr>
          <p:style>
            <a:lnRef idx="1">
              <a:schemeClr val="accent4"/>
            </a:lnRef>
            <a:fillRef idx="2">
              <a:schemeClr val="accent4"/>
            </a:fillRef>
            <a:effectRef idx="1">
              <a:schemeClr val="accent4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zh-TW" altLang="en-US" sz="1800">
                <a:solidFill>
                  <a:prstClr val="black"/>
                </a:solidFill>
              </a:endParaRPr>
            </a:p>
          </p:txBody>
        </p:sp>
        <p:sp>
          <p:nvSpPr>
            <p:cNvPr id="48" name="矩形 47"/>
            <p:cNvSpPr/>
            <p:nvPr/>
          </p:nvSpPr>
          <p:spPr>
            <a:xfrm>
              <a:off x="1334347" y="3000654"/>
              <a:ext cx="342900" cy="342900"/>
            </a:xfrm>
            <a:prstGeom prst="rect">
              <a:avLst/>
            </a:prstGeom>
          </p:spPr>
          <p:style>
            <a:lnRef idx="1">
              <a:schemeClr val="accent4"/>
            </a:lnRef>
            <a:fillRef idx="2">
              <a:schemeClr val="accent4"/>
            </a:fillRef>
            <a:effectRef idx="1">
              <a:schemeClr val="accent4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zh-TW" altLang="en-US" sz="1800">
                <a:solidFill>
                  <a:prstClr val="black"/>
                </a:solidFill>
              </a:endParaRPr>
            </a:p>
          </p:txBody>
        </p:sp>
        <p:graphicFrame>
          <p:nvGraphicFramePr>
            <p:cNvPr id="49" name="Object 12"/>
            <p:cNvGraphicFramePr>
              <a:graphicFrameLocks noChangeAspect="1"/>
            </p:cNvGraphicFramePr>
            <p:nvPr>
              <p:extLst/>
            </p:nvPr>
          </p:nvGraphicFramePr>
          <p:xfrm>
            <a:off x="1347046" y="2905404"/>
            <a:ext cx="325438" cy="461962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spid="_x0000_s159803" name="方程式" r:id="rId4" imgW="152280" imgH="215640" progId="Equation.3">
                    <p:embed/>
                  </p:oleObj>
                </mc:Choice>
                <mc:Fallback>
                  <p:oleObj name="方程式" r:id="rId4" imgW="152280" imgH="215640" progId="Equation.3">
                    <p:embed/>
                    <p:pic>
                      <p:nvPicPr>
                        <p:cNvPr id="0" name=""/>
                        <p:cNvPicPr>
                          <a:picLocks noChangeAspect="1" noChangeArrowheads="1"/>
                        </p:cNvPicPr>
                        <p:nvPr/>
                      </p:nvPicPr>
                      <p:blipFill>
                        <a:blip r:embed="rId5">
                          <a:extLst>
                            <a:ext uri="{28A0092B-C50C-407E-A947-70E740481C1C}">
                              <a14:useLocalDpi xmlns:a14="http://schemas.microsoft.com/office/drawing/2010/main" val="0"/>
                            </a:ext>
                          </a:extLst>
                        </a:blip>
                        <a:srcRect/>
                        <a:stretch>
                          <a:fillRect/>
                        </a:stretch>
                      </p:blipFill>
                      <p:spPr bwMode="auto">
                        <a:xfrm>
                          <a:off x="1347046" y="2905404"/>
                          <a:ext cx="325438" cy="461962"/>
                        </a:xfrm>
                        <a:prstGeom prst="rect">
                          <a:avLst/>
                        </a:prstGeom>
                        <a:noFill/>
                        <a:extLst>
                          <a:ext uri="{909E8E84-426E-40DD-AFC4-6F175D3DCCD1}">
                            <a14:hiddenFill xmlns:a14="http://schemas.microsoft.com/office/drawing/2010/main">
                              <a:solidFill>
                                <a:srgbClr val="FFFFFF"/>
                              </a:solidFill>
                            </a14:hiddenFill>
                          </a:ext>
                        </a:extLst>
                      </p:spPr>
                    </p:pic>
                  </p:oleObj>
                </mc:Fallback>
              </mc:AlternateContent>
            </a:graphicData>
          </a:graphic>
        </p:graphicFrame>
        <p:graphicFrame>
          <p:nvGraphicFramePr>
            <p:cNvPr id="50" name="Object 12"/>
            <p:cNvGraphicFramePr>
              <a:graphicFrameLocks noChangeAspect="1"/>
            </p:cNvGraphicFramePr>
            <p:nvPr>
              <p:extLst/>
            </p:nvPr>
          </p:nvGraphicFramePr>
          <p:xfrm>
            <a:off x="1352342" y="3488133"/>
            <a:ext cx="352425" cy="461963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spid="_x0000_s159804" name="方程式" r:id="rId6" imgW="164880" imgH="215640" progId="Equation.3">
                    <p:embed/>
                  </p:oleObj>
                </mc:Choice>
                <mc:Fallback>
                  <p:oleObj name="方程式" r:id="rId6" imgW="164880" imgH="215640" progId="Equation.3">
                    <p:embed/>
                    <p:pic>
                      <p:nvPicPr>
                        <p:cNvPr id="0" name=""/>
                        <p:cNvPicPr>
                          <a:picLocks noChangeAspect="1" noChangeArrowheads="1"/>
                        </p:cNvPicPr>
                        <p:nvPr/>
                      </p:nvPicPr>
                      <p:blipFill>
                        <a:blip r:embed="rId7">
                          <a:extLst>
                            <a:ext uri="{28A0092B-C50C-407E-A947-70E740481C1C}">
                              <a14:useLocalDpi xmlns:a14="http://schemas.microsoft.com/office/drawing/2010/main" val="0"/>
                            </a:ext>
                          </a:extLst>
                        </a:blip>
                        <a:srcRect/>
                        <a:stretch>
                          <a:fillRect/>
                        </a:stretch>
                      </p:blipFill>
                      <p:spPr bwMode="auto">
                        <a:xfrm>
                          <a:off x="1352342" y="3488133"/>
                          <a:ext cx="352425" cy="461963"/>
                        </a:xfrm>
                        <a:prstGeom prst="rect">
                          <a:avLst/>
                        </a:prstGeom>
                        <a:noFill/>
                        <a:extLst>
                          <a:ext uri="{909E8E84-426E-40DD-AFC4-6F175D3DCCD1}">
                            <a14:hiddenFill xmlns:a14="http://schemas.microsoft.com/office/drawing/2010/main">
                              <a:solidFill>
                                <a:srgbClr val="FFFFFF"/>
                              </a:solidFill>
                            </a14:hiddenFill>
                          </a:ext>
                        </a:extLst>
                      </p:spPr>
                    </p:pic>
                  </p:oleObj>
                </mc:Fallback>
              </mc:AlternateContent>
            </a:graphicData>
          </a:graphic>
        </p:graphicFrame>
        <p:sp>
          <p:nvSpPr>
            <p:cNvPr id="52" name="矩形 51"/>
            <p:cNvSpPr/>
            <p:nvPr/>
          </p:nvSpPr>
          <p:spPr>
            <a:xfrm>
              <a:off x="2443244" y="2825649"/>
              <a:ext cx="746342" cy="2675868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zh-TW" altLang="en-US" sz="1800">
                <a:solidFill>
                  <a:prstClr val="black"/>
                </a:solidFill>
              </a:endParaRPr>
            </a:p>
          </p:txBody>
        </p:sp>
        <p:sp>
          <p:nvSpPr>
            <p:cNvPr id="54" name="橢圓 53"/>
            <p:cNvSpPr/>
            <p:nvPr/>
          </p:nvSpPr>
          <p:spPr>
            <a:xfrm>
              <a:off x="2540354" y="2836651"/>
              <a:ext cx="574158" cy="574158"/>
            </a:xfrm>
            <a:prstGeom prst="ellipse">
              <a:avLst/>
            </a:prstGeom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zh-TW" altLang="en-US" sz="1800">
                <a:solidFill>
                  <a:prstClr val="black"/>
                </a:solidFill>
              </a:endParaRPr>
            </a:p>
          </p:txBody>
        </p:sp>
        <p:sp>
          <p:nvSpPr>
            <p:cNvPr id="55" name="橢圓 54"/>
            <p:cNvSpPr/>
            <p:nvPr/>
          </p:nvSpPr>
          <p:spPr>
            <a:xfrm>
              <a:off x="2542696" y="3615221"/>
              <a:ext cx="574158" cy="574158"/>
            </a:xfrm>
            <a:prstGeom prst="ellipse">
              <a:avLst/>
            </a:prstGeom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zh-TW" altLang="en-US" sz="1800">
                <a:solidFill>
                  <a:prstClr val="black"/>
                </a:solidFill>
              </a:endParaRPr>
            </a:p>
          </p:txBody>
        </p:sp>
        <p:sp>
          <p:nvSpPr>
            <p:cNvPr id="56" name="橢圓 55"/>
            <p:cNvSpPr/>
            <p:nvPr/>
          </p:nvSpPr>
          <p:spPr>
            <a:xfrm>
              <a:off x="2531063" y="4843233"/>
              <a:ext cx="574158" cy="574158"/>
            </a:xfrm>
            <a:prstGeom prst="ellipse">
              <a:avLst/>
            </a:prstGeom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zh-TW" altLang="en-US" sz="1800">
                <a:solidFill>
                  <a:prstClr val="black"/>
                </a:solidFill>
              </a:endParaRPr>
            </a:p>
          </p:txBody>
        </p:sp>
        <p:sp>
          <p:nvSpPr>
            <p:cNvPr id="57" name="文字方塊 56"/>
            <p:cNvSpPr txBox="1"/>
            <p:nvPr/>
          </p:nvSpPr>
          <p:spPr>
            <a:xfrm rot="5400000">
              <a:off x="2528316" y="4265526"/>
              <a:ext cx="769257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</a:pPr>
              <a:r>
                <a:rPr lang="en-US" altLang="zh-TW" sz="2800" dirty="0">
                  <a:solidFill>
                    <a:prstClr val="black"/>
                  </a:solidFill>
                  <a:latin typeface="Calibri"/>
                </a:rPr>
                <a:t>……</a:t>
              </a:r>
              <a:endParaRPr lang="zh-TW" altLang="en-US" sz="2800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58" name="矩形 57"/>
            <p:cNvSpPr/>
            <p:nvPr/>
          </p:nvSpPr>
          <p:spPr>
            <a:xfrm>
              <a:off x="1338054" y="4968740"/>
              <a:ext cx="342900" cy="342900"/>
            </a:xfrm>
            <a:prstGeom prst="rect">
              <a:avLst/>
            </a:prstGeom>
          </p:spPr>
          <p:style>
            <a:lnRef idx="1">
              <a:schemeClr val="accent4"/>
            </a:lnRef>
            <a:fillRef idx="2">
              <a:schemeClr val="accent4"/>
            </a:fillRef>
            <a:effectRef idx="1">
              <a:schemeClr val="accent4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zh-TW" altLang="en-US" sz="1800">
                <a:solidFill>
                  <a:prstClr val="black"/>
                </a:solidFill>
              </a:endParaRPr>
            </a:p>
          </p:txBody>
        </p:sp>
        <p:graphicFrame>
          <p:nvGraphicFramePr>
            <p:cNvPr id="59" name="Object 12"/>
            <p:cNvGraphicFramePr>
              <a:graphicFrameLocks noChangeAspect="1"/>
            </p:cNvGraphicFramePr>
            <p:nvPr>
              <p:extLst/>
            </p:nvPr>
          </p:nvGraphicFramePr>
          <p:xfrm>
            <a:off x="1334938" y="4872486"/>
            <a:ext cx="407988" cy="488950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spid="_x0000_s159805" name="方程式" r:id="rId8" imgW="190440" imgH="228600" progId="Equation.3">
                    <p:embed/>
                  </p:oleObj>
                </mc:Choice>
                <mc:Fallback>
                  <p:oleObj name="方程式" r:id="rId8" imgW="190440" imgH="228600" progId="Equation.3">
                    <p:embed/>
                    <p:pic>
                      <p:nvPicPr>
                        <p:cNvPr id="0" name=""/>
                        <p:cNvPicPr>
                          <a:picLocks noChangeAspect="1" noChangeArrowheads="1"/>
                        </p:cNvPicPr>
                        <p:nvPr/>
                      </p:nvPicPr>
                      <p:blipFill>
                        <a:blip r:embed="rId9">
                          <a:extLst>
                            <a:ext uri="{28A0092B-C50C-407E-A947-70E740481C1C}">
                              <a14:useLocalDpi xmlns:a14="http://schemas.microsoft.com/office/drawing/2010/main" val="0"/>
                            </a:ext>
                          </a:extLst>
                        </a:blip>
                        <a:srcRect/>
                        <a:stretch>
                          <a:fillRect/>
                        </a:stretch>
                      </p:blipFill>
                      <p:spPr bwMode="auto">
                        <a:xfrm>
                          <a:off x="1334938" y="4872486"/>
                          <a:ext cx="407988" cy="488950"/>
                        </a:xfrm>
                        <a:prstGeom prst="rect">
                          <a:avLst/>
                        </a:prstGeom>
                        <a:noFill/>
                        <a:extLst>
                          <a:ext uri="{909E8E84-426E-40DD-AFC4-6F175D3DCCD1}">
                            <a14:hiddenFill xmlns:a14="http://schemas.microsoft.com/office/drawing/2010/main">
                              <a:solidFill>
                                <a:srgbClr val="FFFFFF"/>
                              </a:solidFill>
                            </a14:hiddenFill>
                          </a:ext>
                        </a:extLst>
                      </p:spPr>
                    </p:pic>
                  </p:oleObj>
                </mc:Fallback>
              </mc:AlternateContent>
            </a:graphicData>
          </a:graphic>
        </p:graphicFrame>
        <p:sp>
          <p:nvSpPr>
            <p:cNvPr id="60" name="文字方塊 59"/>
            <p:cNvSpPr txBox="1"/>
            <p:nvPr/>
          </p:nvSpPr>
          <p:spPr>
            <a:xfrm rot="5400000">
              <a:off x="1213986" y="4253682"/>
              <a:ext cx="769257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</a:pPr>
              <a:r>
                <a:rPr lang="en-US" altLang="zh-TW" sz="2800" dirty="0">
                  <a:solidFill>
                    <a:prstClr val="black"/>
                  </a:solidFill>
                  <a:latin typeface="Calibri"/>
                </a:rPr>
                <a:t>……</a:t>
              </a:r>
              <a:endParaRPr lang="zh-TW" altLang="en-US" sz="2800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62" name="矩形 61"/>
            <p:cNvSpPr/>
            <p:nvPr/>
          </p:nvSpPr>
          <p:spPr>
            <a:xfrm>
              <a:off x="3768830" y="2809302"/>
              <a:ext cx="746342" cy="2675868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zh-TW" altLang="en-US" sz="1800">
                <a:solidFill>
                  <a:prstClr val="black"/>
                </a:solidFill>
              </a:endParaRPr>
            </a:p>
          </p:txBody>
        </p:sp>
        <p:sp>
          <p:nvSpPr>
            <p:cNvPr id="64" name="橢圓 63"/>
            <p:cNvSpPr/>
            <p:nvPr/>
          </p:nvSpPr>
          <p:spPr>
            <a:xfrm>
              <a:off x="3855916" y="2836651"/>
              <a:ext cx="574158" cy="574158"/>
            </a:xfrm>
            <a:prstGeom prst="ellipse">
              <a:avLst/>
            </a:prstGeom>
          </p:spPr>
          <p:style>
            <a:lnRef idx="1">
              <a:schemeClr val="accent2"/>
            </a:lnRef>
            <a:fillRef idx="2">
              <a:schemeClr val="accent2"/>
            </a:fillRef>
            <a:effectRef idx="1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zh-TW" altLang="en-US" sz="1800">
                <a:solidFill>
                  <a:prstClr val="black"/>
                </a:solidFill>
              </a:endParaRPr>
            </a:p>
          </p:txBody>
        </p:sp>
        <p:sp>
          <p:nvSpPr>
            <p:cNvPr id="65" name="橢圓 64"/>
            <p:cNvSpPr/>
            <p:nvPr/>
          </p:nvSpPr>
          <p:spPr>
            <a:xfrm>
              <a:off x="3858258" y="3615221"/>
              <a:ext cx="574158" cy="574158"/>
            </a:xfrm>
            <a:prstGeom prst="ellipse">
              <a:avLst/>
            </a:prstGeom>
          </p:spPr>
          <p:style>
            <a:lnRef idx="1">
              <a:schemeClr val="accent2"/>
            </a:lnRef>
            <a:fillRef idx="2">
              <a:schemeClr val="accent2"/>
            </a:fillRef>
            <a:effectRef idx="1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zh-TW" altLang="en-US" sz="1800">
                <a:solidFill>
                  <a:prstClr val="black"/>
                </a:solidFill>
              </a:endParaRPr>
            </a:p>
          </p:txBody>
        </p:sp>
        <p:sp>
          <p:nvSpPr>
            <p:cNvPr id="66" name="橢圓 65"/>
            <p:cNvSpPr/>
            <p:nvPr/>
          </p:nvSpPr>
          <p:spPr>
            <a:xfrm>
              <a:off x="3846625" y="4843233"/>
              <a:ext cx="574158" cy="574158"/>
            </a:xfrm>
            <a:prstGeom prst="ellipse">
              <a:avLst/>
            </a:prstGeom>
          </p:spPr>
          <p:style>
            <a:lnRef idx="1">
              <a:schemeClr val="accent2"/>
            </a:lnRef>
            <a:fillRef idx="2">
              <a:schemeClr val="accent2"/>
            </a:fillRef>
            <a:effectRef idx="1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zh-TW" altLang="en-US" sz="1800">
                <a:solidFill>
                  <a:prstClr val="black"/>
                </a:solidFill>
              </a:endParaRPr>
            </a:p>
          </p:txBody>
        </p:sp>
        <p:sp>
          <p:nvSpPr>
            <p:cNvPr id="67" name="文字方塊 66"/>
            <p:cNvSpPr txBox="1"/>
            <p:nvPr/>
          </p:nvSpPr>
          <p:spPr>
            <a:xfrm rot="5400000">
              <a:off x="3843878" y="4265526"/>
              <a:ext cx="769257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</a:pPr>
              <a:r>
                <a:rPr lang="en-US" altLang="zh-TW" sz="2800" dirty="0">
                  <a:solidFill>
                    <a:prstClr val="black"/>
                  </a:solidFill>
                  <a:latin typeface="Calibri"/>
                </a:rPr>
                <a:t>……</a:t>
              </a:r>
              <a:endParaRPr lang="zh-TW" altLang="en-US" sz="2800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69" name="矩形 68"/>
            <p:cNvSpPr/>
            <p:nvPr/>
          </p:nvSpPr>
          <p:spPr>
            <a:xfrm>
              <a:off x="5144925" y="2785085"/>
              <a:ext cx="746342" cy="2675868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zh-TW" altLang="en-US" sz="1800">
                <a:solidFill>
                  <a:prstClr val="black"/>
                </a:solidFill>
              </a:endParaRPr>
            </a:p>
          </p:txBody>
        </p:sp>
        <p:sp>
          <p:nvSpPr>
            <p:cNvPr id="71" name="橢圓 70"/>
            <p:cNvSpPr/>
            <p:nvPr/>
          </p:nvSpPr>
          <p:spPr>
            <a:xfrm>
              <a:off x="5220769" y="2835035"/>
              <a:ext cx="574158" cy="574158"/>
            </a:xfrm>
            <a:prstGeom prst="ellipse">
              <a:avLst/>
            </a:prstGeom>
          </p:spPr>
          <p:style>
            <a:lnRef idx="1">
              <a:schemeClr val="accent6"/>
            </a:lnRef>
            <a:fillRef idx="2">
              <a:schemeClr val="accent6"/>
            </a:fillRef>
            <a:effectRef idx="1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zh-TW" altLang="en-US" sz="1800">
                <a:solidFill>
                  <a:prstClr val="black"/>
                </a:solidFill>
              </a:endParaRPr>
            </a:p>
          </p:txBody>
        </p:sp>
        <p:sp>
          <p:nvSpPr>
            <p:cNvPr id="72" name="橢圓 71"/>
            <p:cNvSpPr/>
            <p:nvPr/>
          </p:nvSpPr>
          <p:spPr>
            <a:xfrm>
              <a:off x="5223111" y="3594944"/>
              <a:ext cx="574158" cy="574158"/>
            </a:xfrm>
            <a:prstGeom prst="ellipse">
              <a:avLst/>
            </a:prstGeom>
          </p:spPr>
          <p:style>
            <a:lnRef idx="1">
              <a:schemeClr val="accent6"/>
            </a:lnRef>
            <a:fillRef idx="2">
              <a:schemeClr val="accent6"/>
            </a:fillRef>
            <a:effectRef idx="1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zh-TW" altLang="en-US" sz="1800">
                <a:solidFill>
                  <a:prstClr val="black"/>
                </a:solidFill>
              </a:endParaRPr>
            </a:p>
          </p:txBody>
        </p:sp>
        <p:sp>
          <p:nvSpPr>
            <p:cNvPr id="73" name="橢圓 72"/>
            <p:cNvSpPr/>
            <p:nvPr/>
          </p:nvSpPr>
          <p:spPr>
            <a:xfrm>
              <a:off x="5230139" y="4841617"/>
              <a:ext cx="574158" cy="574158"/>
            </a:xfrm>
            <a:prstGeom prst="ellipse">
              <a:avLst/>
            </a:prstGeom>
          </p:spPr>
          <p:style>
            <a:lnRef idx="1">
              <a:schemeClr val="accent6"/>
            </a:lnRef>
            <a:fillRef idx="2">
              <a:schemeClr val="accent6"/>
            </a:fillRef>
            <a:effectRef idx="1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zh-TW" altLang="en-US" sz="1800">
                <a:solidFill>
                  <a:prstClr val="black"/>
                </a:solidFill>
              </a:endParaRPr>
            </a:p>
          </p:txBody>
        </p:sp>
        <p:sp>
          <p:nvSpPr>
            <p:cNvPr id="74" name="文字方塊 73"/>
            <p:cNvSpPr txBox="1"/>
            <p:nvPr/>
          </p:nvSpPr>
          <p:spPr>
            <a:xfrm rot="5400000">
              <a:off x="5227392" y="4260747"/>
              <a:ext cx="769257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</a:pPr>
              <a:r>
                <a:rPr lang="en-US" altLang="zh-TW" sz="2800" dirty="0">
                  <a:solidFill>
                    <a:prstClr val="black"/>
                  </a:solidFill>
                  <a:latin typeface="Calibri"/>
                </a:rPr>
                <a:t>……</a:t>
              </a:r>
              <a:endParaRPr lang="zh-TW" altLang="en-US" sz="2800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75" name="文字方塊 74"/>
            <p:cNvSpPr txBox="1"/>
            <p:nvPr/>
          </p:nvSpPr>
          <p:spPr>
            <a:xfrm>
              <a:off x="6467853" y="2780968"/>
              <a:ext cx="769257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</a:pPr>
              <a:r>
                <a:rPr lang="en-US" altLang="zh-TW" sz="2800" dirty="0">
                  <a:solidFill>
                    <a:prstClr val="black"/>
                  </a:solidFill>
                  <a:latin typeface="Calibri"/>
                </a:rPr>
                <a:t>……</a:t>
              </a:r>
              <a:endParaRPr lang="zh-TW" altLang="en-US" sz="2800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76" name="文字方塊 75"/>
            <p:cNvSpPr txBox="1"/>
            <p:nvPr/>
          </p:nvSpPr>
          <p:spPr>
            <a:xfrm>
              <a:off x="6474802" y="3570983"/>
              <a:ext cx="769257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</a:pPr>
              <a:r>
                <a:rPr lang="en-US" altLang="zh-TW" sz="2800" dirty="0">
                  <a:solidFill>
                    <a:prstClr val="black"/>
                  </a:solidFill>
                  <a:latin typeface="Calibri"/>
                </a:rPr>
                <a:t>……</a:t>
              </a:r>
              <a:endParaRPr lang="zh-TW" altLang="en-US" sz="2800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77" name="文字方塊 76"/>
            <p:cNvSpPr txBox="1"/>
            <p:nvPr/>
          </p:nvSpPr>
          <p:spPr>
            <a:xfrm>
              <a:off x="6474790" y="4786318"/>
              <a:ext cx="769257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</a:pPr>
              <a:r>
                <a:rPr lang="en-US" altLang="zh-TW" sz="2800" dirty="0">
                  <a:solidFill>
                    <a:prstClr val="black"/>
                  </a:solidFill>
                  <a:latin typeface="Calibri"/>
                </a:rPr>
                <a:t>……</a:t>
              </a:r>
              <a:endParaRPr lang="zh-TW" altLang="en-US" sz="2800" dirty="0">
                <a:solidFill>
                  <a:prstClr val="black"/>
                </a:solidFill>
                <a:latin typeface="Calibri"/>
              </a:endParaRPr>
            </a:p>
          </p:txBody>
        </p:sp>
        <p:cxnSp>
          <p:nvCxnSpPr>
            <p:cNvPr id="79" name="直線單箭頭接點 78"/>
            <p:cNvCxnSpPr>
              <a:stCxn id="54" idx="6"/>
              <a:endCxn id="64" idx="2"/>
            </p:cNvCxnSpPr>
            <p:nvPr/>
          </p:nvCxnSpPr>
          <p:spPr>
            <a:xfrm>
              <a:off x="3114512" y="3123730"/>
              <a:ext cx="741404" cy="0"/>
            </a:xfrm>
            <a:prstGeom prst="straightConnector1">
              <a:avLst/>
            </a:prstGeom>
            <a:ln w="254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0" name="直線單箭頭接點 79"/>
            <p:cNvCxnSpPr/>
            <p:nvPr/>
          </p:nvCxnSpPr>
          <p:spPr>
            <a:xfrm>
              <a:off x="3114512" y="3915482"/>
              <a:ext cx="741404" cy="0"/>
            </a:xfrm>
            <a:prstGeom prst="straightConnector1">
              <a:avLst/>
            </a:prstGeom>
            <a:ln w="254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1" name="直線單箭頭接點 80"/>
            <p:cNvCxnSpPr/>
            <p:nvPr/>
          </p:nvCxnSpPr>
          <p:spPr>
            <a:xfrm>
              <a:off x="3105221" y="5137451"/>
              <a:ext cx="741404" cy="0"/>
            </a:xfrm>
            <a:prstGeom prst="straightConnector1">
              <a:avLst/>
            </a:prstGeom>
            <a:ln w="254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2" name="直線單箭頭接點 81"/>
            <p:cNvCxnSpPr>
              <a:stCxn id="55" idx="6"/>
              <a:endCxn id="64" idx="2"/>
            </p:cNvCxnSpPr>
            <p:nvPr/>
          </p:nvCxnSpPr>
          <p:spPr>
            <a:xfrm flipV="1">
              <a:off x="3116854" y="3123730"/>
              <a:ext cx="739062" cy="778570"/>
            </a:xfrm>
            <a:prstGeom prst="straightConnector1">
              <a:avLst/>
            </a:prstGeom>
            <a:ln w="254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3" name="直線單箭頭接點 82"/>
            <p:cNvCxnSpPr>
              <a:stCxn id="54" idx="6"/>
              <a:endCxn id="65" idx="2"/>
            </p:cNvCxnSpPr>
            <p:nvPr/>
          </p:nvCxnSpPr>
          <p:spPr>
            <a:xfrm>
              <a:off x="3114512" y="3123730"/>
              <a:ext cx="743746" cy="778570"/>
            </a:xfrm>
            <a:prstGeom prst="straightConnector1">
              <a:avLst/>
            </a:prstGeom>
            <a:ln w="254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4" name="直線單箭頭接點 83"/>
            <p:cNvCxnSpPr>
              <a:stCxn id="54" idx="6"/>
              <a:endCxn id="66" idx="2"/>
            </p:cNvCxnSpPr>
            <p:nvPr/>
          </p:nvCxnSpPr>
          <p:spPr>
            <a:xfrm>
              <a:off x="3114512" y="3123730"/>
              <a:ext cx="732113" cy="2006582"/>
            </a:xfrm>
            <a:prstGeom prst="straightConnector1">
              <a:avLst/>
            </a:prstGeom>
            <a:ln w="254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5" name="直線單箭頭接點 84"/>
            <p:cNvCxnSpPr>
              <a:stCxn id="55" idx="6"/>
              <a:endCxn id="66" idx="2"/>
            </p:cNvCxnSpPr>
            <p:nvPr/>
          </p:nvCxnSpPr>
          <p:spPr>
            <a:xfrm>
              <a:off x="3116854" y="3902300"/>
              <a:ext cx="729771" cy="1228012"/>
            </a:xfrm>
            <a:prstGeom prst="straightConnector1">
              <a:avLst/>
            </a:prstGeom>
            <a:ln w="254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6" name="直線單箭頭接點 85"/>
            <p:cNvCxnSpPr>
              <a:stCxn id="56" idx="6"/>
              <a:endCxn id="64" idx="2"/>
            </p:cNvCxnSpPr>
            <p:nvPr/>
          </p:nvCxnSpPr>
          <p:spPr>
            <a:xfrm flipV="1">
              <a:off x="3105221" y="3123730"/>
              <a:ext cx="750695" cy="2006582"/>
            </a:xfrm>
            <a:prstGeom prst="straightConnector1">
              <a:avLst/>
            </a:prstGeom>
            <a:ln w="254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7" name="直線單箭頭接點 86"/>
            <p:cNvCxnSpPr>
              <a:stCxn id="56" idx="6"/>
              <a:endCxn id="65" idx="2"/>
            </p:cNvCxnSpPr>
            <p:nvPr/>
          </p:nvCxnSpPr>
          <p:spPr>
            <a:xfrm flipV="1">
              <a:off x="3105221" y="3902300"/>
              <a:ext cx="753037" cy="1228012"/>
            </a:xfrm>
            <a:prstGeom prst="straightConnector1">
              <a:avLst/>
            </a:prstGeom>
            <a:ln w="254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8" name="直線單箭頭接點 87"/>
            <p:cNvCxnSpPr>
              <a:endCxn id="54" idx="2"/>
            </p:cNvCxnSpPr>
            <p:nvPr/>
          </p:nvCxnSpPr>
          <p:spPr>
            <a:xfrm flipV="1">
              <a:off x="1680954" y="3123730"/>
              <a:ext cx="859400" cy="29993"/>
            </a:xfrm>
            <a:prstGeom prst="straightConnector1">
              <a:avLst/>
            </a:prstGeom>
            <a:ln w="254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9" name="直線單箭頭接點 88"/>
            <p:cNvCxnSpPr>
              <a:stCxn id="48" idx="3"/>
              <a:endCxn id="55" idx="2"/>
            </p:cNvCxnSpPr>
            <p:nvPr/>
          </p:nvCxnSpPr>
          <p:spPr>
            <a:xfrm>
              <a:off x="1677247" y="3172104"/>
              <a:ext cx="865449" cy="730196"/>
            </a:xfrm>
            <a:prstGeom prst="straightConnector1">
              <a:avLst/>
            </a:prstGeom>
            <a:ln w="254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0" name="直線單箭頭接點 89"/>
            <p:cNvCxnSpPr>
              <a:stCxn id="48" idx="3"/>
              <a:endCxn id="56" idx="2"/>
            </p:cNvCxnSpPr>
            <p:nvPr/>
          </p:nvCxnSpPr>
          <p:spPr>
            <a:xfrm>
              <a:off x="1677247" y="3172104"/>
              <a:ext cx="853816" cy="1958208"/>
            </a:xfrm>
            <a:prstGeom prst="straightConnector1">
              <a:avLst/>
            </a:prstGeom>
            <a:ln w="254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1" name="直線單箭頭接點 90"/>
            <p:cNvCxnSpPr>
              <a:stCxn id="50" idx="3"/>
              <a:endCxn id="54" idx="2"/>
            </p:cNvCxnSpPr>
            <p:nvPr/>
          </p:nvCxnSpPr>
          <p:spPr>
            <a:xfrm flipV="1">
              <a:off x="1704767" y="3123730"/>
              <a:ext cx="835587" cy="595384"/>
            </a:xfrm>
            <a:prstGeom prst="straightConnector1">
              <a:avLst/>
            </a:prstGeom>
            <a:ln w="254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2" name="直線單箭頭接點 91"/>
            <p:cNvCxnSpPr>
              <a:stCxn id="47" idx="3"/>
              <a:endCxn id="55" idx="2"/>
            </p:cNvCxnSpPr>
            <p:nvPr/>
          </p:nvCxnSpPr>
          <p:spPr>
            <a:xfrm>
              <a:off x="1671429" y="3742433"/>
              <a:ext cx="871267" cy="159867"/>
            </a:xfrm>
            <a:prstGeom prst="straightConnector1">
              <a:avLst/>
            </a:prstGeom>
            <a:ln w="254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3" name="直線單箭頭接點 92"/>
            <p:cNvCxnSpPr>
              <a:stCxn id="47" idx="3"/>
              <a:endCxn id="56" idx="2"/>
            </p:cNvCxnSpPr>
            <p:nvPr/>
          </p:nvCxnSpPr>
          <p:spPr>
            <a:xfrm>
              <a:off x="1671429" y="3742433"/>
              <a:ext cx="859634" cy="1387879"/>
            </a:xfrm>
            <a:prstGeom prst="straightConnector1">
              <a:avLst/>
            </a:prstGeom>
            <a:ln w="254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4" name="直線單箭頭接點 93"/>
            <p:cNvCxnSpPr>
              <a:stCxn id="59" idx="3"/>
              <a:endCxn id="54" idx="2"/>
            </p:cNvCxnSpPr>
            <p:nvPr/>
          </p:nvCxnSpPr>
          <p:spPr>
            <a:xfrm flipV="1">
              <a:off x="1742926" y="3123730"/>
              <a:ext cx="797428" cy="1993231"/>
            </a:xfrm>
            <a:prstGeom prst="straightConnector1">
              <a:avLst/>
            </a:prstGeom>
            <a:ln w="254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5" name="直線單箭頭接點 94"/>
            <p:cNvCxnSpPr>
              <a:stCxn id="59" idx="3"/>
              <a:endCxn id="55" idx="2"/>
            </p:cNvCxnSpPr>
            <p:nvPr/>
          </p:nvCxnSpPr>
          <p:spPr>
            <a:xfrm flipV="1">
              <a:off x="1716557" y="3902300"/>
              <a:ext cx="826139" cy="1214606"/>
            </a:xfrm>
            <a:prstGeom prst="straightConnector1">
              <a:avLst/>
            </a:prstGeom>
            <a:ln w="254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6" name="直線單箭頭接點 95"/>
            <p:cNvCxnSpPr>
              <a:stCxn id="59" idx="3"/>
              <a:endCxn id="56" idx="2"/>
            </p:cNvCxnSpPr>
            <p:nvPr/>
          </p:nvCxnSpPr>
          <p:spPr>
            <a:xfrm>
              <a:off x="1716557" y="5116906"/>
              <a:ext cx="814506" cy="13406"/>
            </a:xfrm>
            <a:prstGeom prst="straightConnector1">
              <a:avLst/>
            </a:prstGeom>
            <a:ln w="254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直線單箭頭接點 101"/>
            <p:cNvCxnSpPr/>
            <p:nvPr/>
          </p:nvCxnSpPr>
          <p:spPr>
            <a:xfrm>
              <a:off x="4464381" y="3134083"/>
              <a:ext cx="741404" cy="0"/>
            </a:xfrm>
            <a:prstGeom prst="straightConnector1">
              <a:avLst/>
            </a:prstGeom>
            <a:ln w="254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3" name="直線單箭頭接點 102"/>
            <p:cNvCxnSpPr/>
            <p:nvPr/>
          </p:nvCxnSpPr>
          <p:spPr>
            <a:xfrm>
              <a:off x="4464381" y="3925835"/>
              <a:ext cx="741404" cy="0"/>
            </a:xfrm>
            <a:prstGeom prst="straightConnector1">
              <a:avLst/>
            </a:prstGeom>
            <a:ln w="254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4" name="直線單箭頭接點 103"/>
            <p:cNvCxnSpPr/>
            <p:nvPr/>
          </p:nvCxnSpPr>
          <p:spPr>
            <a:xfrm>
              <a:off x="4455090" y="5147804"/>
              <a:ext cx="741404" cy="0"/>
            </a:xfrm>
            <a:prstGeom prst="straightConnector1">
              <a:avLst/>
            </a:prstGeom>
            <a:ln w="254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直線單箭頭接點 104"/>
            <p:cNvCxnSpPr/>
            <p:nvPr/>
          </p:nvCxnSpPr>
          <p:spPr>
            <a:xfrm flipV="1">
              <a:off x="4466723" y="3134083"/>
              <a:ext cx="739062" cy="778570"/>
            </a:xfrm>
            <a:prstGeom prst="straightConnector1">
              <a:avLst/>
            </a:prstGeom>
            <a:ln w="254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6" name="直線單箭頭接點 105"/>
            <p:cNvCxnSpPr/>
            <p:nvPr/>
          </p:nvCxnSpPr>
          <p:spPr>
            <a:xfrm>
              <a:off x="4464381" y="3134083"/>
              <a:ext cx="743746" cy="778570"/>
            </a:xfrm>
            <a:prstGeom prst="straightConnector1">
              <a:avLst/>
            </a:prstGeom>
            <a:ln w="254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直線單箭頭接點 106"/>
            <p:cNvCxnSpPr/>
            <p:nvPr/>
          </p:nvCxnSpPr>
          <p:spPr>
            <a:xfrm>
              <a:off x="4464381" y="3134083"/>
              <a:ext cx="732113" cy="2006582"/>
            </a:xfrm>
            <a:prstGeom prst="straightConnector1">
              <a:avLst/>
            </a:prstGeom>
            <a:ln w="254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直線單箭頭接點 107"/>
            <p:cNvCxnSpPr/>
            <p:nvPr/>
          </p:nvCxnSpPr>
          <p:spPr>
            <a:xfrm>
              <a:off x="4466723" y="3912653"/>
              <a:ext cx="729771" cy="1228012"/>
            </a:xfrm>
            <a:prstGeom prst="straightConnector1">
              <a:avLst/>
            </a:prstGeom>
            <a:ln w="254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直線單箭頭接點 108"/>
            <p:cNvCxnSpPr/>
            <p:nvPr/>
          </p:nvCxnSpPr>
          <p:spPr>
            <a:xfrm flipV="1">
              <a:off x="4455090" y="3134083"/>
              <a:ext cx="750695" cy="2006582"/>
            </a:xfrm>
            <a:prstGeom prst="straightConnector1">
              <a:avLst/>
            </a:prstGeom>
            <a:ln w="254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直線單箭頭接點 109"/>
            <p:cNvCxnSpPr/>
            <p:nvPr/>
          </p:nvCxnSpPr>
          <p:spPr>
            <a:xfrm flipV="1">
              <a:off x="4455090" y="3912653"/>
              <a:ext cx="753037" cy="1228012"/>
            </a:xfrm>
            <a:prstGeom prst="straightConnector1">
              <a:avLst/>
            </a:prstGeom>
            <a:ln w="254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" name="矩形圖說文字 5"/>
          <p:cNvSpPr/>
          <p:nvPr/>
        </p:nvSpPr>
        <p:spPr>
          <a:xfrm>
            <a:off x="375384" y="5453983"/>
            <a:ext cx="2367361" cy="838175"/>
          </a:xfrm>
          <a:prstGeom prst="wedgeRectCallout">
            <a:avLst>
              <a:gd name="adj1" fmla="val 69906"/>
              <a:gd name="adj2" fmla="val -130639"/>
            </a:avLst>
          </a:prstGeom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altLang="zh-TW" sz="2400" dirty="0">
                <a:solidFill>
                  <a:prstClr val="white"/>
                </a:solidFill>
              </a:rPr>
              <a:t>The most basic classifiers</a:t>
            </a:r>
            <a:endParaRPr lang="zh-TW" altLang="en-US" sz="2400" dirty="0">
              <a:solidFill>
                <a:prstClr val="white"/>
              </a:solidFill>
            </a:endParaRPr>
          </a:p>
        </p:txBody>
      </p:sp>
      <p:sp>
        <p:nvSpPr>
          <p:cNvPr id="114" name="矩形圖說文字 113"/>
          <p:cNvSpPr/>
          <p:nvPr/>
        </p:nvSpPr>
        <p:spPr>
          <a:xfrm>
            <a:off x="2956956" y="5463160"/>
            <a:ext cx="3239225" cy="886505"/>
          </a:xfrm>
          <a:prstGeom prst="wedgeRectCallout">
            <a:avLst>
              <a:gd name="adj1" fmla="val 640"/>
              <a:gd name="adj2" fmla="val -106591"/>
            </a:avLst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altLang="zh-TW" sz="2400" dirty="0">
                <a:solidFill>
                  <a:prstClr val="white"/>
                </a:solidFill>
              </a:rPr>
              <a:t>Use 1</a:t>
            </a:r>
            <a:r>
              <a:rPr lang="en-US" altLang="zh-TW" sz="2400" baseline="30000" dirty="0">
                <a:solidFill>
                  <a:prstClr val="white"/>
                </a:solidFill>
              </a:rPr>
              <a:t>st</a:t>
            </a:r>
            <a:r>
              <a:rPr lang="en-US" altLang="zh-TW" sz="2400" dirty="0">
                <a:solidFill>
                  <a:prstClr val="white"/>
                </a:solidFill>
              </a:rPr>
              <a:t> layer as module to build classifiers </a:t>
            </a:r>
            <a:endParaRPr lang="zh-TW" altLang="en-US" sz="2400" dirty="0">
              <a:solidFill>
                <a:prstClr val="white"/>
              </a:solidFill>
            </a:endParaRPr>
          </a:p>
        </p:txBody>
      </p:sp>
      <p:sp>
        <p:nvSpPr>
          <p:cNvPr id="115" name="矩形圖說文字 114"/>
          <p:cNvSpPr/>
          <p:nvPr/>
        </p:nvSpPr>
        <p:spPr>
          <a:xfrm>
            <a:off x="6401255" y="5461871"/>
            <a:ext cx="2367361" cy="838175"/>
          </a:xfrm>
          <a:prstGeom prst="wedgeRectCallout">
            <a:avLst>
              <a:gd name="adj1" fmla="val -71106"/>
              <a:gd name="adj2" fmla="val -132371"/>
            </a:avLst>
          </a:prstGeom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altLang="zh-TW" sz="2400" dirty="0">
                <a:solidFill>
                  <a:prstClr val="white"/>
                </a:solidFill>
              </a:rPr>
              <a:t>Use 2</a:t>
            </a:r>
            <a:r>
              <a:rPr lang="en-US" altLang="zh-TW" sz="2400" baseline="30000" dirty="0">
                <a:solidFill>
                  <a:prstClr val="white"/>
                </a:solidFill>
              </a:rPr>
              <a:t>nd</a:t>
            </a:r>
            <a:r>
              <a:rPr lang="en-US" altLang="zh-TW" sz="2400" dirty="0">
                <a:solidFill>
                  <a:prstClr val="white"/>
                </a:solidFill>
              </a:rPr>
              <a:t> layer as module ……</a:t>
            </a:r>
            <a:endParaRPr lang="zh-TW" altLang="en-US" sz="2400" dirty="0">
              <a:solidFill>
                <a:prstClr val="white"/>
              </a:solidFill>
            </a:endParaRPr>
          </a:p>
        </p:txBody>
      </p:sp>
      <p:sp>
        <p:nvSpPr>
          <p:cNvPr id="38" name="文字方塊 37"/>
          <p:cNvSpPr txBox="1"/>
          <p:nvPr/>
        </p:nvSpPr>
        <p:spPr>
          <a:xfrm>
            <a:off x="2344311" y="3191157"/>
            <a:ext cx="4865842" cy="954107"/>
          </a:xfrm>
          <a:prstGeom prst="rect">
            <a:avLst/>
          </a:prstGeom>
        </p:spPr>
        <p:style>
          <a:lnRef idx="0">
            <a:schemeClr val="dk1"/>
          </a:lnRef>
          <a:fillRef idx="3">
            <a:schemeClr val="dk1"/>
          </a:fillRef>
          <a:effectRef idx="3">
            <a:schemeClr val="dk1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altLang="zh-TW" sz="2800" dirty="0">
                <a:solidFill>
                  <a:prstClr val="white"/>
                </a:solidFill>
              </a:rPr>
              <a:t>The modularization is automatically learned from data.</a:t>
            </a:r>
            <a:endParaRPr lang="zh-TW" altLang="en-US" sz="2800" dirty="0">
              <a:solidFill>
                <a:prstClr val="white"/>
              </a:solidFill>
            </a:endParaRPr>
          </a:p>
        </p:txBody>
      </p:sp>
      <p:sp>
        <p:nvSpPr>
          <p:cNvPr id="8" name="矩形 7"/>
          <p:cNvSpPr/>
          <p:nvPr/>
        </p:nvSpPr>
        <p:spPr>
          <a:xfrm>
            <a:off x="4454591" y="1754510"/>
            <a:ext cx="3297056" cy="523220"/>
          </a:xfrm>
          <a:prstGeom prst="rect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wrap="none"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altLang="zh-TW" sz="2800" dirty="0">
                <a:solidFill>
                  <a:prstClr val="black"/>
                </a:solidFill>
              </a:rPr>
              <a:t>→ Less training data?</a:t>
            </a:r>
            <a:endParaRPr lang="zh-TW" altLang="en-US" sz="2800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0102065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114" grpId="0" animBg="1"/>
      <p:bldP spid="115" grpId="0" animBg="1"/>
      <p:bldP spid="38" grpId="0" animBg="1"/>
      <p:bldP spid="8" grpId="0" animBg="1"/>
    </p:bldLst>
  </p:timing>
</p:sld>
</file>

<file path=ppt/slides/slide8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8914" name="Picture 2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304800" y="228600"/>
            <a:ext cx="5867400" cy="4400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2" name="TextBox 1"/>
          <p:cNvSpPr txBox="1"/>
          <p:nvPr/>
        </p:nvSpPr>
        <p:spPr>
          <a:xfrm>
            <a:off x="30480" y="4867275"/>
            <a:ext cx="337547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sz="1800" dirty="0">
                <a:solidFill>
                  <a:prstClr val="black"/>
                </a:solidFill>
                <a:latin typeface="Calibri"/>
              </a:rPr>
              <a:t>Theory is picking up only recently:</a:t>
            </a:r>
          </a:p>
        </p:txBody>
      </p:sp>
      <p:sp>
        <p:nvSpPr>
          <p:cNvPr id="3" name="Rectangle 2"/>
          <p:cNvSpPr/>
          <p:nvPr/>
        </p:nvSpPr>
        <p:spPr>
          <a:xfrm>
            <a:off x="114300" y="6110338"/>
            <a:ext cx="8839200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sz="1600" dirty="0">
                <a:solidFill>
                  <a:srgbClr val="000000"/>
                </a:solidFill>
                <a:latin typeface="Times New Roman" panose="02020603050405020304" pitchFamily="18" charset="0"/>
              </a:rPr>
              <a:t>T. </a:t>
            </a:r>
            <a:r>
              <a:rPr lang="en-US" sz="1600" dirty="0" err="1">
                <a:solidFill>
                  <a:srgbClr val="000000"/>
                </a:solidFill>
                <a:latin typeface="Times New Roman" panose="02020603050405020304" pitchFamily="18" charset="0"/>
              </a:rPr>
              <a:t>Wiatowski</a:t>
            </a:r>
            <a:r>
              <a:rPr lang="en-US" sz="1600" dirty="0">
                <a:solidFill>
                  <a:srgbClr val="000000"/>
                </a:solidFill>
                <a:latin typeface="Times New Roman" panose="02020603050405020304" pitchFamily="18" charset="0"/>
              </a:rPr>
              <a:t> and H. </a:t>
            </a:r>
            <a:r>
              <a:rPr lang="en-US" sz="1600" dirty="0" err="1">
                <a:solidFill>
                  <a:srgbClr val="000000"/>
                </a:solidFill>
                <a:latin typeface="Times New Roman" panose="02020603050405020304" pitchFamily="18" charset="0"/>
              </a:rPr>
              <a:t>Bölcskei</a:t>
            </a:r>
            <a:r>
              <a:rPr lang="en-US" sz="1600" dirty="0">
                <a:solidFill>
                  <a:srgbClr val="000000"/>
                </a:solidFill>
                <a:latin typeface="Times New Roman" panose="02020603050405020304" pitchFamily="18" charset="0"/>
              </a:rPr>
              <a:t>, "A Mathematical Theory of Deep Convolutional Neural Networks for Feature Extraction," in </a:t>
            </a:r>
            <a:r>
              <a:rPr lang="en-US" sz="1600" b="1" i="1" dirty="0">
                <a:solidFill>
                  <a:srgbClr val="C00000"/>
                </a:solidFill>
                <a:latin typeface="Times New Roman" panose="02020603050405020304" pitchFamily="18" charset="0"/>
              </a:rPr>
              <a:t>IEEE Transactions on Information Theory</a:t>
            </a:r>
            <a:r>
              <a:rPr lang="en-US" sz="1600" dirty="0">
                <a:solidFill>
                  <a:srgbClr val="000000"/>
                </a:solidFill>
                <a:latin typeface="Times New Roman" panose="02020603050405020304" pitchFamily="18" charset="0"/>
              </a:rPr>
              <a:t>, vol. 64, no. 3, pp. 1845-1866, March 2018.</a:t>
            </a:r>
            <a:endParaRPr lang="en-US" sz="1600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127134" y="5365696"/>
            <a:ext cx="8763000" cy="61555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sz="1800" dirty="0">
                <a:solidFill>
                  <a:prstClr val="black"/>
                </a:solidFill>
                <a:latin typeface="Calibri"/>
              </a:rPr>
              <a:t> </a:t>
            </a:r>
            <a:r>
              <a:rPr lang="en-US" sz="1600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J. </a:t>
            </a:r>
            <a:r>
              <a:rPr lang="en-US" sz="1600" dirty="0" err="1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Andén</a:t>
            </a:r>
            <a:r>
              <a:rPr lang="en-US" sz="1600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and S. </a:t>
            </a:r>
            <a:r>
              <a:rPr lang="en-US" sz="1600" dirty="0" err="1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Mallat</a:t>
            </a:r>
            <a:r>
              <a:rPr lang="en-US" sz="1600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, “Deep scattering spectrum,” </a:t>
            </a:r>
            <a:r>
              <a:rPr lang="en-US" sz="1600" b="1" i="1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IEEE Trans. Signal Process</a:t>
            </a:r>
            <a:r>
              <a:rPr lang="en-US" sz="1600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., vol. 62, no. 16, pp. 4114–4128, Aug. 2014.</a:t>
            </a:r>
          </a:p>
        </p:txBody>
      </p:sp>
    </p:spTree>
    <p:extLst>
      <p:ext uri="{BB962C8B-B14F-4D97-AF65-F5344CB8AC3E}">
        <p14:creationId xmlns:p14="http://schemas.microsoft.com/office/powerpoint/2010/main" val="30795651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2400" y="152401"/>
            <a:ext cx="8763000" cy="685800"/>
          </a:xfrm>
        </p:spPr>
        <p:txBody>
          <a:bodyPr>
            <a:normAutofit/>
          </a:bodyPr>
          <a:lstStyle/>
          <a:p>
            <a:r>
              <a:rPr lang="en-US" sz="3600" b="1" dirty="0" smtClean="0">
                <a:solidFill>
                  <a:srgbClr val="C00000"/>
                </a:solidFill>
                <a:latin typeface="Arial Rounded MT Bold" panose="020F0704030504030204" pitchFamily="34" charset="0"/>
              </a:rPr>
              <a:t>Generative Adversarial Network (GAN)</a:t>
            </a:r>
            <a:endParaRPr lang="en-US" sz="3600" b="1" dirty="0">
              <a:solidFill>
                <a:srgbClr val="C00000"/>
              </a:solidFill>
              <a:latin typeface="Arial Rounded MT Bold" panose="020F070403050403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1000" y="1752600"/>
            <a:ext cx="8763000" cy="1219200"/>
          </a:xfrm>
        </p:spPr>
        <p:txBody>
          <a:bodyPr>
            <a:normAutofit fontScale="92500"/>
          </a:bodyPr>
          <a:lstStyle/>
          <a:p>
            <a:r>
              <a:rPr lang="en-US" sz="2400" dirty="0" err="1"/>
              <a:t>Goodfellow</a:t>
            </a:r>
            <a:r>
              <a:rPr lang="en-US" sz="2400" dirty="0"/>
              <a:t>, Ian; </a:t>
            </a:r>
            <a:r>
              <a:rPr lang="en-US" sz="2400" dirty="0" err="1"/>
              <a:t>Pouget-Abadie</a:t>
            </a:r>
            <a:r>
              <a:rPr lang="en-US" sz="2400" dirty="0"/>
              <a:t>, Jean; </a:t>
            </a:r>
            <a:r>
              <a:rPr lang="en-US" sz="2400" dirty="0" err="1"/>
              <a:t>Mirza</a:t>
            </a:r>
            <a:r>
              <a:rPr lang="en-US" sz="2400" dirty="0"/>
              <a:t>, Mehdi; Xu, Bing; </a:t>
            </a:r>
            <a:r>
              <a:rPr lang="en-US" sz="2400" dirty="0" err="1"/>
              <a:t>Warde</a:t>
            </a:r>
            <a:r>
              <a:rPr lang="en-US" sz="2400" dirty="0"/>
              <a:t>-Farley, David; </a:t>
            </a:r>
            <a:r>
              <a:rPr lang="en-US" sz="2400" dirty="0" err="1"/>
              <a:t>Ozair</a:t>
            </a:r>
            <a:r>
              <a:rPr lang="en-US" sz="2400" dirty="0"/>
              <a:t>, </a:t>
            </a:r>
            <a:r>
              <a:rPr lang="en-US" sz="2400" dirty="0" err="1"/>
              <a:t>Sherjil</a:t>
            </a:r>
            <a:r>
              <a:rPr lang="en-US" sz="2400" dirty="0"/>
              <a:t>; </a:t>
            </a:r>
            <a:r>
              <a:rPr lang="en-US" sz="2400" dirty="0" err="1"/>
              <a:t>Courville</a:t>
            </a:r>
            <a:r>
              <a:rPr lang="en-US" sz="2400" dirty="0"/>
              <a:t>, Aaron; </a:t>
            </a:r>
            <a:r>
              <a:rPr lang="en-US" sz="2400" dirty="0" err="1"/>
              <a:t>Bengio</a:t>
            </a:r>
            <a:r>
              <a:rPr lang="en-US" sz="2400" dirty="0"/>
              <a:t>, </a:t>
            </a:r>
            <a:r>
              <a:rPr lang="en-US" sz="2400" dirty="0" err="1" smtClean="0"/>
              <a:t>Yoshua</a:t>
            </a:r>
            <a:r>
              <a:rPr lang="en-US" sz="2400" dirty="0" smtClean="0"/>
              <a:t>. "Generative </a:t>
            </a:r>
            <a:r>
              <a:rPr lang="en-US" sz="2400" dirty="0"/>
              <a:t>Adversarial Networks". </a:t>
            </a:r>
            <a:r>
              <a:rPr lang="en-US" sz="2400" dirty="0" smtClean="0">
                <a:hlinkClick r:id="rId2" tooltip="ArXiv"/>
              </a:rPr>
              <a:t>arXiv</a:t>
            </a:r>
            <a:r>
              <a:rPr lang="en-US" sz="2400" dirty="0" smtClean="0"/>
              <a:t>:</a:t>
            </a:r>
            <a:r>
              <a:rPr lang="en-US" sz="2400" dirty="0" smtClean="0">
                <a:hlinkClick r:id="rId3"/>
              </a:rPr>
              <a:t>1406.2661</a:t>
            </a:r>
            <a:r>
              <a:rPr lang="en-US" sz="2400" dirty="0" smtClean="0"/>
              <a:t>, </a:t>
            </a:r>
            <a:r>
              <a:rPr lang="en-US" sz="2400" i="1" dirty="0" smtClean="0"/>
              <a:t>NIPS</a:t>
            </a:r>
            <a:r>
              <a:rPr lang="en-US" sz="2400" dirty="0" smtClean="0"/>
              <a:t> 2014</a:t>
            </a:r>
            <a:endParaRPr lang="en-US" sz="2400" dirty="0"/>
          </a:p>
        </p:txBody>
      </p:sp>
      <p:sp>
        <p:nvSpPr>
          <p:cNvPr id="4" name="TextBox 3"/>
          <p:cNvSpPr txBox="1"/>
          <p:nvPr/>
        </p:nvSpPr>
        <p:spPr>
          <a:xfrm>
            <a:off x="304800" y="1066800"/>
            <a:ext cx="3245697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sz="2400" b="1" dirty="0">
                <a:solidFill>
                  <a:srgbClr val="0033CC"/>
                </a:solidFill>
                <a:latin typeface="Calibri"/>
              </a:rPr>
              <a:t>The 2014 breakthrough:</a:t>
            </a:r>
          </a:p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endParaRPr lang="en-US" sz="2400" b="1" dirty="0">
              <a:solidFill>
                <a:srgbClr val="0033CC"/>
              </a:solidFill>
              <a:latin typeface="Calibri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6248400" y="2971800"/>
            <a:ext cx="249491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sz="1800" b="1" dirty="0">
                <a:solidFill>
                  <a:srgbClr val="FF0000"/>
                </a:solidFill>
                <a:latin typeface="Calibri"/>
              </a:rPr>
              <a:t>6000+ citations till date!</a:t>
            </a:r>
          </a:p>
        </p:txBody>
      </p:sp>
      <p:sp>
        <p:nvSpPr>
          <p:cNvPr id="6" name="Rectangle 5"/>
          <p:cNvSpPr/>
          <p:nvPr/>
        </p:nvSpPr>
        <p:spPr>
          <a:xfrm>
            <a:off x="533400" y="3657600"/>
            <a:ext cx="807720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sz="1800" b="1" dirty="0">
                <a:solidFill>
                  <a:srgbClr val="00B050"/>
                </a:solidFill>
              </a:rPr>
              <a:t>"the most interesting idea in the last 10 years in machine learning."</a:t>
            </a:r>
            <a:endParaRPr lang="en-US" sz="1800" b="1" dirty="0">
              <a:solidFill>
                <a:srgbClr val="00B050"/>
              </a:solidFill>
              <a:latin typeface="Calibri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2898992" y="4191000"/>
            <a:ext cx="5844322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sz="1800" dirty="0">
                <a:solidFill>
                  <a:srgbClr val="666666"/>
                </a:solidFill>
              </a:rPr>
              <a:t>        - Yann </a:t>
            </a:r>
            <a:r>
              <a:rPr lang="en-US" sz="1800" dirty="0" err="1">
                <a:solidFill>
                  <a:srgbClr val="666666"/>
                </a:solidFill>
              </a:rPr>
              <a:t>LeCun</a:t>
            </a:r>
            <a:r>
              <a:rPr lang="en-US" sz="1800" dirty="0">
                <a:solidFill>
                  <a:srgbClr val="666666"/>
                </a:solidFill>
              </a:rPr>
              <a:t>, director of AI research at Facebook</a:t>
            </a:r>
            <a:endParaRPr lang="en-US" sz="1800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533400" y="5087034"/>
            <a:ext cx="3505200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sz="1800" dirty="0">
                <a:solidFill>
                  <a:prstClr val="black"/>
                </a:solidFill>
                <a:latin typeface="Calibri"/>
              </a:rPr>
              <a:t>GANs were used to create the 2018 painting </a:t>
            </a:r>
            <a:r>
              <a:rPr lang="en-US" sz="1800" i="1" dirty="0">
                <a:solidFill>
                  <a:prstClr val="black"/>
                </a:solidFill>
                <a:latin typeface="Calibri"/>
              </a:rPr>
              <a:t>Edmond de </a:t>
            </a:r>
            <a:r>
              <a:rPr lang="en-US" sz="1800" i="1" dirty="0" err="1">
                <a:solidFill>
                  <a:prstClr val="black"/>
                </a:solidFill>
                <a:latin typeface="Calibri"/>
              </a:rPr>
              <a:t>Belamy</a:t>
            </a:r>
            <a:r>
              <a:rPr lang="en-US" sz="1800" i="1" dirty="0">
                <a:solidFill>
                  <a:prstClr val="black"/>
                </a:solidFill>
                <a:latin typeface="Calibri"/>
              </a:rPr>
              <a:t> </a:t>
            </a:r>
            <a:r>
              <a:rPr lang="en-US" sz="1800" dirty="0">
                <a:solidFill>
                  <a:prstClr val="black"/>
                </a:solidFill>
                <a:latin typeface="Calibri"/>
              </a:rPr>
              <a:t>which sold for </a:t>
            </a:r>
            <a:r>
              <a:rPr lang="en-US" sz="1800" b="1" dirty="0">
                <a:solidFill>
                  <a:srgbClr val="0033CC"/>
                </a:solidFill>
                <a:latin typeface="Calibri"/>
              </a:rPr>
              <a:t>$432,500</a:t>
            </a:r>
          </a:p>
        </p:txBody>
      </p:sp>
      <p:pic>
        <p:nvPicPr>
          <p:cNvPr id="240642" name="Picture 2" descr="Edmond de Belamy.pn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53200" y="5087034"/>
            <a:ext cx="1563226" cy="15684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966286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2400" y="533400"/>
            <a:ext cx="8991600" cy="5105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666230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457200"/>
            <a:ext cx="9056845" cy="5791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537014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609600"/>
            <a:ext cx="9117004" cy="57717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752405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058" name="Slide Number Placeholder 4"/>
          <p:cNvSpPr>
            <a:spLocks noGrp="1"/>
          </p:cNvSpPr>
          <p:nvPr>
            <p:ph type="sldNum" sz="quarter" idx="11"/>
          </p:nvPr>
        </p:nvSpPr>
        <p:spPr>
          <a:noFill/>
        </p:spPr>
        <p:txBody>
          <a:bodyPr/>
          <a:lstStyle/>
          <a:p>
            <a:fld id="{F21851F6-D2E2-488F-9F0B-CDDAFA3ACB0D}" type="slidenum">
              <a:rPr lang="en-US" altLang="en-US">
                <a:solidFill>
                  <a:srgbClr val="000000"/>
                </a:solidFill>
              </a:rPr>
              <a:pPr/>
              <a:t>9</a:t>
            </a:fld>
            <a:endParaRPr lang="en-US" altLang="en-US">
              <a:solidFill>
                <a:srgbClr val="000000"/>
              </a:solidFill>
            </a:endParaRPr>
          </a:p>
        </p:txBody>
      </p:sp>
      <p:sp>
        <p:nvSpPr>
          <p:cNvPr id="45059" name="Rectangle 2"/>
          <p:cNvSpPr>
            <a:spLocks noGrp="1" noChangeArrowheads="1"/>
          </p:cNvSpPr>
          <p:nvPr>
            <p:ph type="body" idx="1"/>
          </p:nvPr>
        </p:nvSpPr>
        <p:spPr>
          <a:xfrm>
            <a:off x="457200" y="1304925"/>
            <a:ext cx="8229600" cy="4679950"/>
          </a:xfrm>
        </p:spPr>
        <p:txBody>
          <a:bodyPr/>
          <a:lstStyle/>
          <a:p>
            <a:pPr eaLnBrk="1" hangingPunct="1"/>
            <a:r>
              <a:rPr lang="en-GB" dirty="0" smtClean="0">
                <a:solidFill>
                  <a:srgbClr val="FF0000"/>
                </a:solidFill>
              </a:rPr>
              <a:t>Data:</a:t>
            </a:r>
            <a:r>
              <a:rPr lang="en-GB" dirty="0" smtClean="0"/>
              <a:t> A set of data records (also called examples, instances or cases) described by</a:t>
            </a:r>
          </a:p>
          <a:p>
            <a:pPr marL="742950" lvl="1" indent="-285750" eaLnBrk="1" hangingPunct="1"/>
            <a:r>
              <a:rPr lang="en-GB" i="1" dirty="0" smtClean="0">
                <a:solidFill>
                  <a:srgbClr val="3333CC"/>
                </a:solidFill>
              </a:rPr>
              <a:t>k</a:t>
            </a:r>
            <a:r>
              <a:rPr lang="en-GB" dirty="0" smtClean="0">
                <a:solidFill>
                  <a:srgbClr val="3333CC"/>
                </a:solidFill>
              </a:rPr>
              <a:t> attributes/variables/features</a:t>
            </a:r>
            <a:r>
              <a:rPr lang="en-GB" dirty="0" smtClean="0"/>
              <a:t>: </a:t>
            </a:r>
            <a:r>
              <a:rPr lang="en-GB" i="1" dirty="0" smtClean="0"/>
              <a:t>A</a:t>
            </a:r>
            <a:r>
              <a:rPr lang="en-GB" baseline="-25000" dirty="0" smtClean="0"/>
              <a:t>1</a:t>
            </a:r>
            <a:r>
              <a:rPr lang="en-GB" dirty="0" smtClean="0"/>
              <a:t>, </a:t>
            </a:r>
            <a:r>
              <a:rPr lang="en-GB" i="1" dirty="0" smtClean="0"/>
              <a:t>A</a:t>
            </a:r>
            <a:r>
              <a:rPr lang="en-GB" baseline="-25000" dirty="0" smtClean="0"/>
              <a:t>2</a:t>
            </a:r>
            <a:r>
              <a:rPr lang="en-GB" dirty="0" smtClean="0"/>
              <a:t>, … </a:t>
            </a:r>
            <a:r>
              <a:rPr lang="en-GB" i="1" dirty="0" err="1" smtClean="0"/>
              <a:t>A</a:t>
            </a:r>
            <a:r>
              <a:rPr lang="en-GB" i="1" baseline="-25000" dirty="0" err="1" smtClean="0"/>
              <a:t>k</a:t>
            </a:r>
            <a:r>
              <a:rPr lang="en-GB" dirty="0" smtClean="0"/>
              <a:t>. </a:t>
            </a:r>
          </a:p>
          <a:p>
            <a:pPr marL="742950" lvl="1" indent="-285750" eaLnBrk="1" hangingPunct="1"/>
            <a:r>
              <a:rPr lang="en-GB" dirty="0" smtClean="0">
                <a:solidFill>
                  <a:srgbClr val="3333CC"/>
                </a:solidFill>
              </a:rPr>
              <a:t>a class</a:t>
            </a:r>
            <a:r>
              <a:rPr lang="en-GB" dirty="0" smtClean="0"/>
              <a:t>: Each example is labelled with a pre-defined class. </a:t>
            </a:r>
          </a:p>
          <a:p>
            <a:pPr eaLnBrk="1" hangingPunct="1"/>
            <a:r>
              <a:rPr lang="en-GB" dirty="0" smtClean="0">
                <a:solidFill>
                  <a:srgbClr val="FF0000"/>
                </a:solidFill>
              </a:rPr>
              <a:t>Goal:</a:t>
            </a:r>
            <a:r>
              <a:rPr lang="en-GB" dirty="0" smtClean="0"/>
              <a:t> To learn a </a:t>
            </a:r>
            <a:r>
              <a:rPr lang="en-GB" dirty="0" smtClean="0">
                <a:solidFill>
                  <a:srgbClr val="3333CC"/>
                </a:solidFill>
              </a:rPr>
              <a:t>classification model</a:t>
            </a:r>
            <a:r>
              <a:rPr lang="en-GB" dirty="0" smtClean="0"/>
              <a:t> </a:t>
            </a:r>
            <a:r>
              <a:rPr lang="en-GB" i="1" dirty="0" smtClean="0">
                <a:solidFill>
                  <a:srgbClr val="C00000"/>
                </a:solidFill>
              </a:rPr>
              <a:t>f</a:t>
            </a:r>
            <a:r>
              <a:rPr lang="en-GB" dirty="0" smtClean="0"/>
              <a:t> from the data that can be used to predict the classes of new (future, or test) cases/instances.</a:t>
            </a:r>
          </a:p>
        </p:txBody>
      </p:sp>
      <p:sp>
        <p:nvSpPr>
          <p:cNvPr id="45060" name="Rectangle 3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GB" smtClean="0"/>
              <a:t>The data and the goal</a:t>
            </a:r>
          </a:p>
        </p:txBody>
      </p:sp>
    </p:spTree>
    <p:extLst>
      <p:ext uri="{BB962C8B-B14F-4D97-AF65-F5344CB8AC3E}">
        <p14:creationId xmlns:p14="http://schemas.microsoft.com/office/powerpoint/2010/main" val="231812800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9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1" y="762000"/>
            <a:ext cx="9151823" cy="5029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689799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2400" y="381000"/>
            <a:ext cx="8811153" cy="5791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451360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2400" y="381000"/>
            <a:ext cx="8934246" cy="5943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056390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9144000" cy="5867400"/>
          </a:xfrm>
          <a:prstGeom prst="rect">
            <a:avLst/>
          </a:prstGeom>
        </p:spPr>
      </p:pic>
      <p:sp>
        <p:nvSpPr>
          <p:cNvPr id="3" name="Rectangle 2"/>
          <p:cNvSpPr/>
          <p:nvPr/>
        </p:nvSpPr>
        <p:spPr>
          <a:xfrm>
            <a:off x="109086" y="6172200"/>
            <a:ext cx="9067800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sz="1600" dirty="0">
                <a:solidFill>
                  <a:prstClr val="black"/>
                </a:solidFill>
                <a:latin typeface="Calibri"/>
              </a:rPr>
              <a:t>J. Zhu </a:t>
            </a:r>
            <a:r>
              <a:rPr lang="en-US" sz="1600" i="1" dirty="0">
                <a:solidFill>
                  <a:prstClr val="black"/>
                </a:solidFill>
                <a:latin typeface="Calibri"/>
              </a:rPr>
              <a:t>et al</a:t>
            </a:r>
            <a:r>
              <a:rPr lang="en-US" sz="1600" dirty="0">
                <a:solidFill>
                  <a:prstClr val="black"/>
                </a:solidFill>
                <a:latin typeface="Calibri"/>
              </a:rPr>
              <a:t>. Unpaired image-to-image translation using cycle-consistent adversarial networks. In </a:t>
            </a:r>
            <a:r>
              <a:rPr lang="en-US" sz="1600" b="1" i="1" dirty="0">
                <a:solidFill>
                  <a:srgbClr val="0033CC"/>
                </a:solidFill>
                <a:latin typeface="Calibri"/>
              </a:rPr>
              <a:t>International Conference on Computer Vision </a:t>
            </a:r>
            <a:r>
              <a:rPr lang="en-US" sz="1600" dirty="0">
                <a:solidFill>
                  <a:prstClr val="black"/>
                </a:solidFill>
                <a:latin typeface="Calibri"/>
              </a:rPr>
              <a:t>(ICCV), 2017</a:t>
            </a:r>
          </a:p>
        </p:txBody>
      </p:sp>
    </p:spTree>
    <p:extLst>
      <p:ext uri="{BB962C8B-B14F-4D97-AF65-F5344CB8AC3E}">
        <p14:creationId xmlns:p14="http://schemas.microsoft.com/office/powerpoint/2010/main" val="6496360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899592" y="296652"/>
            <a:ext cx="7154523" cy="5539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 smtClean="0">
                <a:solidFill>
                  <a:srgbClr val="C00000"/>
                </a:solidFill>
              </a:rPr>
              <a:t>Sparse Methods for Machine Learning</a:t>
            </a:r>
            <a:endParaRPr lang="en-US" b="1" dirty="0">
              <a:solidFill>
                <a:srgbClr val="C00000"/>
              </a:solidFill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7524" y="944724"/>
            <a:ext cx="8516782" cy="5254260"/>
          </a:xfrm>
          <a:prstGeom prst="rect">
            <a:avLst/>
          </a:prstGeom>
        </p:spPr>
      </p:pic>
      <p:sp>
        <p:nvSpPr>
          <p:cNvPr id="5" name="TextBox 4"/>
          <p:cNvSpPr txBox="1"/>
          <p:nvPr/>
        </p:nvSpPr>
        <p:spPr>
          <a:xfrm>
            <a:off x="5470573" y="6293058"/>
            <a:ext cx="3333733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dirty="0" smtClean="0"/>
              <a:t>F. Bach, NIPS 2010 Tutorial</a:t>
            </a:r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9811883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7524" y="296652"/>
            <a:ext cx="8405638" cy="2736304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555776" y="3140968"/>
            <a:ext cx="3240360" cy="35070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68013172"/>
      </p:ext>
    </p:extLst>
  </p:cSld>
  <p:clrMapOvr>
    <a:masterClrMapping/>
  </p:clrMapOvr>
</p:sld>
</file>

<file path=ppt/slides/slide9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179512" y="332656"/>
            <a:ext cx="509306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b="1" dirty="0" smtClean="0">
                <a:solidFill>
                  <a:srgbClr val="00B050"/>
                </a:solidFill>
              </a:rPr>
              <a:t>The Sparse k-means Clustering…</a:t>
            </a:r>
            <a:endParaRPr lang="en-US" sz="2400" b="1" dirty="0">
              <a:solidFill>
                <a:srgbClr val="00B050"/>
              </a:solidFill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179512" y="1124744"/>
            <a:ext cx="2449710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dirty="0" smtClean="0"/>
              <a:t>Objective Function: </a:t>
            </a:r>
            <a:endParaRPr lang="en-US" sz="2000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555776" y="944724"/>
            <a:ext cx="4464496" cy="1719956"/>
          </a:xfrm>
          <a:prstGeom prst="rect">
            <a:avLst/>
          </a:prstGeom>
        </p:spPr>
      </p:pic>
      <p:sp>
        <p:nvSpPr>
          <p:cNvPr id="5" name="Oval 4"/>
          <p:cNvSpPr/>
          <p:nvPr/>
        </p:nvSpPr>
        <p:spPr>
          <a:xfrm>
            <a:off x="5652120" y="1804702"/>
            <a:ext cx="1188132" cy="436166"/>
          </a:xfrm>
          <a:prstGeom prst="ellipse">
            <a:avLst/>
          </a:prstGeom>
          <a:noFill/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7" name="Straight Arrow Connector 6"/>
          <p:cNvCxnSpPr>
            <a:stCxn id="5" idx="5"/>
          </p:cNvCxnSpPr>
          <p:nvPr/>
        </p:nvCxnSpPr>
        <p:spPr>
          <a:xfrm>
            <a:off x="6666254" y="2176993"/>
            <a:ext cx="354018" cy="487687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Box 7"/>
          <p:cNvSpPr txBox="1"/>
          <p:nvPr/>
        </p:nvSpPr>
        <p:spPr>
          <a:xfrm>
            <a:off x="6661543" y="2731514"/>
            <a:ext cx="170591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 smtClean="0"/>
              <a:t>The sparse penalty</a:t>
            </a:r>
            <a:endParaRPr lang="en-US" sz="1400" dirty="0"/>
          </a:p>
        </p:txBody>
      </p:sp>
      <p:sp>
        <p:nvSpPr>
          <p:cNvPr id="10" name="Oval 9"/>
          <p:cNvSpPr/>
          <p:nvPr/>
        </p:nvSpPr>
        <p:spPr>
          <a:xfrm>
            <a:off x="4283968" y="1088688"/>
            <a:ext cx="1315584" cy="436166"/>
          </a:xfrm>
          <a:prstGeom prst="ellipse">
            <a:avLst/>
          </a:prstGeom>
          <a:noFill/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1" name="Straight Arrow Connector 10"/>
          <p:cNvCxnSpPr>
            <a:stCxn id="10" idx="7"/>
          </p:cNvCxnSpPr>
          <p:nvPr/>
        </p:nvCxnSpPr>
        <p:spPr>
          <a:xfrm flipV="1">
            <a:off x="5406889" y="794321"/>
            <a:ext cx="893303" cy="358242"/>
          </a:xfrm>
          <a:prstGeom prst="straightConnector1">
            <a:avLst/>
          </a:prstGeom>
          <a:ln w="952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11"/>
          <p:cNvSpPr txBox="1"/>
          <p:nvPr/>
        </p:nvSpPr>
        <p:spPr>
          <a:xfrm>
            <a:off x="6171858" y="208065"/>
            <a:ext cx="3126112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 smtClean="0"/>
              <a:t>Weighted between cluster sun of the </a:t>
            </a:r>
          </a:p>
          <a:p>
            <a:r>
              <a:rPr lang="en-US" sz="1400" dirty="0" smtClean="0"/>
              <a:t>squares for feature</a:t>
            </a:r>
            <a:r>
              <a:rPr lang="en-US" sz="1400" i="1" dirty="0" smtClean="0"/>
              <a:t> j</a:t>
            </a:r>
            <a:endParaRPr lang="en-US" sz="1400" i="1" dirty="0"/>
          </a:p>
        </p:txBody>
      </p:sp>
      <p:pic>
        <p:nvPicPr>
          <p:cNvPr id="13" name="Picture 1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13719" y="3473137"/>
            <a:ext cx="8501878" cy="2086933"/>
          </a:xfrm>
          <a:prstGeom prst="rect">
            <a:avLst/>
          </a:prstGeom>
        </p:spPr>
      </p:pic>
      <p:sp>
        <p:nvSpPr>
          <p:cNvPr id="14" name="Rectangle 13"/>
          <p:cNvSpPr/>
          <p:nvPr/>
        </p:nvSpPr>
        <p:spPr>
          <a:xfrm>
            <a:off x="214521" y="6106917"/>
            <a:ext cx="8784976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dirty="0"/>
              <a:t>Witten, D. M. and </a:t>
            </a:r>
            <a:r>
              <a:rPr lang="en-US" sz="1400" dirty="0" err="1"/>
              <a:t>Tibshirani</a:t>
            </a:r>
            <a:r>
              <a:rPr lang="en-US" sz="1400" dirty="0"/>
              <a:t>, R. (2010) A framework for feature selection in clustering. J. Am. Statist. Ass., 105, 713–726.</a:t>
            </a:r>
          </a:p>
        </p:txBody>
      </p:sp>
    </p:spTree>
    <p:extLst>
      <p:ext uri="{BB962C8B-B14F-4D97-AF65-F5344CB8AC3E}">
        <p14:creationId xmlns:p14="http://schemas.microsoft.com/office/powerpoint/2010/main" val="213161984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270722" y="36709"/>
            <a:ext cx="4644220" cy="5539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Semi-supervised Learning</a:t>
            </a:r>
            <a:endParaRPr lang="en-US" dirty="0"/>
          </a:p>
        </p:txBody>
      </p:sp>
      <p:sp>
        <p:nvSpPr>
          <p:cNvPr id="3" name="TextBox 2"/>
          <p:cNvSpPr txBox="1"/>
          <p:nvPr/>
        </p:nvSpPr>
        <p:spPr>
          <a:xfrm>
            <a:off x="3023828" y="616357"/>
            <a:ext cx="5690982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b="1" dirty="0" smtClean="0">
                <a:solidFill>
                  <a:srgbClr val="00B050"/>
                </a:solidFill>
                <a:cs typeface="Arial" panose="020B0604020202020204" pitchFamily="34" charset="0"/>
              </a:rPr>
              <a:t>…Because labeled data is so costly!!!</a:t>
            </a:r>
            <a:endParaRPr lang="en-US" sz="2400" b="1" dirty="0">
              <a:solidFill>
                <a:srgbClr val="00B050"/>
              </a:solidFill>
              <a:cs typeface="Arial" panose="020B0604020202020204" pitchFamily="34" charset="0"/>
            </a:endParaRPr>
          </a:p>
        </p:txBody>
      </p:sp>
      <p:pic>
        <p:nvPicPr>
          <p:cNvPr id="160770" name="Picture 2" descr="Related image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5214" y="1489336"/>
            <a:ext cx="7668852" cy="24269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extBox 3"/>
          <p:cNvSpPr txBox="1"/>
          <p:nvPr/>
        </p:nvSpPr>
        <p:spPr>
          <a:xfrm>
            <a:off x="273027" y="1103672"/>
            <a:ext cx="355738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800" dirty="0" smtClean="0"/>
              <a:t>Semi-supervised Classification…</a:t>
            </a:r>
            <a:endParaRPr lang="en-US" sz="1800" dirty="0"/>
          </a:p>
        </p:txBody>
      </p:sp>
      <p:pic>
        <p:nvPicPr>
          <p:cNvPr id="160772" name="Picture 4" descr="Related image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83968" y="3903418"/>
            <a:ext cx="4338676" cy="26609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extBox 6"/>
          <p:cNvSpPr txBox="1"/>
          <p:nvPr/>
        </p:nvSpPr>
        <p:spPr>
          <a:xfrm>
            <a:off x="270722" y="4142951"/>
            <a:ext cx="323678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800" dirty="0" smtClean="0"/>
              <a:t>Semi-supervised Clustering…</a:t>
            </a:r>
            <a:endParaRPr lang="en-US" sz="1800" dirty="0"/>
          </a:p>
        </p:txBody>
      </p:sp>
      <p:sp>
        <p:nvSpPr>
          <p:cNvPr id="5" name="Rectangle 4"/>
          <p:cNvSpPr/>
          <p:nvPr/>
        </p:nvSpPr>
        <p:spPr>
          <a:xfrm>
            <a:off x="67640" y="6359604"/>
            <a:ext cx="4216328" cy="4154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050" dirty="0" err="1">
                <a:solidFill>
                  <a:srgbClr val="333333"/>
                </a:solidFill>
                <a:latin typeface="Source Sans Pro"/>
              </a:rPr>
              <a:t>Wagstaff</a:t>
            </a:r>
            <a:r>
              <a:rPr lang="en-US" sz="1050" dirty="0">
                <a:solidFill>
                  <a:srgbClr val="333333"/>
                </a:solidFill>
                <a:latin typeface="Source Sans Pro"/>
              </a:rPr>
              <a:t> K.L. (2011) Constrained Clustering. In: </a:t>
            </a:r>
            <a:r>
              <a:rPr lang="en-US" sz="1050" dirty="0" err="1">
                <a:solidFill>
                  <a:srgbClr val="333333"/>
                </a:solidFill>
                <a:latin typeface="Source Sans Pro"/>
              </a:rPr>
              <a:t>Sammut</a:t>
            </a:r>
            <a:r>
              <a:rPr lang="en-US" sz="1050" dirty="0">
                <a:solidFill>
                  <a:srgbClr val="333333"/>
                </a:solidFill>
                <a:latin typeface="Source Sans Pro"/>
              </a:rPr>
              <a:t> C., Webb G.I. (</a:t>
            </a:r>
            <a:r>
              <a:rPr lang="en-US" sz="1050" dirty="0" err="1">
                <a:solidFill>
                  <a:srgbClr val="333333"/>
                </a:solidFill>
                <a:latin typeface="Source Sans Pro"/>
              </a:rPr>
              <a:t>eds</a:t>
            </a:r>
            <a:r>
              <a:rPr lang="en-US" sz="1050" dirty="0">
                <a:solidFill>
                  <a:srgbClr val="333333"/>
                </a:solidFill>
                <a:latin typeface="Source Sans Pro"/>
              </a:rPr>
              <a:t>) Encyclopedia of Machine Learning. Springer, Boston, MA</a:t>
            </a:r>
            <a:endParaRPr lang="en-US" sz="1050" dirty="0"/>
          </a:p>
        </p:txBody>
      </p:sp>
    </p:spTree>
    <p:extLst>
      <p:ext uri="{BB962C8B-B14F-4D97-AF65-F5344CB8AC3E}">
        <p14:creationId xmlns:p14="http://schemas.microsoft.com/office/powerpoint/2010/main" val="4611483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7434" y="135081"/>
            <a:ext cx="8229600" cy="762000"/>
          </a:xfrm>
        </p:spPr>
        <p:txBody>
          <a:bodyPr>
            <a:normAutofit/>
          </a:bodyPr>
          <a:lstStyle/>
          <a:p>
            <a:pPr algn="l"/>
            <a:r>
              <a:rPr lang="en-US" sz="2400" b="1" dirty="0" smtClean="0">
                <a:solidFill>
                  <a:srgbClr val="00B050"/>
                </a:solidFill>
              </a:rPr>
              <a:t>Ever Tough Challenge to ML: Data Irregularities</a:t>
            </a:r>
            <a:endParaRPr lang="en-US" sz="2400" b="1" dirty="0">
              <a:solidFill>
                <a:srgbClr val="00B050"/>
              </a:solidFill>
            </a:endParaRPr>
          </a:p>
        </p:txBody>
      </p:sp>
      <p:graphicFrame>
        <p:nvGraphicFramePr>
          <p:cNvPr id="4" name="Content Placeholder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002962583"/>
              </p:ext>
            </p:extLst>
          </p:nvPr>
        </p:nvGraphicFramePr>
        <p:xfrm>
          <a:off x="990600" y="1295400"/>
          <a:ext cx="7315200" cy="450986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9" name="Rectangle 8"/>
          <p:cNvSpPr/>
          <p:nvPr/>
        </p:nvSpPr>
        <p:spPr>
          <a:xfrm>
            <a:off x="217434" y="6345324"/>
            <a:ext cx="8763000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sz="1200" dirty="0" smtClean="0">
                <a:solidFill>
                  <a:schemeClr val="bg1">
                    <a:lumMod val="50000"/>
                  </a:schemeClr>
                </a:solidFill>
                <a:latin typeface="Times New Roman"/>
              </a:rPr>
              <a:t>Das </a:t>
            </a:r>
            <a:r>
              <a:rPr lang="en-US" sz="1200" i="1" dirty="0" smtClean="0">
                <a:solidFill>
                  <a:schemeClr val="bg1">
                    <a:lumMod val="50000"/>
                  </a:schemeClr>
                </a:solidFill>
                <a:latin typeface="Times New Roman"/>
              </a:rPr>
              <a:t>et al</a:t>
            </a:r>
            <a:r>
              <a:rPr lang="en-US" sz="1200" dirty="0" smtClean="0">
                <a:solidFill>
                  <a:schemeClr val="bg1">
                    <a:lumMod val="50000"/>
                  </a:schemeClr>
                </a:solidFill>
                <a:latin typeface="Times New Roman"/>
              </a:rPr>
              <a:t>., "Handling data irregularities in classification: foundations, trends, and future challenges", </a:t>
            </a:r>
            <a:r>
              <a:rPr lang="en-US" sz="1200" i="1" dirty="0" smtClean="0">
                <a:solidFill>
                  <a:schemeClr val="bg1">
                    <a:lumMod val="50000"/>
                  </a:schemeClr>
                </a:solidFill>
                <a:latin typeface="Times New Roman"/>
              </a:rPr>
              <a:t>Pattern Recognition, </a:t>
            </a:r>
            <a:r>
              <a:rPr lang="en-US" sz="1200" dirty="0" smtClean="0">
                <a:solidFill>
                  <a:schemeClr val="bg1">
                    <a:lumMod val="50000"/>
                  </a:schemeClr>
                </a:solidFill>
                <a:latin typeface="Times New Roman"/>
              </a:rPr>
              <a:t>Elsevier, 2018.</a:t>
            </a:r>
            <a:endParaRPr lang="en-US" sz="1200" dirty="0">
              <a:solidFill>
                <a:schemeClr val="bg1">
                  <a:lumMod val="50000"/>
                </a:schemeClr>
              </a:solidFill>
              <a:latin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7071811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53218"/>
            <a:ext cx="8229600" cy="792161"/>
          </a:xfrm>
        </p:spPr>
        <p:txBody>
          <a:bodyPr>
            <a:normAutofit fontScale="90000"/>
          </a:bodyPr>
          <a:lstStyle/>
          <a:p>
            <a:r>
              <a:rPr lang="en-US" dirty="0" smtClean="0"/>
              <a:t>Imbalance in the Deep Learning Era</a:t>
            </a:r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57200" y="1066800"/>
            <a:ext cx="8001000" cy="4865134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6200" y="6400800"/>
            <a:ext cx="5105400" cy="279582"/>
          </a:xfrm>
          <a:prstGeom prst="rect">
            <a:avLst/>
          </a:prstGeom>
        </p:spPr>
      </p:pic>
      <p:sp>
        <p:nvSpPr>
          <p:cNvPr id="6" name="TextBox 5"/>
          <p:cNvSpPr txBox="1"/>
          <p:nvPr/>
        </p:nvSpPr>
        <p:spPr>
          <a:xfrm>
            <a:off x="6561221" y="6355925"/>
            <a:ext cx="25908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 smtClean="0">
                <a:solidFill>
                  <a:schemeClr val="bg1">
                    <a:lumMod val="50000"/>
                  </a:schemeClr>
                </a:solidFill>
              </a:rPr>
              <a:t>Wang </a:t>
            </a:r>
            <a:r>
              <a:rPr lang="en-US" sz="1400" i="1" dirty="0" smtClean="0">
                <a:solidFill>
                  <a:schemeClr val="bg1">
                    <a:lumMod val="50000"/>
                  </a:schemeClr>
                </a:solidFill>
              </a:rPr>
              <a:t>et al</a:t>
            </a:r>
            <a:r>
              <a:rPr lang="en-US" sz="1400" dirty="0" smtClean="0">
                <a:solidFill>
                  <a:schemeClr val="bg1">
                    <a:lumMod val="50000"/>
                  </a:schemeClr>
                </a:solidFill>
              </a:rPr>
              <a:t>., NIPS 2017</a:t>
            </a:r>
            <a:endParaRPr lang="en-US" sz="1400" dirty="0">
              <a:solidFill>
                <a:schemeClr val="bg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915472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MPWIDTH" val="125"/>
  <p:tag name="BMPHEIGHT" val="41"/>
  <p:tag name="SOURCE" val="\documentclass{article}\usepackage{amsmath,amssymb,color}\pagestyle{empty}&#10;\newcommand{\argmax}{\operatornamewithlimits{argmax}} &#10;\begin{document}\begin{eqnarray*}&#10;\alpha\bold{w}&#10;\end{eqnarray*}\end{document} &#10;"/>
  <p:tag name="TRANSPARENT" val="Tru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MPWIDTH" val="341"/>
  <p:tag name="BMPHEIGHT" val="208"/>
  <p:tag name="SOURCE" val="\documentclass{article}\usepackage{amsmath,amssymb,color,jcommon}\pagestyle{empty}&#10;\begin{document}\begin{eqnarray*}&#10;d = {2 \over \norm{\bold{w}}^2}&#10;\end{eqnarray*}\end{document} &#10;"/>
  <p:tag name="TRANSPARENT" val="Tru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MPWIDTH" val="583"/>
  <p:tag name="BMPHEIGHT" val="108"/>
  <p:tag name="SOURCE" val="\documentclass{article}\usepackage{amsmath,amssymb,color,jcommon}\pagestyle{empty}&#10;\begin{document}\begin{eqnarray*}&#10;\tau(\bold{w}) = {0.5} \norm{\bold{w}} ^2&#10;\end{eqnarray*}\end{document} &#10;"/>
  <p:tag name="TRANSPARENT" val="Tru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MPWIDTH" val="1383"/>
  <p:tag name="BMPHEIGHT" val="125"/>
  <p:tag name="SOURCE" val="\documentclass{article}\usepackage{amsmath,amssymb,color,jcommon}\pagestyle{empty}&#10;\begin{document}\begin{eqnarray*}&#10;L_D = \sum \alpha_i - 0.5 \sum \alpha_i \alpha_j y_i y_j \inner{ \bold{x}_i, \bold{x}_j}&#10;\end{eqnarray*}\end{document} &#10;"/>
  <p:tag name="TRANSPARENT" val="Tru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MPWIDTH" val="825"/>
  <p:tag name="BMPHEIGHT" val="91"/>
  <p:tag name="SOURCE" val="\documentclass{article}\usepackage{amsmath,amssymb,color}\pagestyle{empty}&#10;\newcommand{\argmax}{\operatornamewithlimits{argmax}} &#10;\begin{document}\begin{eqnarray*}&#10;y_i ( \left&lt; \bold{x}_i, \bold{w} \right&gt; + b) -1 \geq 0&#10;\end{eqnarray*}\end{document} &#10;"/>
  <p:tag name="TRANSPARENT" val="Tru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MPWIDTH" val="2083"/>
  <p:tag name="BMPHEIGHT" val="183"/>
  <p:tag name="SOURCE" val="\documentclass{article}\usepackage{amsmath,amssymb,color,jcommon}\pagestyle{empty}&#10;\begin{document}\begin{eqnarray*}&#10;{\partial \over \partial \bold{w}}L_P = {\partial \over \partial b}L_P = 0 &#10;\Longleftrightarrow&#10;\sum \alpha_i y_i = 0 \mbox { and } \bold{w} = \sum \alpha_i y_i \bold{x}_i&#10;\end{eqnarray*}\end{document} &#10;"/>
  <p:tag name="TRANSPARENT" val="Tru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MPWIDTH" val="1575"/>
  <p:tag name="BMPHEIGHT" val="125"/>
  <p:tag name="SOURCE" val="\documentclass{article}\usepackage{amsmath,amssymb,color,jcommon}\pagestyle{empty}&#10;\begin{document}\begin{eqnarray*}&#10;L_P = {0.5} \norm{\bold{w}}^2 - \sum \alpha_i \{y_i ( \inner{\bold{x}_i, \bold{w}}+ b) -1\}&#10;\end{eqnarray*}\end{document} &#10;"/>
  <p:tag name="TRANSPARENT" val="Tru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MPWIDTH" val="75"/>
  <p:tag name="BMPHEIGHT" val="41"/>
  <p:tag name="SOURCE" val="\documentclass{article}\usepackage{amsmath,amssymb,color}\pagestyle{empty}&#10;\newcommand{\argmax}{\operatornamewithlimits{argmax}} &#10;\begin{document}\begin{eqnarray*}&#10;\bold{w}&#10;\end{eqnarray*}\end{document} &#10;"/>
  <p:tag name="TRANSPARENT" val="Tru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MPWIDTH" val="183"/>
  <p:tag name="BMPHEIGHT" val="216"/>
  <p:tag name="SOURCE" val="\documentclass{article}\usepackage{amsmath,amssymb,color,jcommon}\pagestyle{empty}&#10;\begin{document}\begin{eqnarray*}&#10;{\xi_i \over \norm{\bold{w}}^2}&#10;\end{eqnarray*}\end{document} &#10;"/>
  <p:tag name="TRANSPARENT" val="Tru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MPWIDTH" val="58"/>
  <p:tag name="BMPHEIGHT" val="66"/>
  <p:tag name="SOURCE" val="\documentclass{article}\usepackage{amsmath,amssymb,color,jcommon}\pagestyle{empty}&#10;\begin{document}\begin{eqnarray*}&#10;\Phi&#10;\end{eqnarray*}\end{document} &#10;"/>
  <p:tag name="TRANSPARENT" val="Tru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MPWIDTH" val="308"/>
  <p:tag name="BMPHEIGHT" val="91"/>
  <p:tag name="SOURCE" val="\documentclass{article}\usepackage{amsmath,amssymb,color}\pagestyle{empty}&#10;\newcommand{\argmax}{\operatornamewithlimits{argmax}} &#10;\begin{document}\begin{eqnarray*}&#10;o = f ( y)&#10;\end{eqnarray*}\end{document} &#10;"/>
  <p:tag name="TRANSPARENT" val="Tru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MPWIDTH" val="1183"/>
  <p:tag name="BMPHEIGHT" val="158"/>
  <p:tag name="SOURCE" val="\documentclass{article}\usepackage{amsmath,amssymb,color,jcommon}\pagestyle{empty}&#10;\begin{document}\begin{eqnarray*}&#10;f(\bold{x}) = \mbox{sgn}\left( \sum \alpha_i y_i k(\bold{s}_i, \bold{x}) +b \right)&#10;\end{eqnarray*}\end{document} &#10;"/>
  <p:tag name="TRANSPARENT" val="Tru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24.6|16.7|14.7|15.7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24.6|16.7|14.7|15.7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MPWIDTH" val="791"/>
  <p:tag name="BMPHEIGHT" val="258"/>
  <p:tag name="SOURCE" val="\documentclass{article}\usepackage{amsmath,amssymb,color,jcommon}\pagestyle{empty}&#10;\begin{document}\begin{eqnarray*}&#10;E = \sum_{i=1}^K \sum_{\bold{x} \in C_i} (\bold{x}-\bold{y}_i)^2&#10;\end{eqnarray*}\end{document} &#10;"/>
  <p:tag name="TRANSPARENT" val="Tru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MPWIDTH" val="983"/>
  <p:tag name="BMPHEIGHT" val="91"/>
  <p:tag name="SOURCE" val="\documentclass{article}&#10;\pagestyle{empty}&#10;\usepackage{amsmath,amssymb,color}&#10;\newcommand{\argmax}{\operatornamewithlimits{argmax}} &#10;\begin{document}&#10;\begin{eqnarray*}&#10;B = V\Lambda V^T \mbox{ and } X' = V \Lambda^{1\over2}&#10;\end{eqnarray*}&#10;\end{document} &#10;"/>
  <p:tag name="TRANSPARENT" val="Tru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MPWIDTH" val="1541"/>
  <p:tag name="BMPHEIGHT" val="675"/>
  <p:tag name="SOURCE" val="\documentclass{article}\usepackage{amsmath,amssymb,color,jcommon}\pagestyle{empty}&#10;\begin{document}&#10;\begin{eqnarray*}&#10;\mbox{STRAIN(X)}\hspace{-8pt} &amp;\triangleq&amp; \hspace{-8pt} \sum_{i,j}( \left&lt; \bold{x}_i, \bold{x}_j\right&gt; - b_{ij})^2 \\&#10;\mbox{STRESS(X)}\hspace{-8pt} &amp;\triangleq&amp; \hspace{-8pt} \sum_{i,j} w_{ij} (\norm{\bold{x}_i - \bold{x}_j}- \delta_{ij})^2 \\&#10;\mbox{SSTRESS(X)}\hspace{-8pt} &amp;\triangleq&amp; \hspace{-8pt} \sum_{i,j} w_{ij} (\norm{\bold{x}_i - \bold{x}_j}^2- {\delta_{ij}}^2)^2&#10;\end{eqnarray*}&#10;\end{document} &#10;"/>
  <p:tag name="TRANSPARENT" val="Tru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MPWIDTH" val="1383"/>
  <p:tag name="BMPHEIGHT" val="108"/>
  <p:tag name="SOURCE" val="\documentclass{article}\usepackage{amsmath,amssymb,color,jcommon}\pagestyle{empty}&#10;\begin{document}\begin{eqnarray*}&#10;B = -0.5 L\Delta L, \mbox{ where } L = I-\bold{e}\bold{e}^T/n&#10;\end{eqnarray*}\end{document} &#10;"/>
  <p:tag name="TRANSPARENT" val="Tru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MPWIDTH" val="450"/>
  <p:tag name="BMPHEIGHT" val="241"/>
  <p:tag name="SOURCE" val="\documentclass{article}\usepackage{amsmath,amssymb,color}\pagestyle{empty}&#10;\newcommand{\argmax}{\operatornamewithlimits{argmax}} &#10;\begin{document}\begin{eqnarray*}&#10;y = \sum_{i=0}^{n} w_i x_i&#10;\end{eqnarray*}\end{document} &#10;"/>
  <p:tag name="TRANSPARENT" val="Tru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MPWIDTH" val="758"/>
  <p:tag name="BMPHEIGHT" val="116"/>
  <p:tag name="SOURCE" val="\documentclass{article}\usepackage{amsmath,amssymb,color}\pagestyle{empty}&#10;\newcommand{\argmax}{\operatornamewithlimits{argmax}} &#10;\begin{document}\begin{eqnarray*}&#10;w_i^{(t+1)} \leftarrow w_i^{(t)} + \Delta w_i &#10;\end{eqnarray*}\end{document} &#10;"/>
  <p:tag name="TRANSPARENT" val="Tru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MPWIDTH" val="725"/>
  <p:tag name="BMPHEIGHT" val="91"/>
  <p:tag name="SOURCE" val="\documentclass{article}\usepackage{amsmath,amssymb,color}\pagestyle{empty}&#10;\newcommand{\argmax}{\operatornamewithlimits{argmax}} &#10;\begin{document}\begin{eqnarray*}&#10;\Delta w_i = -\eta ({\partial E / \partial w_i})&#10;\end{eqnarray*}\end{document} &#10;"/>
  <p:tag name="TRANSPARENT" val="Tru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MPWIDTH" val="150"/>
  <p:tag name="BMPHEIGHT" val="83"/>
  <p:tag name="SOURCE" val="\documentclass{article}\usepackage{amsmath,amssymb,color}\pagestyle{empty}&#10;\newcommand{\argmax}{\operatornamewithlimits{argmax}} &#10;\begin{document}\begin{eqnarray*}&#10;H_{+1}&#10;\end{eqnarray*}\end{document} &#10;"/>
  <p:tag name="TRANSPARENT" val="Tru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MPWIDTH" val="158"/>
  <p:tag name="BMPHEIGHT" val="83"/>
  <p:tag name="SOURCE" val="\documentclass{article}\usepackage{amsmath,amssymb,color}\pagestyle{empty}&#10;\newcommand{\argmax}{\operatornamewithlimits{argmax}} &#10;\begin{document}\begin{eqnarray*}&#10;H_{ -1}&#10;\end{eqnarray*}\end{document} &#10;"/>
  <p:tag name="TRANSPARENT" val="Tru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MPWIDTH" val="508"/>
  <p:tag name="BMPHEIGHT" val="91"/>
  <p:tag name="SOURCE" val="\documentclass{article}\usepackage{amsmath,amssymb,color}\pagestyle{empty}&#10;\newcommand{\argmax}{\operatornamewithlimits{argmax}} &#10;\begin{document}\begin{eqnarray*}&#10;\left&lt; \bold{w}, \bold{x} \right&gt; + b = 0&#10;\end{eqnarray*}\end{document} &#10;"/>
  <p:tag name="TRANSPARENT" val="Tru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MPWIDTH" val="75"/>
  <p:tag name="BMPHEIGHT" val="41"/>
  <p:tag name="SOURCE" val="\documentclass{article}\usepackage{amsmath,amssymb,color}\pagestyle{empty}&#10;\newcommand{\argmax}{\operatornamewithlimits{argmax}} &#10;\begin{document}\begin{eqnarray*}&#10;\bold{w}&#10;\end{eqnarray*}\end{document} &#10;"/>
  <p:tag name="TRANSPARENT" val="True"/>
</p:tagLst>
</file>

<file path=ppt/theme/_rels/theme10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6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9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1_Default Design">
  <a:themeElements>
    <a:clrScheme name="1_Default Desig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1_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1_Default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10.xml><?xml version="1.0" encoding="utf-8"?>
<a:theme xmlns:a="http://schemas.openxmlformats.org/drawingml/2006/main" name="2_Module">
  <a:themeElements>
    <a:clrScheme name="Module">
      <a:dk1>
        <a:sysClr val="windowText" lastClr="000000"/>
      </a:dk1>
      <a:lt1>
        <a:sysClr val="window" lastClr="FFFFFF"/>
      </a:lt1>
      <a:dk2>
        <a:srgbClr val="5A6378"/>
      </a:dk2>
      <a:lt2>
        <a:srgbClr val="D4D4D6"/>
      </a:lt2>
      <a:accent1>
        <a:srgbClr val="F0AD00"/>
      </a:accent1>
      <a:accent2>
        <a:srgbClr val="60B5CC"/>
      </a:accent2>
      <a:accent3>
        <a:srgbClr val="E66C7D"/>
      </a:accent3>
      <a:accent4>
        <a:srgbClr val="6BB76D"/>
      </a:accent4>
      <a:accent5>
        <a:srgbClr val="E88651"/>
      </a:accent5>
      <a:accent6>
        <a:srgbClr val="C64847"/>
      </a:accent6>
      <a:hlink>
        <a:srgbClr val="168BBA"/>
      </a:hlink>
      <a:folHlink>
        <a:srgbClr val="680000"/>
      </a:folHlink>
    </a:clrScheme>
    <a:fontScheme name="Module">
      <a:majorFont>
        <a:latin typeface="Corbel"/>
        <a:ea typeface=""/>
        <a:cs typeface=""/>
        <a:font script="Jpan" typeface="HGｺﾞｼｯｸM"/>
        <a:font script="Hang" typeface="HY엽서L"/>
        <a:font script="Hans" typeface="华文楷体"/>
        <a:font script="Hant" typeface="新細明體"/>
        <a:font script="Arab" typeface="Tahoma"/>
        <a:font script="Hebr" typeface="Miriam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Corbel"/>
        <a:ea typeface=""/>
        <a:cs typeface=""/>
        <a:font script="Jpan" typeface="HGｺﾞｼｯｸM"/>
        <a:font script="Hang" typeface="HY엽서L"/>
        <a:font script="Hans" typeface="华文楷体"/>
        <a:font script="Hant" typeface="新細明體"/>
        <a:font script="Arab" typeface="Tahoma"/>
        <a:font script="Hebr" typeface="Miriam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Modul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47500"/>
                <a:satMod val="137000"/>
              </a:schemeClr>
            </a:gs>
            <a:gs pos="55000">
              <a:schemeClr val="phClr">
                <a:shade val="69000"/>
                <a:satMod val="137000"/>
              </a:schemeClr>
            </a:gs>
            <a:gs pos="100000">
              <a:schemeClr val="phClr">
                <a:shade val="98000"/>
                <a:satMod val="137000"/>
              </a:schemeClr>
            </a:gs>
          </a:gsLst>
          <a:lin ang="16200000" scaled="0"/>
        </a:gradFill>
      </a:fillStyleLst>
      <a:lnStyleLst>
        <a:ln w="6350" cap="rnd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48000" cap="flat" cmpd="thickThin" algn="ctr">
          <a:solidFill>
            <a:schemeClr val="phClr"/>
          </a:solidFill>
          <a:prstDash val="solid"/>
        </a:ln>
        <a:ln w="48500" cap="flat" cmpd="thickThin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5000" dist="25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39000" dist="254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39000" dist="25400" dir="5400000" rotWithShape="0">
              <a:srgbClr val="000000">
                <a:alpha val="38000"/>
              </a:srgbClr>
            </a:outerShdw>
          </a:effectLst>
          <a:scene3d>
            <a:camera prst="orthographicFront" fov="0">
              <a:rot lat="0" lon="0" rev="0"/>
            </a:camera>
            <a:lightRig rig="threePt" dir="t">
              <a:rot lat="0" lon="0" rev="1800000"/>
            </a:lightRig>
          </a:scene3d>
          <a:sp3d prstMaterial="matte">
            <a:bevelT h="200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8000"/>
                <a:satMod val="300000"/>
              </a:schemeClr>
            </a:gs>
            <a:gs pos="12000">
              <a:schemeClr val="phClr">
                <a:tint val="48000"/>
                <a:satMod val="300000"/>
              </a:schemeClr>
            </a:gs>
            <a:gs pos="20000">
              <a:schemeClr val="phClr">
                <a:tint val="49000"/>
                <a:satMod val="300000"/>
              </a:schemeClr>
            </a:gs>
            <a:gs pos="100000">
              <a:schemeClr val="phClr">
                <a:shade val="30000"/>
              </a:schemeClr>
            </a:gs>
          </a:gsLst>
          <a:path path="circle">
            <a:fillToRect l="10000" t="-25000" r="10000" b="125000"/>
          </a:path>
        </a:gradFill>
        <a:blipFill>
          <a:blip xmlns:r="http://schemas.openxmlformats.org/officeDocument/2006/relationships" r:embed="rId1">
            <a:duotone>
              <a:schemeClr val="phClr">
                <a:shade val="75000"/>
                <a:satMod val="105000"/>
              </a:schemeClr>
              <a:schemeClr val="phClr">
                <a:tint val="95000"/>
                <a:satMod val="105000"/>
              </a:schemeClr>
            </a:duotone>
          </a:blip>
          <a:tile tx="0" ty="0" sx="38000" sy="38000" flip="none" algn="tl"/>
        </a:blip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a:style>
    </a:spDef>
  </a:objectDefaults>
  <a:extraClrSchemeLst/>
</a:theme>
</file>

<file path=ppt/theme/theme11.xml><?xml version="1.0" encoding="utf-8"?>
<a:theme xmlns:a="http://schemas.openxmlformats.org/drawingml/2006/main" name="Pulse">
  <a:themeElements>
    <a:clrScheme name="">
      <a:dk1>
        <a:srgbClr val="000000"/>
      </a:dk1>
      <a:lt1>
        <a:srgbClr val="99CCFF"/>
      </a:lt1>
      <a:dk2>
        <a:srgbClr val="000066"/>
      </a:dk2>
      <a:lt2>
        <a:srgbClr val="FFCC66"/>
      </a:lt2>
      <a:accent1>
        <a:srgbClr val="FF9900"/>
      </a:accent1>
      <a:accent2>
        <a:srgbClr val="000044"/>
      </a:accent2>
      <a:accent3>
        <a:srgbClr val="AAAAB8"/>
      </a:accent3>
      <a:accent4>
        <a:srgbClr val="82AEDA"/>
      </a:accent4>
      <a:accent5>
        <a:srgbClr val="FFCAAA"/>
      </a:accent5>
      <a:accent6>
        <a:srgbClr val="00003D"/>
      </a:accent6>
      <a:hlink>
        <a:srgbClr val="3366FF"/>
      </a:hlink>
      <a:folHlink>
        <a:srgbClr val="FFFF00"/>
      </a:folHlink>
    </a:clrScheme>
    <a:fontScheme name="Pulse">
      <a:majorFont>
        <a:latin typeface="Times New Roman"/>
        <a:ea typeface=""/>
        <a:cs typeface=""/>
      </a:majorFont>
      <a:minorFont>
        <a:latin typeface="Times New Roman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28575" cap="flat" cmpd="sng" algn="ctr">
          <a:solidFill>
            <a:schemeClr val="tx1"/>
          </a:solidFill>
          <a:prstDash val="solid"/>
          <a:round/>
          <a:headEnd type="none" w="med" len="med"/>
          <a:tailEnd type="triangl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imes New Roman" pitchFamily="18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28575" cap="flat" cmpd="sng" algn="ctr">
          <a:solidFill>
            <a:schemeClr val="tx1"/>
          </a:solidFill>
          <a:prstDash val="solid"/>
          <a:round/>
          <a:headEnd type="none" w="med" len="med"/>
          <a:tailEnd type="triangl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imes New Roman" pitchFamily="18" charset="0"/>
          </a:defRPr>
        </a:defPPr>
      </a:lstStyle>
    </a:lnDef>
  </a:objectDefaults>
  <a:extraClrSchemeLst>
    <a:extraClrScheme>
      <a:clrScheme name="Pulse 1">
        <a:dk1>
          <a:srgbClr val="000000"/>
        </a:dk1>
        <a:lt1>
          <a:srgbClr val="CCECFF"/>
        </a:lt1>
        <a:dk2>
          <a:srgbClr val="000066"/>
        </a:dk2>
        <a:lt2>
          <a:srgbClr val="6699FF"/>
        </a:lt2>
        <a:accent1>
          <a:srgbClr val="33CCCC"/>
        </a:accent1>
        <a:accent2>
          <a:srgbClr val="0099FF"/>
        </a:accent2>
        <a:accent3>
          <a:srgbClr val="E2F4FF"/>
        </a:accent3>
        <a:accent4>
          <a:srgbClr val="000000"/>
        </a:accent4>
        <a:accent5>
          <a:srgbClr val="ADE2E2"/>
        </a:accent5>
        <a:accent6>
          <a:srgbClr val="008AE7"/>
        </a:accent6>
        <a:hlink>
          <a:srgbClr val="FFFFFF"/>
        </a:hlink>
        <a:folHlink>
          <a:srgbClr val="3366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ulse 2">
        <a:dk1>
          <a:srgbClr val="000000"/>
        </a:dk1>
        <a:lt1>
          <a:srgbClr val="FFFFFF"/>
        </a:lt1>
        <a:dk2>
          <a:srgbClr val="000066"/>
        </a:dk2>
        <a:lt2>
          <a:srgbClr val="FFCC66"/>
        </a:lt2>
        <a:accent1>
          <a:srgbClr val="FF9900"/>
        </a:accent1>
        <a:accent2>
          <a:srgbClr val="000044"/>
        </a:accent2>
        <a:accent3>
          <a:srgbClr val="AAAAB8"/>
        </a:accent3>
        <a:accent4>
          <a:srgbClr val="DADADA"/>
        </a:accent4>
        <a:accent5>
          <a:srgbClr val="FFCAAA"/>
        </a:accent5>
        <a:accent6>
          <a:srgbClr val="00003D"/>
        </a:accent6>
        <a:hlink>
          <a:srgbClr val="3366FF"/>
        </a:hlink>
        <a:folHlink>
          <a:srgbClr val="FF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ulse 3">
        <a:dk1>
          <a:srgbClr val="000000"/>
        </a:dk1>
        <a:lt1>
          <a:srgbClr val="FFFFFF"/>
        </a:lt1>
        <a:dk2>
          <a:srgbClr val="000000"/>
        </a:dk2>
        <a:lt2>
          <a:srgbClr val="DDDDDD"/>
        </a:lt2>
        <a:accent1>
          <a:srgbClr val="CBCBCB"/>
        </a:accent1>
        <a:accent2>
          <a:srgbClr val="C0C0C0"/>
        </a:accent2>
        <a:accent3>
          <a:srgbClr val="FFFFFF"/>
        </a:accent3>
        <a:accent4>
          <a:srgbClr val="000000"/>
        </a:accent4>
        <a:accent5>
          <a:srgbClr val="E2E2E2"/>
        </a:accent5>
        <a:accent6>
          <a:srgbClr val="AEAEAE"/>
        </a:accent6>
        <a:hlink>
          <a:srgbClr val="4D4D4D"/>
        </a:hlink>
        <a:folHlink>
          <a:srgbClr val="86868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ulse 4">
        <a:dk1>
          <a:srgbClr val="000000"/>
        </a:dk1>
        <a:lt1>
          <a:srgbClr val="FFFFFF"/>
        </a:lt1>
        <a:dk2>
          <a:srgbClr val="660033"/>
        </a:dk2>
        <a:lt2>
          <a:srgbClr val="FFCC66"/>
        </a:lt2>
        <a:accent1>
          <a:srgbClr val="FF9900"/>
        </a:accent1>
        <a:accent2>
          <a:srgbClr val="440022"/>
        </a:accent2>
        <a:accent3>
          <a:srgbClr val="B8AAAD"/>
        </a:accent3>
        <a:accent4>
          <a:srgbClr val="DADADA"/>
        </a:accent4>
        <a:accent5>
          <a:srgbClr val="FFCAAA"/>
        </a:accent5>
        <a:accent6>
          <a:srgbClr val="3D001E"/>
        </a:accent6>
        <a:hlink>
          <a:srgbClr val="B20059"/>
        </a:hlink>
        <a:folHlink>
          <a:srgbClr val="FF66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ulse 5">
        <a:dk1>
          <a:srgbClr val="000000"/>
        </a:dk1>
        <a:lt1>
          <a:srgbClr val="FFFFFF"/>
        </a:lt1>
        <a:dk2>
          <a:srgbClr val="663300"/>
        </a:dk2>
        <a:lt2>
          <a:srgbClr val="FFCC66"/>
        </a:lt2>
        <a:accent1>
          <a:srgbClr val="FF9900"/>
        </a:accent1>
        <a:accent2>
          <a:srgbClr val="361B00"/>
        </a:accent2>
        <a:accent3>
          <a:srgbClr val="B8ADAA"/>
        </a:accent3>
        <a:accent4>
          <a:srgbClr val="DADADA"/>
        </a:accent4>
        <a:accent5>
          <a:srgbClr val="FFCAAA"/>
        </a:accent5>
        <a:accent6>
          <a:srgbClr val="301700"/>
        </a:accent6>
        <a:hlink>
          <a:srgbClr val="996633"/>
        </a:hlink>
        <a:folHlink>
          <a:srgbClr val="FF66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ulse 6">
        <a:dk1>
          <a:srgbClr val="000000"/>
        </a:dk1>
        <a:lt1>
          <a:srgbClr val="FFFFFF"/>
        </a:lt1>
        <a:dk2>
          <a:srgbClr val="003300"/>
        </a:dk2>
        <a:lt2>
          <a:srgbClr val="FFCC66"/>
        </a:lt2>
        <a:accent1>
          <a:srgbClr val="CC9900"/>
        </a:accent1>
        <a:accent2>
          <a:srgbClr val="001600"/>
        </a:accent2>
        <a:accent3>
          <a:srgbClr val="AAADAA"/>
        </a:accent3>
        <a:accent4>
          <a:srgbClr val="DADADA"/>
        </a:accent4>
        <a:accent5>
          <a:srgbClr val="E2CAAA"/>
        </a:accent5>
        <a:accent6>
          <a:srgbClr val="001300"/>
        </a:accent6>
        <a:hlink>
          <a:srgbClr val="006600"/>
        </a:hlink>
        <a:folHlink>
          <a:srgbClr val="009999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12.xml><?xml version="1.0" encoding="utf-8"?>
<a:theme xmlns:a="http://schemas.openxmlformats.org/drawingml/2006/main" name="KTH_PPT template 2014 general">
  <a:themeElements>
    <a:clrScheme name="Anpassat 94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1954A6"/>
      </a:accent1>
      <a:accent2>
        <a:srgbClr val="5893E5"/>
      </a:accent2>
      <a:accent3>
        <a:srgbClr val="62922E"/>
      </a:accent3>
      <a:accent4>
        <a:srgbClr val="A1D16D"/>
      </a:accent4>
      <a:accent5>
        <a:srgbClr val="9D102D"/>
      </a:accent5>
      <a:accent6>
        <a:srgbClr val="EC4769"/>
      </a:accent6>
      <a:hlink>
        <a:srgbClr val="C2C2C4"/>
      </a:hlink>
      <a:folHlink>
        <a:srgbClr val="800080"/>
      </a:folHlink>
    </a:clrScheme>
    <a:fontScheme name="Anpassat 25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>
            <a:lumMod val="85000"/>
          </a:schemeClr>
        </a:solidFill>
        <a:ln>
          <a:noFill/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13.xml><?xml version="1.0" encoding="utf-8"?>
<a:theme xmlns:a="http://schemas.openxmlformats.org/drawingml/2006/main" name="2_Edge">
  <a:themeElements>
    <a:clrScheme name="Edge 7">
      <a:dk1>
        <a:srgbClr val="000000"/>
      </a:dk1>
      <a:lt1>
        <a:srgbClr val="FFFFFF"/>
      </a:lt1>
      <a:dk2>
        <a:srgbClr val="006633"/>
      </a:dk2>
      <a:lt2>
        <a:srgbClr val="5F5F5F"/>
      </a:lt2>
      <a:accent1>
        <a:srgbClr val="CC9900"/>
      </a:accent1>
      <a:accent2>
        <a:srgbClr val="3B812F"/>
      </a:accent2>
      <a:accent3>
        <a:srgbClr val="FFFFFF"/>
      </a:accent3>
      <a:accent4>
        <a:srgbClr val="000000"/>
      </a:accent4>
      <a:accent5>
        <a:srgbClr val="E2CAAA"/>
      </a:accent5>
      <a:accent6>
        <a:srgbClr val="35742A"/>
      </a:accent6>
      <a:hlink>
        <a:srgbClr val="996600"/>
      </a:hlink>
      <a:folHlink>
        <a:srgbClr val="AFBF39"/>
      </a:folHlink>
    </a:clrScheme>
    <a:fontScheme name="Edge">
      <a:majorFont>
        <a:latin typeface="Garamond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342900" marR="0" indent="-342900" algn="l" defTabSz="914400" rtl="0" eaLnBrk="1" fontAlgn="base" latinLnBrk="0" hangingPunct="1">
          <a:lnSpc>
            <a:spcPct val="100000"/>
          </a:lnSpc>
          <a:spcBef>
            <a:spcPct val="20000"/>
          </a:spcBef>
          <a:spcAft>
            <a:spcPct val="0"/>
          </a:spcAft>
          <a:buClr>
            <a:schemeClr val="accent1"/>
          </a:buClr>
          <a:buSzPct val="65000"/>
          <a:buFont typeface="Wingdings" pitchFamily="-110" charset="2"/>
          <a:buChar char="n"/>
          <a:tabLst/>
          <a:defRPr kumimoji="0" lang="en-US" sz="3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342900" marR="0" indent="-342900" algn="l" defTabSz="914400" rtl="0" eaLnBrk="1" fontAlgn="base" latinLnBrk="0" hangingPunct="1">
          <a:lnSpc>
            <a:spcPct val="100000"/>
          </a:lnSpc>
          <a:spcBef>
            <a:spcPct val="20000"/>
          </a:spcBef>
          <a:spcAft>
            <a:spcPct val="0"/>
          </a:spcAft>
          <a:buClr>
            <a:schemeClr val="accent1"/>
          </a:buClr>
          <a:buSzPct val="65000"/>
          <a:buFont typeface="Wingdings" pitchFamily="-110" charset="2"/>
          <a:buChar char="n"/>
          <a:tabLst/>
          <a:defRPr kumimoji="0" lang="en-US" sz="3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Edge 1">
        <a:dk1>
          <a:srgbClr val="333333"/>
        </a:dk1>
        <a:lt1>
          <a:srgbClr val="FFFFFF"/>
        </a:lt1>
        <a:dk2>
          <a:srgbClr val="820000"/>
        </a:dk2>
        <a:lt2>
          <a:srgbClr val="FFFFFF"/>
        </a:lt2>
        <a:accent1>
          <a:srgbClr val="FF9900"/>
        </a:accent1>
        <a:accent2>
          <a:srgbClr val="CC3300"/>
        </a:accent2>
        <a:accent3>
          <a:srgbClr val="C1AAAA"/>
        </a:accent3>
        <a:accent4>
          <a:srgbClr val="DADADA"/>
        </a:accent4>
        <a:accent5>
          <a:srgbClr val="FFCAAA"/>
        </a:accent5>
        <a:accent6>
          <a:srgbClr val="B92D00"/>
        </a:accent6>
        <a:hlink>
          <a:srgbClr val="808080"/>
        </a:hlink>
        <a:folHlink>
          <a:srgbClr val="666633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Edge 2">
        <a:dk1>
          <a:srgbClr val="333333"/>
        </a:dk1>
        <a:lt1>
          <a:srgbClr val="CCCCFF"/>
        </a:lt1>
        <a:dk2>
          <a:srgbClr val="0B0506"/>
        </a:dk2>
        <a:lt2>
          <a:srgbClr val="FFFFFF"/>
        </a:lt2>
        <a:accent1>
          <a:srgbClr val="3366CC"/>
        </a:accent1>
        <a:accent2>
          <a:srgbClr val="3333CC"/>
        </a:accent2>
        <a:accent3>
          <a:srgbClr val="AAAAAA"/>
        </a:accent3>
        <a:accent4>
          <a:srgbClr val="AEAEDA"/>
        </a:accent4>
        <a:accent5>
          <a:srgbClr val="ADB8E2"/>
        </a:accent5>
        <a:accent6>
          <a:srgbClr val="2D2DB9"/>
        </a:accent6>
        <a:hlink>
          <a:srgbClr val="808080"/>
        </a:hlink>
        <a:folHlink>
          <a:srgbClr val="666633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Edge 3">
        <a:dk1>
          <a:srgbClr val="333333"/>
        </a:dk1>
        <a:lt1>
          <a:srgbClr val="FFFFFF"/>
        </a:lt1>
        <a:dk2>
          <a:srgbClr val="221013"/>
        </a:dk2>
        <a:lt2>
          <a:srgbClr val="FFFFFF"/>
        </a:lt2>
        <a:accent1>
          <a:srgbClr val="CC3300"/>
        </a:accent1>
        <a:accent2>
          <a:srgbClr val="CC9900"/>
        </a:accent2>
        <a:accent3>
          <a:srgbClr val="ABAAAA"/>
        </a:accent3>
        <a:accent4>
          <a:srgbClr val="DADADA"/>
        </a:accent4>
        <a:accent5>
          <a:srgbClr val="E2ADAA"/>
        </a:accent5>
        <a:accent6>
          <a:srgbClr val="B98A00"/>
        </a:accent6>
        <a:hlink>
          <a:srgbClr val="808080"/>
        </a:hlink>
        <a:folHlink>
          <a:srgbClr val="666633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Edge 4">
        <a:dk1>
          <a:srgbClr val="11054B"/>
        </a:dk1>
        <a:lt1>
          <a:srgbClr val="FFFFFF"/>
        </a:lt1>
        <a:dk2>
          <a:srgbClr val="0000CC"/>
        </a:dk2>
        <a:lt2>
          <a:srgbClr val="FFFFFF"/>
        </a:lt2>
        <a:accent1>
          <a:srgbClr val="FF6600"/>
        </a:accent1>
        <a:accent2>
          <a:srgbClr val="FF3300"/>
        </a:accent2>
        <a:accent3>
          <a:srgbClr val="AAAAE2"/>
        </a:accent3>
        <a:accent4>
          <a:srgbClr val="DADADA"/>
        </a:accent4>
        <a:accent5>
          <a:srgbClr val="FFB8AA"/>
        </a:accent5>
        <a:accent6>
          <a:srgbClr val="E72D00"/>
        </a:accent6>
        <a:hlink>
          <a:srgbClr val="CC9900"/>
        </a:hlink>
        <a:folHlink>
          <a:srgbClr val="B2B2B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Edge 5">
        <a:dk1>
          <a:srgbClr val="9B8D65"/>
        </a:dk1>
        <a:lt1>
          <a:srgbClr val="F8F8F8"/>
        </a:lt1>
        <a:dk2>
          <a:srgbClr val="002600"/>
        </a:dk2>
        <a:lt2>
          <a:srgbClr val="FAFACC"/>
        </a:lt2>
        <a:accent1>
          <a:srgbClr val="CC9933"/>
        </a:accent1>
        <a:accent2>
          <a:srgbClr val="8F9967"/>
        </a:accent2>
        <a:accent3>
          <a:srgbClr val="AAACAA"/>
        </a:accent3>
        <a:accent4>
          <a:srgbClr val="D4D4D4"/>
        </a:accent4>
        <a:accent5>
          <a:srgbClr val="E2CAAD"/>
        </a:accent5>
        <a:accent6>
          <a:srgbClr val="818A5D"/>
        </a:accent6>
        <a:hlink>
          <a:srgbClr val="336600"/>
        </a:hlink>
        <a:folHlink>
          <a:srgbClr val="8080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Edge 6">
        <a:dk1>
          <a:srgbClr val="333333"/>
        </a:dk1>
        <a:lt1>
          <a:srgbClr val="FFFFFF"/>
        </a:lt1>
        <a:dk2>
          <a:srgbClr val="006699"/>
        </a:dk2>
        <a:lt2>
          <a:srgbClr val="FFFFFF"/>
        </a:lt2>
        <a:accent1>
          <a:srgbClr val="CC9900"/>
        </a:accent1>
        <a:accent2>
          <a:srgbClr val="FF9900"/>
        </a:accent2>
        <a:accent3>
          <a:srgbClr val="AAB8CA"/>
        </a:accent3>
        <a:accent4>
          <a:srgbClr val="DADADA"/>
        </a:accent4>
        <a:accent5>
          <a:srgbClr val="E2CAAA"/>
        </a:accent5>
        <a:accent6>
          <a:srgbClr val="E78A00"/>
        </a:accent6>
        <a:hlink>
          <a:srgbClr val="FFCC00"/>
        </a:hlink>
        <a:folHlink>
          <a:srgbClr val="706F37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Edge 7">
        <a:dk1>
          <a:srgbClr val="000000"/>
        </a:dk1>
        <a:lt1>
          <a:srgbClr val="FFFFFF"/>
        </a:lt1>
        <a:dk2>
          <a:srgbClr val="006633"/>
        </a:dk2>
        <a:lt2>
          <a:srgbClr val="5F5F5F"/>
        </a:lt2>
        <a:accent1>
          <a:srgbClr val="CC9900"/>
        </a:accent1>
        <a:accent2>
          <a:srgbClr val="3B812F"/>
        </a:accent2>
        <a:accent3>
          <a:srgbClr val="FFFFFF"/>
        </a:accent3>
        <a:accent4>
          <a:srgbClr val="000000"/>
        </a:accent4>
        <a:accent5>
          <a:srgbClr val="E2CAAA"/>
        </a:accent5>
        <a:accent6>
          <a:srgbClr val="35742A"/>
        </a:accent6>
        <a:hlink>
          <a:srgbClr val="996600"/>
        </a:hlink>
        <a:folHlink>
          <a:srgbClr val="AFBF3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dge 8">
        <a:dk1>
          <a:srgbClr val="000000"/>
        </a:dk1>
        <a:lt1>
          <a:srgbClr val="FFFFFF"/>
        </a:lt1>
        <a:dk2>
          <a:srgbClr val="CC0000"/>
        </a:dk2>
        <a:lt2>
          <a:srgbClr val="666699"/>
        </a:lt2>
        <a:accent1>
          <a:srgbClr val="808080"/>
        </a:accent1>
        <a:accent2>
          <a:srgbClr val="999933"/>
        </a:accent2>
        <a:accent3>
          <a:srgbClr val="FFFFFF"/>
        </a:accent3>
        <a:accent4>
          <a:srgbClr val="000000"/>
        </a:accent4>
        <a:accent5>
          <a:srgbClr val="C0C0C0"/>
        </a:accent5>
        <a:accent6>
          <a:srgbClr val="8A8A2D"/>
        </a:accent6>
        <a:hlink>
          <a:srgbClr val="4C6D80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dge 9">
        <a:dk1>
          <a:srgbClr val="000000"/>
        </a:dk1>
        <a:lt1>
          <a:srgbClr val="FFFFFF"/>
        </a:lt1>
        <a:dk2>
          <a:srgbClr val="003399"/>
        </a:dk2>
        <a:lt2>
          <a:srgbClr val="666699"/>
        </a:lt2>
        <a:accent1>
          <a:srgbClr val="009999"/>
        </a:accent1>
        <a:accent2>
          <a:srgbClr val="4C6D4E"/>
        </a:accent2>
        <a:accent3>
          <a:srgbClr val="FFFFFF"/>
        </a:accent3>
        <a:accent4>
          <a:srgbClr val="000000"/>
        </a:accent4>
        <a:accent5>
          <a:srgbClr val="AACACA"/>
        </a:accent5>
        <a:accent6>
          <a:srgbClr val="446246"/>
        </a:accent6>
        <a:hlink>
          <a:srgbClr val="4C6D80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4.xml><?xml version="1.0" encoding="utf-8"?>
<a:theme xmlns:a="http://schemas.openxmlformats.org/drawingml/2006/main" name="3_Edge">
  <a:themeElements>
    <a:clrScheme name="Edge 7">
      <a:dk1>
        <a:srgbClr val="000000"/>
      </a:dk1>
      <a:lt1>
        <a:srgbClr val="FFFFFF"/>
      </a:lt1>
      <a:dk2>
        <a:srgbClr val="006633"/>
      </a:dk2>
      <a:lt2>
        <a:srgbClr val="5F5F5F"/>
      </a:lt2>
      <a:accent1>
        <a:srgbClr val="CC9900"/>
      </a:accent1>
      <a:accent2>
        <a:srgbClr val="3B812F"/>
      </a:accent2>
      <a:accent3>
        <a:srgbClr val="FFFFFF"/>
      </a:accent3>
      <a:accent4>
        <a:srgbClr val="000000"/>
      </a:accent4>
      <a:accent5>
        <a:srgbClr val="E2CAAA"/>
      </a:accent5>
      <a:accent6>
        <a:srgbClr val="35742A"/>
      </a:accent6>
      <a:hlink>
        <a:srgbClr val="996600"/>
      </a:hlink>
      <a:folHlink>
        <a:srgbClr val="AFBF39"/>
      </a:folHlink>
    </a:clrScheme>
    <a:fontScheme name="Edge">
      <a:majorFont>
        <a:latin typeface="Garamond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342900" marR="0" indent="-342900" algn="l" defTabSz="914400" rtl="0" eaLnBrk="1" fontAlgn="base" latinLnBrk="0" hangingPunct="1">
          <a:lnSpc>
            <a:spcPct val="100000"/>
          </a:lnSpc>
          <a:spcBef>
            <a:spcPct val="20000"/>
          </a:spcBef>
          <a:spcAft>
            <a:spcPct val="0"/>
          </a:spcAft>
          <a:buClr>
            <a:schemeClr val="accent1"/>
          </a:buClr>
          <a:buSzPct val="65000"/>
          <a:buFont typeface="Wingdings" pitchFamily="-110" charset="2"/>
          <a:buChar char="n"/>
          <a:tabLst/>
          <a:defRPr kumimoji="0" lang="en-US" sz="3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342900" marR="0" indent="-342900" algn="l" defTabSz="914400" rtl="0" eaLnBrk="1" fontAlgn="base" latinLnBrk="0" hangingPunct="1">
          <a:lnSpc>
            <a:spcPct val="100000"/>
          </a:lnSpc>
          <a:spcBef>
            <a:spcPct val="20000"/>
          </a:spcBef>
          <a:spcAft>
            <a:spcPct val="0"/>
          </a:spcAft>
          <a:buClr>
            <a:schemeClr val="accent1"/>
          </a:buClr>
          <a:buSzPct val="65000"/>
          <a:buFont typeface="Wingdings" pitchFamily="-110" charset="2"/>
          <a:buChar char="n"/>
          <a:tabLst/>
          <a:defRPr kumimoji="0" lang="en-US" sz="3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Edge 1">
        <a:dk1>
          <a:srgbClr val="333333"/>
        </a:dk1>
        <a:lt1>
          <a:srgbClr val="FFFFFF"/>
        </a:lt1>
        <a:dk2>
          <a:srgbClr val="820000"/>
        </a:dk2>
        <a:lt2>
          <a:srgbClr val="FFFFFF"/>
        </a:lt2>
        <a:accent1>
          <a:srgbClr val="FF9900"/>
        </a:accent1>
        <a:accent2>
          <a:srgbClr val="CC3300"/>
        </a:accent2>
        <a:accent3>
          <a:srgbClr val="C1AAAA"/>
        </a:accent3>
        <a:accent4>
          <a:srgbClr val="DADADA"/>
        </a:accent4>
        <a:accent5>
          <a:srgbClr val="FFCAAA"/>
        </a:accent5>
        <a:accent6>
          <a:srgbClr val="B92D00"/>
        </a:accent6>
        <a:hlink>
          <a:srgbClr val="808080"/>
        </a:hlink>
        <a:folHlink>
          <a:srgbClr val="666633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Edge 2">
        <a:dk1>
          <a:srgbClr val="333333"/>
        </a:dk1>
        <a:lt1>
          <a:srgbClr val="CCCCFF"/>
        </a:lt1>
        <a:dk2>
          <a:srgbClr val="0B0506"/>
        </a:dk2>
        <a:lt2>
          <a:srgbClr val="FFFFFF"/>
        </a:lt2>
        <a:accent1>
          <a:srgbClr val="3366CC"/>
        </a:accent1>
        <a:accent2>
          <a:srgbClr val="3333CC"/>
        </a:accent2>
        <a:accent3>
          <a:srgbClr val="AAAAAA"/>
        </a:accent3>
        <a:accent4>
          <a:srgbClr val="AEAEDA"/>
        </a:accent4>
        <a:accent5>
          <a:srgbClr val="ADB8E2"/>
        </a:accent5>
        <a:accent6>
          <a:srgbClr val="2D2DB9"/>
        </a:accent6>
        <a:hlink>
          <a:srgbClr val="808080"/>
        </a:hlink>
        <a:folHlink>
          <a:srgbClr val="666633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Edge 3">
        <a:dk1>
          <a:srgbClr val="333333"/>
        </a:dk1>
        <a:lt1>
          <a:srgbClr val="FFFFFF"/>
        </a:lt1>
        <a:dk2>
          <a:srgbClr val="221013"/>
        </a:dk2>
        <a:lt2>
          <a:srgbClr val="FFFFFF"/>
        </a:lt2>
        <a:accent1>
          <a:srgbClr val="CC3300"/>
        </a:accent1>
        <a:accent2>
          <a:srgbClr val="CC9900"/>
        </a:accent2>
        <a:accent3>
          <a:srgbClr val="ABAAAA"/>
        </a:accent3>
        <a:accent4>
          <a:srgbClr val="DADADA"/>
        </a:accent4>
        <a:accent5>
          <a:srgbClr val="E2ADAA"/>
        </a:accent5>
        <a:accent6>
          <a:srgbClr val="B98A00"/>
        </a:accent6>
        <a:hlink>
          <a:srgbClr val="808080"/>
        </a:hlink>
        <a:folHlink>
          <a:srgbClr val="666633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Edge 4">
        <a:dk1>
          <a:srgbClr val="11054B"/>
        </a:dk1>
        <a:lt1>
          <a:srgbClr val="FFFFFF"/>
        </a:lt1>
        <a:dk2>
          <a:srgbClr val="0000CC"/>
        </a:dk2>
        <a:lt2>
          <a:srgbClr val="FFFFFF"/>
        </a:lt2>
        <a:accent1>
          <a:srgbClr val="FF6600"/>
        </a:accent1>
        <a:accent2>
          <a:srgbClr val="FF3300"/>
        </a:accent2>
        <a:accent3>
          <a:srgbClr val="AAAAE2"/>
        </a:accent3>
        <a:accent4>
          <a:srgbClr val="DADADA"/>
        </a:accent4>
        <a:accent5>
          <a:srgbClr val="FFB8AA"/>
        </a:accent5>
        <a:accent6>
          <a:srgbClr val="E72D00"/>
        </a:accent6>
        <a:hlink>
          <a:srgbClr val="CC9900"/>
        </a:hlink>
        <a:folHlink>
          <a:srgbClr val="B2B2B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Edge 5">
        <a:dk1>
          <a:srgbClr val="9B8D65"/>
        </a:dk1>
        <a:lt1>
          <a:srgbClr val="F8F8F8"/>
        </a:lt1>
        <a:dk2>
          <a:srgbClr val="002600"/>
        </a:dk2>
        <a:lt2>
          <a:srgbClr val="FAFACC"/>
        </a:lt2>
        <a:accent1>
          <a:srgbClr val="CC9933"/>
        </a:accent1>
        <a:accent2>
          <a:srgbClr val="8F9967"/>
        </a:accent2>
        <a:accent3>
          <a:srgbClr val="AAACAA"/>
        </a:accent3>
        <a:accent4>
          <a:srgbClr val="D4D4D4"/>
        </a:accent4>
        <a:accent5>
          <a:srgbClr val="E2CAAD"/>
        </a:accent5>
        <a:accent6>
          <a:srgbClr val="818A5D"/>
        </a:accent6>
        <a:hlink>
          <a:srgbClr val="336600"/>
        </a:hlink>
        <a:folHlink>
          <a:srgbClr val="8080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Edge 6">
        <a:dk1>
          <a:srgbClr val="333333"/>
        </a:dk1>
        <a:lt1>
          <a:srgbClr val="FFFFFF"/>
        </a:lt1>
        <a:dk2>
          <a:srgbClr val="006699"/>
        </a:dk2>
        <a:lt2>
          <a:srgbClr val="FFFFFF"/>
        </a:lt2>
        <a:accent1>
          <a:srgbClr val="CC9900"/>
        </a:accent1>
        <a:accent2>
          <a:srgbClr val="FF9900"/>
        </a:accent2>
        <a:accent3>
          <a:srgbClr val="AAB8CA"/>
        </a:accent3>
        <a:accent4>
          <a:srgbClr val="DADADA"/>
        </a:accent4>
        <a:accent5>
          <a:srgbClr val="E2CAAA"/>
        </a:accent5>
        <a:accent6>
          <a:srgbClr val="E78A00"/>
        </a:accent6>
        <a:hlink>
          <a:srgbClr val="FFCC00"/>
        </a:hlink>
        <a:folHlink>
          <a:srgbClr val="706F37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Edge 7">
        <a:dk1>
          <a:srgbClr val="000000"/>
        </a:dk1>
        <a:lt1>
          <a:srgbClr val="FFFFFF"/>
        </a:lt1>
        <a:dk2>
          <a:srgbClr val="006633"/>
        </a:dk2>
        <a:lt2>
          <a:srgbClr val="5F5F5F"/>
        </a:lt2>
        <a:accent1>
          <a:srgbClr val="CC9900"/>
        </a:accent1>
        <a:accent2>
          <a:srgbClr val="3B812F"/>
        </a:accent2>
        <a:accent3>
          <a:srgbClr val="FFFFFF"/>
        </a:accent3>
        <a:accent4>
          <a:srgbClr val="000000"/>
        </a:accent4>
        <a:accent5>
          <a:srgbClr val="E2CAAA"/>
        </a:accent5>
        <a:accent6>
          <a:srgbClr val="35742A"/>
        </a:accent6>
        <a:hlink>
          <a:srgbClr val="996600"/>
        </a:hlink>
        <a:folHlink>
          <a:srgbClr val="AFBF3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dge 8">
        <a:dk1>
          <a:srgbClr val="000000"/>
        </a:dk1>
        <a:lt1>
          <a:srgbClr val="FFFFFF"/>
        </a:lt1>
        <a:dk2>
          <a:srgbClr val="CC0000"/>
        </a:dk2>
        <a:lt2>
          <a:srgbClr val="666699"/>
        </a:lt2>
        <a:accent1>
          <a:srgbClr val="808080"/>
        </a:accent1>
        <a:accent2>
          <a:srgbClr val="999933"/>
        </a:accent2>
        <a:accent3>
          <a:srgbClr val="FFFFFF"/>
        </a:accent3>
        <a:accent4>
          <a:srgbClr val="000000"/>
        </a:accent4>
        <a:accent5>
          <a:srgbClr val="C0C0C0"/>
        </a:accent5>
        <a:accent6>
          <a:srgbClr val="8A8A2D"/>
        </a:accent6>
        <a:hlink>
          <a:srgbClr val="4C6D80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dge 9">
        <a:dk1>
          <a:srgbClr val="000000"/>
        </a:dk1>
        <a:lt1>
          <a:srgbClr val="FFFFFF"/>
        </a:lt1>
        <a:dk2>
          <a:srgbClr val="003399"/>
        </a:dk2>
        <a:lt2>
          <a:srgbClr val="666699"/>
        </a:lt2>
        <a:accent1>
          <a:srgbClr val="009999"/>
        </a:accent1>
        <a:accent2>
          <a:srgbClr val="4C6D4E"/>
        </a:accent2>
        <a:accent3>
          <a:srgbClr val="FFFFFF"/>
        </a:accent3>
        <a:accent4>
          <a:srgbClr val="000000"/>
        </a:accent4>
        <a:accent5>
          <a:srgbClr val="AACACA"/>
        </a:accent5>
        <a:accent6>
          <a:srgbClr val="446246"/>
        </a:accent6>
        <a:hlink>
          <a:srgbClr val="4C6D80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5.xml><?xml version="1.0" encoding="utf-8"?>
<a:theme xmlns:a="http://schemas.openxmlformats.org/drawingml/2006/main" name="4_Edge">
  <a:themeElements>
    <a:clrScheme name="Edge 7">
      <a:dk1>
        <a:srgbClr val="000000"/>
      </a:dk1>
      <a:lt1>
        <a:srgbClr val="FFFFFF"/>
      </a:lt1>
      <a:dk2>
        <a:srgbClr val="006633"/>
      </a:dk2>
      <a:lt2>
        <a:srgbClr val="5F5F5F"/>
      </a:lt2>
      <a:accent1>
        <a:srgbClr val="CC9900"/>
      </a:accent1>
      <a:accent2>
        <a:srgbClr val="3B812F"/>
      </a:accent2>
      <a:accent3>
        <a:srgbClr val="FFFFFF"/>
      </a:accent3>
      <a:accent4>
        <a:srgbClr val="000000"/>
      </a:accent4>
      <a:accent5>
        <a:srgbClr val="E2CAAA"/>
      </a:accent5>
      <a:accent6>
        <a:srgbClr val="35742A"/>
      </a:accent6>
      <a:hlink>
        <a:srgbClr val="996600"/>
      </a:hlink>
      <a:folHlink>
        <a:srgbClr val="AFBF39"/>
      </a:folHlink>
    </a:clrScheme>
    <a:fontScheme name="Edge">
      <a:majorFont>
        <a:latin typeface="Garamond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342900" marR="0" indent="-342900" algn="l" defTabSz="914400" rtl="0" eaLnBrk="1" fontAlgn="base" latinLnBrk="0" hangingPunct="1">
          <a:lnSpc>
            <a:spcPct val="100000"/>
          </a:lnSpc>
          <a:spcBef>
            <a:spcPct val="20000"/>
          </a:spcBef>
          <a:spcAft>
            <a:spcPct val="0"/>
          </a:spcAft>
          <a:buClr>
            <a:schemeClr val="accent1"/>
          </a:buClr>
          <a:buSzPct val="65000"/>
          <a:buFont typeface="Wingdings" pitchFamily="-110" charset="2"/>
          <a:buChar char="n"/>
          <a:tabLst/>
          <a:defRPr kumimoji="0" lang="en-US" sz="3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342900" marR="0" indent="-342900" algn="l" defTabSz="914400" rtl="0" eaLnBrk="1" fontAlgn="base" latinLnBrk="0" hangingPunct="1">
          <a:lnSpc>
            <a:spcPct val="100000"/>
          </a:lnSpc>
          <a:spcBef>
            <a:spcPct val="20000"/>
          </a:spcBef>
          <a:spcAft>
            <a:spcPct val="0"/>
          </a:spcAft>
          <a:buClr>
            <a:schemeClr val="accent1"/>
          </a:buClr>
          <a:buSzPct val="65000"/>
          <a:buFont typeface="Wingdings" pitchFamily="-110" charset="2"/>
          <a:buChar char="n"/>
          <a:tabLst/>
          <a:defRPr kumimoji="0" lang="en-US" sz="3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Edge 1">
        <a:dk1>
          <a:srgbClr val="333333"/>
        </a:dk1>
        <a:lt1>
          <a:srgbClr val="FFFFFF"/>
        </a:lt1>
        <a:dk2>
          <a:srgbClr val="820000"/>
        </a:dk2>
        <a:lt2>
          <a:srgbClr val="FFFFFF"/>
        </a:lt2>
        <a:accent1>
          <a:srgbClr val="FF9900"/>
        </a:accent1>
        <a:accent2>
          <a:srgbClr val="CC3300"/>
        </a:accent2>
        <a:accent3>
          <a:srgbClr val="C1AAAA"/>
        </a:accent3>
        <a:accent4>
          <a:srgbClr val="DADADA"/>
        </a:accent4>
        <a:accent5>
          <a:srgbClr val="FFCAAA"/>
        </a:accent5>
        <a:accent6>
          <a:srgbClr val="B92D00"/>
        </a:accent6>
        <a:hlink>
          <a:srgbClr val="808080"/>
        </a:hlink>
        <a:folHlink>
          <a:srgbClr val="666633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Edge 2">
        <a:dk1>
          <a:srgbClr val="333333"/>
        </a:dk1>
        <a:lt1>
          <a:srgbClr val="CCCCFF"/>
        </a:lt1>
        <a:dk2>
          <a:srgbClr val="0B0506"/>
        </a:dk2>
        <a:lt2>
          <a:srgbClr val="FFFFFF"/>
        </a:lt2>
        <a:accent1>
          <a:srgbClr val="3366CC"/>
        </a:accent1>
        <a:accent2>
          <a:srgbClr val="3333CC"/>
        </a:accent2>
        <a:accent3>
          <a:srgbClr val="AAAAAA"/>
        </a:accent3>
        <a:accent4>
          <a:srgbClr val="AEAEDA"/>
        </a:accent4>
        <a:accent5>
          <a:srgbClr val="ADB8E2"/>
        </a:accent5>
        <a:accent6>
          <a:srgbClr val="2D2DB9"/>
        </a:accent6>
        <a:hlink>
          <a:srgbClr val="808080"/>
        </a:hlink>
        <a:folHlink>
          <a:srgbClr val="666633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Edge 3">
        <a:dk1>
          <a:srgbClr val="333333"/>
        </a:dk1>
        <a:lt1>
          <a:srgbClr val="FFFFFF"/>
        </a:lt1>
        <a:dk2>
          <a:srgbClr val="221013"/>
        </a:dk2>
        <a:lt2>
          <a:srgbClr val="FFFFFF"/>
        </a:lt2>
        <a:accent1>
          <a:srgbClr val="CC3300"/>
        </a:accent1>
        <a:accent2>
          <a:srgbClr val="CC9900"/>
        </a:accent2>
        <a:accent3>
          <a:srgbClr val="ABAAAA"/>
        </a:accent3>
        <a:accent4>
          <a:srgbClr val="DADADA"/>
        </a:accent4>
        <a:accent5>
          <a:srgbClr val="E2ADAA"/>
        </a:accent5>
        <a:accent6>
          <a:srgbClr val="B98A00"/>
        </a:accent6>
        <a:hlink>
          <a:srgbClr val="808080"/>
        </a:hlink>
        <a:folHlink>
          <a:srgbClr val="666633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Edge 4">
        <a:dk1>
          <a:srgbClr val="11054B"/>
        </a:dk1>
        <a:lt1>
          <a:srgbClr val="FFFFFF"/>
        </a:lt1>
        <a:dk2>
          <a:srgbClr val="0000CC"/>
        </a:dk2>
        <a:lt2>
          <a:srgbClr val="FFFFFF"/>
        </a:lt2>
        <a:accent1>
          <a:srgbClr val="FF6600"/>
        </a:accent1>
        <a:accent2>
          <a:srgbClr val="FF3300"/>
        </a:accent2>
        <a:accent3>
          <a:srgbClr val="AAAAE2"/>
        </a:accent3>
        <a:accent4>
          <a:srgbClr val="DADADA"/>
        </a:accent4>
        <a:accent5>
          <a:srgbClr val="FFB8AA"/>
        </a:accent5>
        <a:accent6>
          <a:srgbClr val="E72D00"/>
        </a:accent6>
        <a:hlink>
          <a:srgbClr val="CC9900"/>
        </a:hlink>
        <a:folHlink>
          <a:srgbClr val="B2B2B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Edge 5">
        <a:dk1>
          <a:srgbClr val="9B8D65"/>
        </a:dk1>
        <a:lt1>
          <a:srgbClr val="F8F8F8"/>
        </a:lt1>
        <a:dk2>
          <a:srgbClr val="002600"/>
        </a:dk2>
        <a:lt2>
          <a:srgbClr val="FAFACC"/>
        </a:lt2>
        <a:accent1>
          <a:srgbClr val="CC9933"/>
        </a:accent1>
        <a:accent2>
          <a:srgbClr val="8F9967"/>
        </a:accent2>
        <a:accent3>
          <a:srgbClr val="AAACAA"/>
        </a:accent3>
        <a:accent4>
          <a:srgbClr val="D4D4D4"/>
        </a:accent4>
        <a:accent5>
          <a:srgbClr val="E2CAAD"/>
        </a:accent5>
        <a:accent6>
          <a:srgbClr val="818A5D"/>
        </a:accent6>
        <a:hlink>
          <a:srgbClr val="336600"/>
        </a:hlink>
        <a:folHlink>
          <a:srgbClr val="8080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Edge 6">
        <a:dk1>
          <a:srgbClr val="333333"/>
        </a:dk1>
        <a:lt1>
          <a:srgbClr val="FFFFFF"/>
        </a:lt1>
        <a:dk2>
          <a:srgbClr val="006699"/>
        </a:dk2>
        <a:lt2>
          <a:srgbClr val="FFFFFF"/>
        </a:lt2>
        <a:accent1>
          <a:srgbClr val="CC9900"/>
        </a:accent1>
        <a:accent2>
          <a:srgbClr val="FF9900"/>
        </a:accent2>
        <a:accent3>
          <a:srgbClr val="AAB8CA"/>
        </a:accent3>
        <a:accent4>
          <a:srgbClr val="DADADA"/>
        </a:accent4>
        <a:accent5>
          <a:srgbClr val="E2CAAA"/>
        </a:accent5>
        <a:accent6>
          <a:srgbClr val="E78A00"/>
        </a:accent6>
        <a:hlink>
          <a:srgbClr val="FFCC00"/>
        </a:hlink>
        <a:folHlink>
          <a:srgbClr val="706F37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Edge 7">
        <a:dk1>
          <a:srgbClr val="000000"/>
        </a:dk1>
        <a:lt1>
          <a:srgbClr val="FFFFFF"/>
        </a:lt1>
        <a:dk2>
          <a:srgbClr val="006633"/>
        </a:dk2>
        <a:lt2>
          <a:srgbClr val="5F5F5F"/>
        </a:lt2>
        <a:accent1>
          <a:srgbClr val="CC9900"/>
        </a:accent1>
        <a:accent2>
          <a:srgbClr val="3B812F"/>
        </a:accent2>
        <a:accent3>
          <a:srgbClr val="FFFFFF"/>
        </a:accent3>
        <a:accent4>
          <a:srgbClr val="000000"/>
        </a:accent4>
        <a:accent5>
          <a:srgbClr val="E2CAAA"/>
        </a:accent5>
        <a:accent6>
          <a:srgbClr val="35742A"/>
        </a:accent6>
        <a:hlink>
          <a:srgbClr val="996600"/>
        </a:hlink>
        <a:folHlink>
          <a:srgbClr val="AFBF3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dge 8">
        <a:dk1>
          <a:srgbClr val="000000"/>
        </a:dk1>
        <a:lt1>
          <a:srgbClr val="FFFFFF"/>
        </a:lt1>
        <a:dk2>
          <a:srgbClr val="CC0000"/>
        </a:dk2>
        <a:lt2>
          <a:srgbClr val="666699"/>
        </a:lt2>
        <a:accent1>
          <a:srgbClr val="808080"/>
        </a:accent1>
        <a:accent2>
          <a:srgbClr val="999933"/>
        </a:accent2>
        <a:accent3>
          <a:srgbClr val="FFFFFF"/>
        </a:accent3>
        <a:accent4>
          <a:srgbClr val="000000"/>
        </a:accent4>
        <a:accent5>
          <a:srgbClr val="C0C0C0"/>
        </a:accent5>
        <a:accent6>
          <a:srgbClr val="8A8A2D"/>
        </a:accent6>
        <a:hlink>
          <a:srgbClr val="4C6D80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dge 9">
        <a:dk1>
          <a:srgbClr val="000000"/>
        </a:dk1>
        <a:lt1>
          <a:srgbClr val="FFFFFF"/>
        </a:lt1>
        <a:dk2>
          <a:srgbClr val="003399"/>
        </a:dk2>
        <a:lt2>
          <a:srgbClr val="666699"/>
        </a:lt2>
        <a:accent1>
          <a:srgbClr val="009999"/>
        </a:accent1>
        <a:accent2>
          <a:srgbClr val="4C6D4E"/>
        </a:accent2>
        <a:accent3>
          <a:srgbClr val="FFFFFF"/>
        </a:accent3>
        <a:accent4>
          <a:srgbClr val="000000"/>
        </a:accent4>
        <a:accent5>
          <a:srgbClr val="AACACA"/>
        </a:accent5>
        <a:accent6>
          <a:srgbClr val="446246"/>
        </a:accent6>
        <a:hlink>
          <a:srgbClr val="4C6D80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6.xml><?xml version="1.0" encoding="utf-8"?>
<a:theme xmlns:a="http://schemas.openxmlformats.org/drawingml/2006/main" name="2_Office Theme">
  <a:themeElements>
    <a:clrScheme name="Office 佈景主題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佈景主題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佈景主題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7.xml><?xml version="1.0" encoding="utf-8"?>
<a:theme xmlns:a="http://schemas.openxmlformats.org/drawingml/2006/main" name="5_Edge">
  <a:themeElements>
    <a:clrScheme name="Edge 7">
      <a:dk1>
        <a:srgbClr val="000000"/>
      </a:dk1>
      <a:lt1>
        <a:srgbClr val="FFFFFF"/>
      </a:lt1>
      <a:dk2>
        <a:srgbClr val="006633"/>
      </a:dk2>
      <a:lt2>
        <a:srgbClr val="5F5F5F"/>
      </a:lt2>
      <a:accent1>
        <a:srgbClr val="CC9900"/>
      </a:accent1>
      <a:accent2>
        <a:srgbClr val="3B812F"/>
      </a:accent2>
      <a:accent3>
        <a:srgbClr val="FFFFFF"/>
      </a:accent3>
      <a:accent4>
        <a:srgbClr val="000000"/>
      </a:accent4>
      <a:accent5>
        <a:srgbClr val="E2CAAA"/>
      </a:accent5>
      <a:accent6>
        <a:srgbClr val="35742A"/>
      </a:accent6>
      <a:hlink>
        <a:srgbClr val="996600"/>
      </a:hlink>
      <a:folHlink>
        <a:srgbClr val="AFBF39"/>
      </a:folHlink>
    </a:clrScheme>
    <a:fontScheme name="Edge">
      <a:majorFont>
        <a:latin typeface="Garamond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342900" marR="0" indent="-342900" algn="l" defTabSz="914400" rtl="0" eaLnBrk="1" fontAlgn="base" latinLnBrk="0" hangingPunct="1">
          <a:lnSpc>
            <a:spcPct val="100000"/>
          </a:lnSpc>
          <a:spcBef>
            <a:spcPct val="20000"/>
          </a:spcBef>
          <a:spcAft>
            <a:spcPct val="0"/>
          </a:spcAft>
          <a:buClr>
            <a:schemeClr val="accent1"/>
          </a:buClr>
          <a:buSzPct val="65000"/>
          <a:buFont typeface="Wingdings" pitchFamily="-110" charset="2"/>
          <a:buChar char="n"/>
          <a:tabLst/>
          <a:defRPr kumimoji="0" lang="en-US" sz="3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342900" marR="0" indent="-342900" algn="l" defTabSz="914400" rtl="0" eaLnBrk="1" fontAlgn="base" latinLnBrk="0" hangingPunct="1">
          <a:lnSpc>
            <a:spcPct val="100000"/>
          </a:lnSpc>
          <a:spcBef>
            <a:spcPct val="20000"/>
          </a:spcBef>
          <a:spcAft>
            <a:spcPct val="0"/>
          </a:spcAft>
          <a:buClr>
            <a:schemeClr val="accent1"/>
          </a:buClr>
          <a:buSzPct val="65000"/>
          <a:buFont typeface="Wingdings" pitchFamily="-110" charset="2"/>
          <a:buChar char="n"/>
          <a:tabLst/>
          <a:defRPr kumimoji="0" lang="en-US" sz="3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Edge 1">
        <a:dk1>
          <a:srgbClr val="333333"/>
        </a:dk1>
        <a:lt1>
          <a:srgbClr val="FFFFFF"/>
        </a:lt1>
        <a:dk2>
          <a:srgbClr val="820000"/>
        </a:dk2>
        <a:lt2>
          <a:srgbClr val="FFFFFF"/>
        </a:lt2>
        <a:accent1>
          <a:srgbClr val="FF9900"/>
        </a:accent1>
        <a:accent2>
          <a:srgbClr val="CC3300"/>
        </a:accent2>
        <a:accent3>
          <a:srgbClr val="C1AAAA"/>
        </a:accent3>
        <a:accent4>
          <a:srgbClr val="DADADA"/>
        </a:accent4>
        <a:accent5>
          <a:srgbClr val="FFCAAA"/>
        </a:accent5>
        <a:accent6>
          <a:srgbClr val="B92D00"/>
        </a:accent6>
        <a:hlink>
          <a:srgbClr val="808080"/>
        </a:hlink>
        <a:folHlink>
          <a:srgbClr val="666633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Edge 2">
        <a:dk1>
          <a:srgbClr val="333333"/>
        </a:dk1>
        <a:lt1>
          <a:srgbClr val="CCCCFF"/>
        </a:lt1>
        <a:dk2>
          <a:srgbClr val="0B0506"/>
        </a:dk2>
        <a:lt2>
          <a:srgbClr val="FFFFFF"/>
        </a:lt2>
        <a:accent1>
          <a:srgbClr val="3366CC"/>
        </a:accent1>
        <a:accent2>
          <a:srgbClr val="3333CC"/>
        </a:accent2>
        <a:accent3>
          <a:srgbClr val="AAAAAA"/>
        </a:accent3>
        <a:accent4>
          <a:srgbClr val="AEAEDA"/>
        </a:accent4>
        <a:accent5>
          <a:srgbClr val="ADB8E2"/>
        </a:accent5>
        <a:accent6>
          <a:srgbClr val="2D2DB9"/>
        </a:accent6>
        <a:hlink>
          <a:srgbClr val="808080"/>
        </a:hlink>
        <a:folHlink>
          <a:srgbClr val="666633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Edge 3">
        <a:dk1>
          <a:srgbClr val="333333"/>
        </a:dk1>
        <a:lt1>
          <a:srgbClr val="FFFFFF"/>
        </a:lt1>
        <a:dk2>
          <a:srgbClr val="221013"/>
        </a:dk2>
        <a:lt2>
          <a:srgbClr val="FFFFFF"/>
        </a:lt2>
        <a:accent1>
          <a:srgbClr val="CC3300"/>
        </a:accent1>
        <a:accent2>
          <a:srgbClr val="CC9900"/>
        </a:accent2>
        <a:accent3>
          <a:srgbClr val="ABAAAA"/>
        </a:accent3>
        <a:accent4>
          <a:srgbClr val="DADADA"/>
        </a:accent4>
        <a:accent5>
          <a:srgbClr val="E2ADAA"/>
        </a:accent5>
        <a:accent6>
          <a:srgbClr val="B98A00"/>
        </a:accent6>
        <a:hlink>
          <a:srgbClr val="808080"/>
        </a:hlink>
        <a:folHlink>
          <a:srgbClr val="666633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Edge 4">
        <a:dk1>
          <a:srgbClr val="11054B"/>
        </a:dk1>
        <a:lt1>
          <a:srgbClr val="FFFFFF"/>
        </a:lt1>
        <a:dk2>
          <a:srgbClr val="0000CC"/>
        </a:dk2>
        <a:lt2>
          <a:srgbClr val="FFFFFF"/>
        </a:lt2>
        <a:accent1>
          <a:srgbClr val="FF6600"/>
        </a:accent1>
        <a:accent2>
          <a:srgbClr val="FF3300"/>
        </a:accent2>
        <a:accent3>
          <a:srgbClr val="AAAAE2"/>
        </a:accent3>
        <a:accent4>
          <a:srgbClr val="DADADA"/>
        </a:accent4>
        <a:accent5>
          <a:srgbClr val="FFB8AA"/>
        </a:accent5>
        <a:accent6>
          <a:srgbClr val="E72D00"/>
        </a:accent6>
        <a:hlink>
          <a:srgbClr val="CC9900"/>
        </a:hlink>
        <a:folHlink>
          <a:srgbClr val="B2B2B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Edge 5">
        <a:dk1>
          <a:srgbClr val="9B8D65"/>
        </a:dk1>
        <a:lt1>
          <a:srgbClr val="F8F8F8"/>
        </a:lt1>
        <a:dk2>
          <a:srgbClr val="002600"/>
        </a:dk2>
        <a:lt2>
          <a:srgbClr val="FAFACC"/>
        </a:lt2>
        <a:accent1>
          <a:srgbClr val="CC9933"/>
        </a:accent1>
        <a:accent2>
          <a:srgbClr val="8F9967"/>
        </a:accent2>
        <a:accent3>
          <a:srgbClr val="AAACAA"/>
        </a:accent3>
        <a:accent4>
          <a:srgbClr val="D4D4D4"/>
        </a:accent4>
        <a:accent5>
          <a:srgbClr val="E2CAAD"/>
        </a:accent5>
        <a:accent6>
          <a:srgbClr val="818A5D"/>
        </a:accent6>
        <a:hlink>
          <a:srgbClr val="336600"/>
        </a:hlink>
        <a:folHlink>
          <a:srgbClr val="8080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Edge 6">
        <a:dk1>
          <a:srgbClr val="333333"/>
        </a:dk1>
        <a:lt1>
          <a:srgbClr val="FFFFFF"/>
        </a:lt1>
        <a:dk2>
          <a:srgbClr val="006699"/>
        </a:dk2>
        <a:lt2>
          <a:srgbClr val="FFFFFF"/>
        </a:lt2>
        <a:accent1>
          <a:srgbClr val="CC9900"/>
        </a:accent1>
        <a:accent2>
          <a:srgbClr val="FF9900"/>
        </a:accent2>
        <a:accent3>
          <a:srgbClr val="AAB8CA"/>
        </a:accent3>
        <a:accent4>
          <a:srgbClr val="DADADA"/>
        </a:accent4>
        <a:accent5>
          <a:srgbClr val="E2CAAA"/>
        </a:accent5>
        <a:accent6>
          <a:srgbClr val="E78A00"/>
        </a:accent6>
        <a:hlink>
          <a:srgbClr val="FFCC00"/>
        </a:hlink>
        <a:folHlink>
          <a:srgbClr val="706F37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Edge 7">
        <a:dk1>
          <a:srgbClr val="000000"/>
        </a:dk1>
        <a:lt1>
          <a:srgbClr val="FFFFFF"/>
        </a:lt1>
        <a:dk2>
          <a:srgbClr val="006633"/>
        </a:dk2>
        <a:lt2>
          <a:srgbClr val="5F5F5F"/>
        </a:lt2>
        <a:accent1>
          <a:srgbClr val="CC9900"/>
        </a:accent1>
        <a:accent2>
          <a:srgbClr val="3B812F"/>
        </a:accent2>
        <a:accent3>
          <a:srgbClr val="FFFFFF"/>
        </a:accent3>
        <a:accent4>
          <a:srgbClr val="000000"/>
        </a:accent4>
        <a:accent5>
          <a:srgbClr val="E2CAAA"/>
        </a:accent5>
        <a:accent6>
          <a:srgbClr val="35742A"/>
        </a:accent6>
        <a:hlink>
          <a:srgbClr val="996600"/>
        </a:hlink>
        <a:folHlink>
          <a:srgbClr val="AFBF3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dge 8">
        <a:dk1>
          <a:srgbClr val="000000"/>
        </a:dk1>
        <a:lt1>
          <a:srgbClr val="FFFFFF"/>
        </a:lt1>
        <a:dk2>
          <a:srgbClr val="CC0000"/>
        </a:dk2>
        <a:lt2>
          <a:srgbClr val="666699"/>
        </a:lt2>
        <a:accent1>
          <a:srgbClr val="808080"/>
        </a:accent1>
        <a:accent2>
          <a:srgbClr val="999933"/>
        </a:accent2>
        <a:accent3>
          <a:srgbClr val="FFFFFF"/>
        </a:accent3>
        <a:accent4>
          <a:srgbClr val="000000"/>
        </a:accent4>
        <a:accent5>
          <a:srgbClr val="C0C0C0"/>
        </a:accent5>
        <a:accent6>
          <a:srgbClr val="8A8A2D"/>
        </a:accent6>
        <a:hlink>
          <a:srgbClr val="4C6D80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dge 9">
        <a:dk1>
          <a:srgbClr val="000000"/>
        </a:dk1>
        <a:lt1>
          <a:srgbClr val="FFFFFF"/>
        </a:lt1>
        <a:dk2>
          <a:srgbClr val="003399"/>
        </a:dk2>
        <a:lt2>
          <a:srgbClr val="666699"/>
        </a:lt2>
        <a:accent1>
          <a:srgbClr val="009999"/>
        </a:accent1>
        <a:accent2>
          <a:srgbClr val="4C6D4E"/>
        </a:accent2>
        <a:accent3>
          <a:srgbClr val="FFFFFF"/>
        </a:accent3>
        <a:accent4>
          <a:srgbClr val="000000"/>
        </a:accent4>
        <a:accent5>
          <a:srgbClr val="AACACA"/>
        </a:accent5>
        <a:accent6>
          <a:srgbClr val="446246"/>
        </a:accent6>
        <a:hlink>
          <a:srgbClr val="4C6D80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8.xml><?xml version="1.0" encoding="utf-8"?>
<a:theme xmlns:a="http://schemas.openxmlformats.org/drawingml/2006/main" name="3_Office Theme">
  <a:themeElements>
    <a:clrScheme name="Office 佈景主題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佈景主題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佈景主題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9.xml><?xml version="1.0" encoding="utf-8"?>
<a:theme xmlns:a="http://schemas.openxmlformats.org/drawingml/2006/main" name="lecture1.key">
  <a:themeElements>
    <a:clrScheme name="">
      <a:dk1>
        <a:srgbClr val="000000"/>
      </a:dk1>
      <a:lt1>
        <a:srgbClr val="FFFFFF"/>
      </a:lt1>
      <a:dk2>
        <a:srgbClr val="000000"/>
      </a:dk2>
      <a:lt2>
        <a:srgbClr val="969696"/>
      </a:lt2>
      <a:accent1>
        <a:srgbClr val="0021E8"/>
      </a:accent1>
      <a:accent2>
        <a:srgbClr val="FF9966"/>
      </a:accent2>
      <a:accent3>
        <a:srgbClr val="FFFFFF"/>
      </a:accent3>
      <a:accent4>
        <a:srgbClr val="000000"/>
      </a:accent4>
      <a:accent5>
        <a:srgbClr val="AAABF2"/>
      </a:accent5>
      <a:accent6>
        <a:srgbClr val="E78A5C"/>
      </a:accent6>
      <a:hlink>
        <a:srgbClr val="CC3300"/>
      </a:hlink>
      <a:folHlink>
        <a:srgbClr val="996600"/>
      </a:folHlink>
    </a:clrScheme>
    <a:fontScheme name="lecture1.key">
      <a:majorFont>
        <a:latin typeface="Tahoma"/>
        <a:ea typeface="Osaka"/>
        <a:cs typeface=""/>
      </a:majorFont>
      <a:minorFont>
        <a:latin typeface="Tahoma"/>
        <a:ea typeface="Osaka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3366FF"/>
        </a:solidFill>
        <a:ln w="12700" cap="flat" cmpd="sng" algn="ctr">
          <a:solidFill>
            <a:srgbClr val="000000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>
            <a:tab pos="355600" algn="l"/>
            <a:tab pos="711200" algn="l"/>
            <a:tab pos="1066800" algn="l"/>
            <a:tab pos="1422400" algn="l"/>
            <a:tab pos="1778000" algn="l"/>
            <a:tab pos="2133600" algn="l"/>
            <a:tab pos="2489200" algn="l"/>
            <a:tab pos="2844800" algn="l"/>
            <a:tab pos="3200400" algn="l"/>
            <a:tab pos="3556000" algn="l"/>
            <a:tab pos="3911600" algn="l"/>
            <a:tab pos="4267200" algn="l"/>
          </a:tabLst>
          <a:defRPr kumimoji="0" lang="en-US" sz="1200" b="0" i="0" u="none" strike="noStrike" cap="none" normalizeH="0" baseline="0" smtClean="0">
            <a:ln>
              <a:noFill/>
            </a:ln>
            <a:solidFill>
              <a:srgbClr val="000000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3366FF"/>
        </a:solidFill>
        <a:ln w="12700" cap="flat" cmpd="sng" algn="ctr">
          <a:solidFill>
            <a:srgbClr val="000000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>
            <a:tab pos="355600" algn="l"/>
            <a:tab pos="711200" algn="l"/>
            <a:tab pos="1066800" algn="l"/>
            <a:tab pos="1422400" algn="l"/>
            <a:tab pos="1778000" algn="l"/>
            <a:tab pos="2133600" algn="l"/>
            <a:tab pos="2489200" algn="l"/>
            <a:tab pos="2844800" algn="l"/>
            <a:tab pos="3200400" algn="l"/>
            <a:tab pos="3556000" algn="l"/>
            <a:tab pos="3911600" algn="l"/>
            <a:tab pos="4267200" algn="l"/>
          </a:tabLst>
          <a:defRPr kumimoji="0" lang="en-US" sz="1200" b="0" i="0" u="none" strike="noStrike" cap="none" normalizeH="0" baseline="0" smtClean="0">
            <a:ln>
              <a:noFill/>
            </a:ln>
            <a:solidFill>
              <a:srgbClr val="000000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lecture1.key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ecture1.key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ecture1.key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ecture1.key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ecture1.key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ecture1.key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lecture1.key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lecture1.key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lecture1.key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lecture1.key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lecture1.key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lecture1.key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Pixel">
  <a:themeElements>
    <a:clrScheme name="Pixel 10">
      <a:dk1>
        <a:srgbClr val="000000"/>
      </a:dk1>
      <a:lt1>
        <a:srgbClr val="FFFFFF"/>
      </a:lt1>
      <a:dk2>
        <a:srgbClr val="000000"/>
      </a:dk2>
      <a:lt2>
        <a:srgbClr val="FF9900"/>
      </a:lt2>
      <a:accent1>
        <a:srgbClr val="FFCC99"/>
      </a:accent1>
      <a:accent2>
        <a:srgbClr val="FBA313"/>
      </a:accent2>
      <a:accent3>
        <a:srgbClr val="FFFFFF"/>
      </a:accent3>
      <a:accent4>
        <a:srgbClr val="000000"/>
      </a:accent4>
      <a:accent5>
        <a:srgbClr val="FFE2CA"/>
      </a:accent5>
      <a:accent6>
        <a:srgbClr val="E39310"/>
      </a:accent6>
      <a:hlink>
        <a:srgbClr val="CC3300"/>
      </a:hlink>
      <a:folHlink>
        <a:srgbClr val="FCC66E"/>
      </a:folHlink>
    </a:clrScheme>
    <a:fontScheme name="Pixel">
      <a:majorFont>
        <a:latin typeface="Lucida Bright"/>
        <a:ea typeface=""/>
        <a:cs typeface=""/>
      </a:majorFont>
      <a:minorFont>
        <a:latin typeface="Lucida Br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Pixel 1">
        <a:dk1>
          <a:srgbClr val="0066FF"/>
        </a:dk1>
        <a:lt1>
          <a:srgbClr val="FFFFFF"/>
        </a:lt1>
        <a:dk2>
          <a:srgbClr val="000066"/>
        </a:dk2>
        <a:lt2>
          <a:srgbClr val="FFFFFF"/>
        </a:lt2>
        <a:accent1>
          <a:srgbClr val="6699FF"/>
        </a:accent1>
        <a:accent2>
          <a:srgbClr val="3333FF"/>
        </a:accent2>
        <a:accent3>
          <a:srgbClr val="AAAAB8"/>
        </a:accent3>
        <a:accent4>
          <a:srgbClr val="DADADA"/>
        </a:accent4>
        <a:accent5>
          <a:srgbClr val="B8CAFF"/>
        </a:accent5>
        <a:accent6>
          <a:srgbClr val="2D2DE7"/>
        </a:accent6>
        <a:hlink>
          <a:srgbClr val="FFCC00"/>
        </a:hlink>
        <a:folHlink>
          <a:srgbClr val="0000CC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ixel 2">
        <a:dk1>
          <a:srgbClr val="009999"/>
        </a:dk1>
        <a:lt1>
          <a:srgbClr val="FFFFFF"/>
        </a:lt1>
        <a:dk2>
          <a:srgbClr val="334B49"/>
        </a:dk2>
        <a:lt2>
          <a:srgbClr val="FFFFFF"/>
        </a:lt2>
        <a:accent1>
          <a:srgbClr val="33CCCC"/>
        </a:accent1>
        <a:accent2>
          <a:srgbClr val="008080"/>
        </a:accent2>
        <a:accent3>
          <a:srgbClr val="ADB1B1"/>
        </a:accent3>
        <a:accent4>
          <a:srgbClr val="DADADA"/>
        </a:accent4>
        <a:accent5>
          <a:srgbClr val="ADE2E2"/>
        </a:accent5>
        <a:accent6>
          <a:srgbClr val="007373"/>
        </a:accent6>
        <a:hlink>
          <a:srgbClr val="FFCC00"/>
        </a:hlink>
        <a:folHlink>
          <a:srgbClr val="00666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ixel 3">
        <a:dk1>
          <a:srgbClr val="006699"/>
        </a:dk1>
        <a:lt1>
          <a:srgbClr val="FFFFFF"/>
        </a:lt1>
        <a:dk2>
          <a:srgbClr val="333399"/>
        </a:dk2>
        <a:lt2>
          <a:srgbClr val="FFFFFF"/>
        </a:lt2>
        <a:accent1>
          <a:srgbClr val="0099CC"/>
        </a:accent1>
        <a:accent2>
          <a:srgbClr val="0386AF"/>
        </a:accent2>
        <a:accent3>
          <a:srgbClr val="ADADCA"/>
        </a:accent3>
        <a:accent4>
          <a:srgbClr val="DADADA"/>
        </a:accent4>
        <a:accent5>
          <a:srgbClr val="AACAE2"/>
        </a:accent5>
        <a:accent6>
          <a:srgbClr val="02799E"/>
        </a:accent6>
        <a:hlink>
          <a:srgbClr val="FFCC00"/>
        </a:hlink>
        <a:folHlink>
          <a:srgbClr val="6699FF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ixel 4">
        <a:dk1>
          <a:srgbClr val="008080"/>
        </a:dk1>
        <a:lt1>
          <a:srgbClr val="FFFFFF"/>
        </a:lt1>
        <a:dk2>
          <a:srgbClr val="2F978D"/>
        </a:dk2>
        <a:lt2>
          <a:srgbClr val="FFFFFF"/>
        </a:lt2>
        <a:accent1>
          <a:srgbClr val="0099FF"/>
        </a:accent1>
        <a:accent2>
          <a:srgbClr val="009999"/>
        </a:accent2>
        <a:accent3>
          <a:srgbClr val="ADC9C5"/>
        </a:accent3>
        <a:accent4>
          <a:srgbClr val="DADADA"/>
        </a:accent4>
        <a:accent5>
          <a:srgbClr val="AACAFF"/>
        </a:accent5>
        <a:accent6>
          <a:srgbClr val="008A8A"/>
        </a:accent6>
        <a:hlink>
          <a:srgbClr val="FFFFCC"/>
        </a:hlink>
        <a:folHlink>
          <a:srgbClr val="70CAC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ixel 5">
        <a:dk1>
          <a:srgbClr val="822504"/>
        </a:dk1>
        <a:lt1>
          <a:srgbClr val="FFFFFF"/>
        </a:lt1>
        <a:dk2>
          <a:srgbClr val="330000"/>
        </a:dk2>
        <a:lt2>
          <a:srgbClr val="FFFFFF"/>
        </a:lt2>
        <a:accent1>
          <a:srgbClr val="FF9900"/>
        </a:accent1>
        <a:accent2>
          <a:srgbClr val="9E2A06"/>
        </a:accent2>
        <a:accent3>
          <a:srgbClr val="ADAAAA"/>
        </a:accent3>
        <a:accent4>
          <a:srgbClr val="DADADA"/>
        </a:accent4>
        <a:accent5>
          <a:srgbClr val="FFCAAA"/>
        </a:accent5>
        <a:accent6>
          <a:srgbClr val="8F2505"/>
        </a:accent6>
        <a:hlink>
          <a:srgbClr val="FF3300"/>
        </a:hlink>
        <a:folHlink>
          <a:srgbClr val="7C0704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ixel 6">
        <a:dk1>
          <a:srgbClr val="336600"/>
        </a:dk1>
        <a:lt1>
          <a:srgbClr val="FFFFFF"/>
        </a:lt1>
        <a:dk2>
          <a:srgbClr val="4A7911"/>
        </a:dk2>
        <a:lt2>
          <a:srgbClr val="FFFFFF"/>
        </a:lt2>
        <a:accent1>
          <a:srgbClr val="666633"/>
        </a:accent1>
        <a:accent2>
          <a:srgbClr val="669900"/>
        </a:accent2>
        <a:accent3>
          <a:srgbClr val="B1BEAA"/>
        </a:accent3>
        <a:accent4>
          <a:srgbClr val="DADADA"/>
        </a:accent4>
        <a:accent5>
          <a:srgbClr val="B8B8AD"/>
        </a:accent5>
        <a:accent6>
          <a:srgbClr val="5C8A00"/>
        </a:accent6>
        <a:hlink>
          <a:srgbClr val="FFCC00"/>
        </a:hlink>
        <a:folHlink>
          <a:srgbClr val="99CC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ixel 7">
        <a:dk1>
          <a:srgbClr val="000000"/>
        </a:dk1>
        <a:lt1>
          <a:srgbClr val="FFFFFF"/>
        </a:lt1>
        <a:dk2>
          <a:srgbClr val="000000"/>
        </a:dk2>
        <a:lt2>
          <a:srgbClr val="CC3300"/>
        </a:lt2>
        <a:accent1>
          <a:srgbClr val="FFCC00"/>
        </a:accent1>
        <a:accent2>
          <a:srgbClr val="CC6600"/>
        </a:accent2>
        <a:accent3>
          <a:srgbClr val="FFFFFF"/>
        </a:accent3>
        <a:accent4>
          <a:srgbClr val="000000"/>
        </a:accent4>
        <a:accent5>
          <a:srgbClr val="FFE2AA"/>
        </a:accent5>
        <a:accent6>
          <a:srgbClr val="B95C00"/>
        </a:accent6>
        <a:hlink>
          <a:srgbClr val="663300"/>
        </a:hlink>
        <a:folHlink>
          <a:srgbClr val="CC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ixel 8">
        <a:dk1>
          <a:srgbClr val="003300"/>
        </a:dk1>
        <a:lt1>
          <a:srgbClr val="FFFFFF"/>
        </a:lt1>
        <a:dk2>
          <a:srgbClr val="000000"/>
        </a:dk2>
        <a:lt2>
          <a:srgbClr val="336600"/>
        </a:lt2>
        <a:accent1>
          <a:srgbClr val="CCCC00"/>
        </a:accent1>
        <a:accent2>
          <a:srgbClr val="669900"/>
        </a:accent2>
        <a:accent3>
          <a:srgbClr val="FFFFFF"/>
        </a:accent3>
        <a:accent4>
          <a:srgbClr val="002A00"/>
        </a:accent4>
        <a:accent5>
          <a:srgbClr val="E2E2AA"/>
        </a:accent5>
        <a:accent6>
          <a:srgbClr val="5C8A00"/>
        </a:accent6>
        <a:hlink>
          <a:srgbClr val="333300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ixel 9">
        <a:dk1>
          <a:srgbClr val="000000"/>
        </a:dk1>
        <a:lt1>
          <a:srgbClr val="FFFFFF"/>
        </a:lt1>
        <a:dk2>
          <a:srgbClr val="000000"/>
        </a:dk2>
        <a:lt2>
          <a:srgbClr val="440044"/>
        </a:lt2>
        <a:accent1>
          <a:srgbClr val="FFCCCC"/>
        </a:accent1>
        <a:accent2>
          <a:srgbClr val="790571"/>
        </a:accent2>
        <a:accent3>
          <a:srgbClr val="FFFFFF"/>
        </a:accent3>
        <a:accent4>
          <a:srgbClr val="000000"/>
        </a:accent4>
        <a:accent5>
          <a:srgbClr val="FFE2E2"/>
        </a:accent5>
        <a:accent6>
          <a:srgbClr val="6D0466"/>
        </a:accent6>
        <a:hlink>
          <a:srgbClr val="993366"/>
        </a:hlink>
        <a:folHlink>
          <a:srgbClr val="9F839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ixel 10">
        <a:dk1>
          <a:srgbClr val="000000"/>
        </a:dk1>
        <a:lt1>
          <a:srgbClr val="FFFFFF"/>
        </a:lt1>
        <a:dk2>
          <a:srgbClr val="000000"/>
        </a:dk2>
        <a:lt2>
          <a:srgbClr val="FF9900"/>
        </a:lt2>
        <a:accent1>
          <a:srgbClr val="FFCC99"/>
        </a:accent1>
        <a:accent2>
          <a:srgbClr val="FBA313"/>
        </a:accent2>
        <a:accent3>
          <a:srgbClr val="FFFFFF"/>
        </a:accent3>
        <a:accent4>
          <a:srgbClr val="000000"/>
        </a:accent4>
        <a:accent5>
          <a:srgbClr val="FFE2CA"/>
        </a:accent5>
        <a:accent6>
          <a:srgbClr val="E39310"/>
        </a:accent6>
        <a:hlink>
          <a:srgbClr val="CC3300"/>
        </a:hlink>
        <a:folHlink>
          <a:srgbClr val="FCC66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ixel 11">
        <a:dk1>
          <a:srgbClr val="000000"/>
        </a:dk1>
        <a:lt1>
          <a:srgbClr val="FFFFFF"/>
        </a:lt1>
        <a:dk2>
          <a:srgbClr val="000000"/>
        </a:dk2>
        <a:lt2>
          <a:srgbClr val="779F92"/>
        </a:lt2>
        <a:accent1>
          <a:srgbClr val="33CCCC"/>
        </a:accent1>
        <a:accent2>
          <a:srgbClr val="9DC2D7"/>
        </a:accent2>
        <a:accent3>
          <a:srgbClr val="FFFFFF"/>
        </a:accent3>
        <a:accent4>
          <a:srgbClr val="000000"/>
        </a:accent4>
        <a:accent5>
          <a:srgbClr val="ADE2E2"/>
        </a:accent5>
        <a:accent6>
          <a:srgbClr val="8EB0C3"/>
        </a:accent6>
        <a:hlink>
          <a:srgbClr val="006666"/>
        </a:hlink>
        <a:folHlink>
          <a:srgbClr val="CCCC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ixel 12">
        <a:dk1>
          <a:srgbClr val="000000"/>
        </a:dk1>
        <a:lt1>
          <a:srgbClr val="FFFFFF"/>
        </a:lt1>
        <a:dk2>
          <a:srgbClr val="000000"/>
        </a:dk2>
        <a:lt2>
          <a:srgbClr val="00007D"/>
        </a:lt2>
        <a:accent1>
          <a:srgbClr val="9999FF"/>
        </a:accent1>
        <a:accent2>
          <a:srgbClr val="9999CC"/>
        </a:accent2>
        <a:accent3>
          <a:srgbClr val="FFFFFF"/>
        </a:accent3>
        <a:accent4>
          <a:srgbClr val="000000"/>
        </a:accent4>
        <a:accent5>
          <a:srgbClr val="CACAFF"/>
        </a:accent5>
        <a:accent6>
          <a:srgbClr val="8A8AB9"/>
        </a:accent6>
        <a:hlink>
          <a:srgbClr val="666699"/>
        </a:hlink>
        <a:folHlink>
          <a:srgbClr val="CCCCE6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0.xml><?xml version="1.0" encoding="utf-8"?>
<a:theme xmlns:a="http://schemas.openxmlformats.org/drawingml/2006/main" name="6_Edge">
  <a:themeElements>
    <a:clrScheme name="Edge 7">
      <a:dk1>
        <a:srgbClr val="000000"/>
      </a:dk1>
      <a:lt1>
        <a:srgbClr val="FFFFFF"/>
      </a:lt1>
      <a:dk2>
        <a:srgbClr val="006633"/>
      </a:dk2>
      <a:lt2>
        <a:srgbClr val="5F5F5F"/>
      </a:lt2>
      <a:accent1>
        <a:srgbClr val="CC9900"/>
      </a:accent1>
      <a:accent2>
        <a:srgbClr val="3B812F"/>
      </a:accent2>
      <a:accent3>
        <a:srgbClr val="FFFFFF"/>
      </a:accent3>
      <a:accent4>
        <a:srgbClr val="000000"/>
      </a:accent4>
      <a:accent5>
        <a:srgbClr val="E2CAAA"/>
      </a:accent5>
      <a:accent6>
        <a:srgbClr val="35742A"/>
      </a:accent6>
      <a:hlink>
        <a:srgbClr val="996600"/>
      </a:hlink>
      <a:folHlink>
        <a:srgbClr val="AFBF39"/>
      </a:folHlink>
    </a:clrScheme>
    <a:fontScheme name="Edge">
      <a:majorFont>
        <a:latin typeface="Garamond"/>
        <a:ea typeface="宋体"/>
        <a:cs typeface=""/>
      </a:majorFont>
      <a:minorFont>
        <a:latin typeface="Arial"/>
        <a:ea typeface="宋体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zh-CN" alt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  <a:ea typeface="宋体" pitchFamily="2" charset="-122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zh-CN" alt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  <a:ea typeface="宋体" pitchFamily="2" charset="-122"/>
          </a:defRPr>
        </a:defPPr>
      </a:lstStyle>
    </a:lnDef>
  </a:objectDefaults>
  <a:extraClrSchemeLst>
    <a:extraClrScheme>
      <a:clrScheme name="Edge 1">
        <a:dk1>
          <a:srgbClr val="333333"/>
        </a:dk1>
        <a:lt1>
          <a:srgbClr val="FFFFFF"/>
        </a:lt1>
        <a:dk2>
          <a:srgbClr val="820000"/>
        </a:dk2>
        <a:lt2>
          <a:srgbClr val="FFFFFF"/>
        </a:lt2>
        <a:accent1>
          <a:srgbClr val="FF9900"/>
        </a:accent1>
        <a:accent2>
          <a:srgbClr val="CC3300"/>
        </a:accent2>
        <a:accent3>
          <a:srgbClr val="C1AAAA"/>
        </a:accent3>
        <a:accent4>
          <a:srgbClr val="DADADA"/>
        </a:accent4>
        <a:accent5>
          <a:srgbClr val="FFCAAA"/>
        </a:accent5>
        <a:accent6>
          <a:srgbClr val="B92D00"/>
        </a:accent6>
        <a:hlink>
          <a:srgbClr val="808080"/>
        </a:hlink>
        <a:folHlink>
          <a:srgbClr val="666633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Edge 2">
        <a:dk1>
          <a:srgbClr val="333333"/>
        </a:dk1>
        <a:lt1>
          <a:srgbClr val="CCCCFF"/>
        </a:lt1>
        <a:dk2>
          <a:srgbClr val="0B0506"/>
        </a:dk2>
        <a:lt2>
          <a:srgbClr val="FFFFFF"/>
        </a:lt2>
        <a:accent1>
          <a:srgbClr val="3366CC"/>
        </a:accent1>
        <a:accent2>
          <a:srgbClr val="3333CC"/>
        </a:accent2>
        <a:accent3>
          <a:srgbClr val="AAAAAA"/>
        </a:accent3>
        <a:accent4>
          <a:srgbClr val="AEAEDA"/>
        </a:accent4>
        <a:accent5>
          <a:srgbClr val="ADB8E2"/>
        </a:accent5>
        <a:accent6>
          <a:srgbClr val="2D2DB9"/>
        </a:accent6>
        <a:hlink>
          <a:srgbClr val="808080"/>
        </a:hlink>
        <a:folHlink>
          <a:srgbClr val="666633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Edge 3">
        <a:dk1>
          <a:srgbClr val="333333"/>
        </a:dk1>
        <a:lt1>
          <a:srgbClr val="FFFFFF"/>
        </a:lt1>
        <a:dk2>
          <a:srgbClr val="221013"/>
        </a:dk2>
        <a:lt2>
          <a:srgbClr val="FFFFFF"/>
        </a:lt2>
        <a:accent1>
          <a:srgbClr val="CC3300"/>
        </a:accent1>
        <a:accent2>
          <a:srgbClr val="CC9900"/>
        </a:accent2>
        <a:accent3>
          <a:srgbClr val="ABAAAA"/>
        </a:accent3>
        <a:accent4>
          <a:srgbClr val="DADADA"/>
        </a:accent4>
        <a:accent5>
          <a:srgbClr val="E2ADAA"/>
        </a:accent5>
        <a:accent6>
          <a:srgbClr val="B98A00"/>
        </a:accent6>
        <a:hlink>
          <a:srgbClr val="808080"/>
        </a:hlink>
        <a:folHlink>
          <a:srgbClr val="666633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Edge 4">
        <a:dk1>
          <a:srgbClr val="11054B"/>
        </a:dk1>
        <a:lt1>
          <a:srgbClr val="FFFFFF"/>
        </a:lt1>
        <a:dk2>
          <a:srgbClr val="0000CC"/>
        </a:dk2>
        <a:lt2>
          <a:srgbClr val="FFFFFF"/>
        </a:lt2>
        <a:accent1>
          <a:srgbClr val="FF6600"/>
        </a:accent1>
        <a:accent2>
          <a:srgbClr val="FF3300"/>
        </a:accent2>
        <a:accent3>
          <a:srgbClr val="AAAAE2"/>
        </a:accent3>
        <a:accent4>
          <a:srgbClr val="DADADA"/>
        </a:accent4>
        <a:accent5>
          <a:srgbClr val="FFB8AA"/>
        </a:accent5>
        <a:accent6>
          <a:srgbClr val="E72D00"/>
        </a:accent6>
        <a:hlink>
          <a:srgbClr val="CC9900"/>
        </a:hlink>
        <a:folHlink>
          <a:srgbClr val="B2B2B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Edge 5">
        <a:dk1>
          <a:srgbClr val="9B8D65"/>
        </a:dk1>
        <a:lt1>
          <a:srgbClr val="F8F8F8"/>
        </a:lt1>
        <a:dk2>
          <a:srgbClr val="002600"/>
        </a:dk2>
        <a:lt2>
          <a:srgbClr val="FAFACC"/>
        </a:lt2>
        <a:accent1>
          <a:srgbClr val="CC9933"/>
        </a:accent1>
        <a:accent2>
          <a:srgbClr val="8F9967"/>
        </a:accent2>
        <a:accent3>
          <a:srgbClr val="AAACAA"/>
        </a:accent3>
        <a:accent4>
          <a:srgbClr val="D4D4D4"/>
        </a:accent4>
        <a:accent5>
          <a:srgbClr val="E2CAAD"/>
        </a:accent5>
        <a:accent6>
          <a:srgbClr val="818A5D"/>
        </a:accent6>
        <a:hlink>
          <a:srgbClr val="336600"/>
        </a:hlink>
        <a:folHlink>
          <a:srgbClr val="8080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Edge 6">
        <a:dk1>
          <a:srgbClr val="333333"/>
        </a:dk1>
        <a:lt1>
          <a:srgbClr val="FFFFFF"/>
        </a:lt1>
        <a:dk2>
          <a:srgbClr val="006699"/>
        </a:dk2>
        <a:lt2>
          <a:srgbClr val="FFFFFF"/>
        </a:lt2>
        <a:accent1>
          <a:srgbClr val="CC9900"/>
        </a:accent1>
        <a:accent2>
          <a:srgbClr val="FF9900"/>
        </a:accent2>
        <a:accent3>
          <a:srgbClr val="AAB8CA"/>
        </a:accent3>
        <a:accent4>
          <a:srgbClr val="DADADA"/>
        </a:accent4>
        <a:accent5>
          <a:srgbClr val="E2CAAA"/>
        </a:accent5>
        <a:accent6>
          <a:srgbClr val="E78A00"/>
        </a:accent6>
        <a:hlink>
          <a:srgbClr val="FFCC00"/>
        </a:hlink>
        <a:folHlink>
          <a:srgbClr val="706F37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Edge 7">
        <a:dk1>
          <a:srgbClr val="000000"/>
        </a:dk1>
        <a:lt1>
          <a:srgbClr val="FFFFFF"/>
        </a:lt1>
        <a:dk2>
          <a:srgbClr val="006633"/>
        </a:dk2>
        <a:lt2>
          <a:srgbClr val="5F5F5F"/>
        </a:lt2>
        <a:accent1>
          <a:srgbClr val="CC9900"/>
        </a:accent1>
        <a:accent2>
          <a:srgbClr val="3B812F"/>
        </a:accent2>
        <a:accent3>
          <a:srgbClr val="FFFFFF"/>
        </a:accent3>
        <a:accent4>
          <a:srgbClr val="000000"/>
        </a:accent4>
        <a:accent5>
          <a:srgbClr val="E2CAAA"/>
        </a:accent5>
        <a:accent6>
          <a:srgbClr val="35742A"/>
        </a:accent6>
        <a:hlink>
          <a:srgbClr val="996600"/>
        </a:hlink>
        <a:folHlink>
          <a:srgbClr val="AFBF3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dge 8">
        <a:dk1>
          <a:srgbClr val="000000"/>
        </a:dk1>
        <a:lt1>
          <a:srgbClr val="FFFFFF"/>
        </a:lt1>
        <a:dk2>
          <a:srgbClr val="CC0000"/>
        </a:dk2>
        <a:lt2>
          <a:srgbClr val="666699"/>
        </a:lt2>
        <a:accent1>
          <a:srgbClr val="808080"/>
        </a:accent1>
        <a:accent2>
          <a:srgbClr val="999933"/>
        </a:accent2>
        <a:accent3>
          <a:srgbClr val="FFFFFF"/>
        </a:accent3>
        <a:accent4>
          <a:srgbClr val="000000"/>
        </a:accent4>
        <a:accent5>
          <a:srgbClr val="C0C0C0"/>
        </a:accent5>
        <a:accent6>
          <a:srgbClr val="8A8A2D"/>
        </a:accent6>
        <a:hlink>
          <a:srgbClr val="4C6D80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dge 9">
        <a:dk1>
          <a:srgbClr val="000000"/>
        </a:dk1>
        <a:lt1>
          <a:srgbClr val="FFFFFF"/>
        </a:lt1>
        <a:dk2>
          <a:srgbClr val="003399"/>
        </a:dk2>
        <a:lt2>
          <a:srgbClr val="666699"/>
        </a:lt2>
        <a:accent1>
          <a:srgbClr val="009999"/>
        </a:accent1>
        <a:accent2>
          <a:srgbClr val="4C6D4E"/>
        </a:accent2>
        <a:accent3>
          <a:srgbClr val="FFFFFF"/>
        </a:accent3>
        <a:accent4>
          <a:srgbClr val="000000"/>
        </a:accent4>
        <a:accent5>
          <a:srgbClr val="AACACA"/>
        </a:accent5>
        <a:accent6>
          <a:srgbClr val="446246"/>
        </a:accent6>
        <a:hlink>
          <a:srgbClr val="4C6D80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All Times">
      <a:majorFont>
        <a:latin typeface="Times New Roman"/>
        <a:ea typeface=""/>
        <a:cs typeface=""/>
      </a:majorFont>
      <a:minorFont>
        <a:latin typeface="Times New Roman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2.xml><?xml version="1.0" encoding="utf-8"?>
<a:theme xmlns:a="http://schemas.openxmlformats.org/drawingml/2006/main" name="4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All Times">
      <a:majorFont>
        <a:latin typeface="Times New Roman"/>
        <a:ea typeface=""/>
        <a:cs typeface=""/>
      </a:majorFont>
      <a:minorFont>
        <a:latin typeface="Times New Roman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3.xml><?xml version="1.0" encoding="utf-8"?>
<a:theme xmlns:a="http://schemas.openxmlformats.org/drawingml/2006/main" name="2_Default Design">
  <a:themeElements>
    <a:clrScheme name="Default Desig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>
    <a:extraClrScheme>
      <a:clrScheme name="Default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4.xml><?xml version="1.0" encoding="utf-8"?>
<a:theme xmlns:a="http://schemas.openxmlformats.org/drawingml/2006/main" name="7_Edge">
  <a:themeElements>
    <a:clrScheme name="Edge 7">
      <a:dk1>
        <a:srgbClr val="000000"/>
      </a:dk1>
      <a:lt1>
        <a:srgbClr val="FFFFFF"/>
      </a:lt1>
      <a:dk2>
        <a:srgbClr val="006633"/>
      </a:dk2>
      <a:lt2>
        <a:srgbClr val="5F5F5F"/>
      </a:lt2>
      <a:accent1>
        <a:srgbClr val="CC9900"/>
      </a:accent1>
      <a:accent2>
        <a:srgbClr val="3B812F"/>
      </a:accent2>
      <a:accent3>
        <a:srgbClr val="FFFFFF"/>
      </a:accent3>
      <a:accent4>
        <a:srgbClr val="000000"/>
      </a:accent4>
      <a:accent5>
        <a:srgbClr val="E2CAAA"/>
      </a:accent5>
      <a:accent6>
        <a:srgbClr val="35742A"/>
      </a:accent6>
      <a:hlink>
        <a:srgbClr val="996600"/>
      </a:hlink>
      <a:folHlink>
        <a:srgbClr val="AFBF39"/>
      </a:folHlink>
    </a:clrScheme>
    <a:fontScheme name="Edge">
      <a:majorFont>
        <a:latin typeface="Garamond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342900" marR="0" indent="-342900" algn="l" defTabSz="914400" rtl="0" eaLnBrk="1" fontAlgn="base" latinLnBrk="0" hangingPunct="1">
          <a:lnSpc>
            <a:spcPct val="100000"/>
          </a:lnSpc>
          <a:spcBef>
            <a:spcPct val="20000"/>
          </a:spcBef>
          <a:spcAft>
            <a:spcPct val="0"/>
          </a:spcAft>
          <a:buClr>
            <a:schemeClr val="accent1"/>
          </a:buClr>
          <a:buSzPct val="65000"/>
          <a:buFont typeface="Wingdings" pitchFamily="-110" charset="2"/>
          <a:buChar char="n"/>
          <a:tabLst/>
          <a:defRPr kumimoji="0" lang="en-US" sz="3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342900" marR="0" indent="-342900" algn="l" defTabSz="914400" rtl="0" eaLnBrk="1" fontAlgn="base" latinLnBrk="0" hangingPunct="1">
          <a:lnSpc>
            <a:spcPct val="100000"/>
          </a:lnSpc>
          <a:spcBef>
            <a:spcPct val="20000"/>
          </a:spcBef>
          <a:spcAft>
            <a:spcPct val="0"/>
          </a:spcAft>
          <a:buClr>
            <a:schemeClr val="accent1"/>
          </a:buClr>
          <a:buSzPct val="65000"/>
          <a:buFont typeface="Wingdings" pitchFamily="-110" charset="2"/>
          <a:buChar char="n"/>
          <a:tabLst/>
          <a:defRPr kumimoji="0" lang="en-US" sz="3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Edge 1">
        <a:dk1>
          <a:srgbClr val="333333"/>
        </a:dk1>
        <a:lt1>
          <a:srgbClr val="FFFFFF"/>
        </a:lt1>
        <a:dk2>
          <a:srgbClr val="820000"/>
        </a:dk2>
        <a:lt2>
          <a:srgbClr val="FFFFFF"/>
        </a:lt2>
        <a:accent1>
          <a:srgbClr val="FF9900"/>
        </a:accent1>
        <a:accent2>
          <a:srgbClr val="CC3300"/>
        </a:accent2>
        <a:accent3>
          <a:srgbClr val="C1AAAA"/>
        </a:accent3>
        <a:accent4>
          <a:srgbClr val="DADADA"/>
        </a:accent4>
        <a:accent5>
          <a:srgbClr val="FFCAAA"/>
        </a:accent5>
        <a:accent6>
          <a:srgbClr val="B92D00"/>
        </a:accent6>
        <a:hlink>
          <a:srgbClr val="808080"/>
        </a:hlink>
        <a:folHlink>
          <a:srgbClr val="666633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Edge 2">
        <a:dk1>
          <a:srgbClr val="333333"/>
        </a:dk1>
        <a:lt1>
          <a:srgbClr val="CCCCFF"/>
        </a:lt1>
        <a:dk2>
          <a:srgbClr val="0B0506"/>
        </a:dk2>
        <a:lt2>
          <a:srgbClr val="FFFFFF"/>
        </a:lt2>
        <a:accent1>
          <a:srgbClr val="3366CC"/>
        </a:accent1>
        <a:accent2>
          <a:srgbClr val="3333CC"/>
        </a:accent2>
        <a:accent3>
          <a:srgbClr val="AAAAAA"/>
        </a:accent3>
        <a:accent4>
          <a:srgbClr val="AEAEDA"/>
        </a:accent4>
        <a:accent5>
          <a:srgbClr val="ADB8E2"/>
        </a:accent5>
        <a:accent6>
          <a:srgbClr val="2D2DB9"/>
        </a:accent6>
        <a:hlink>
          <a:srgbClr val="808080"/>
        </a:hlink>
        <a:folHlink>
          <a:srgbClr val="666633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Edge 3">
        <a:dk1>
          <a:srgbClr val="333333"/>
        </a:dk1>
        <a:lt1>
          <a:srgbClr val="FFFFFF"/>
        </a:lt1>
        <a:dk2>
          <a:srgbClr val="221013"/>
        </a:dk2>
        <a:lt2>
          <a:srgbClr val="FFFFFF"/>
        </a:lt2>
        <a:accent1>
          <a:srgbClr val="CC3300"/>
        </a:accent1>
        <a:accent2>
          <a:srgbClr val="CC9900"/>
        </a:accent2>
        <a:accent3>
          <a:srgbClr val="ABAAAA"/>
        </a:accent3>
        <a:accent4>
          <a:srgbClr val="DADADA"/>
        </a:accent4>
        <a:accent5>
          <a:srgbClr val="E2ADAA"/>
        </a:accent5>
        <a:accent6>
          <a:srgbClr val="B98A00"/>
        </a:accent6>
        <a:hlink>
          <a:srgbClr val="808080"/>
        </a:hlink>
        <a:folHlink>
          <a:srgbClr val="666633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Edge 4">
        <a:dk1>
          <a:srgbClr val="11054B"/>
        </a:dk1>
        <a:lt1>
          <a:srgbClr val="FFFFFF"/>
        </a:lt1>
        <a:dk2>
          <a:srgbClr val="0000CC"/>
        </a:dk2>
        <a:lt2>
          <a:srgbClr val="FFFFFF"/>
        </a:lt2>
        <a:accent1>
          <a:srgbClr val="FF6600"/>
        </a:accent1>
        <a:accent2>
          <a:srgbClr val="FF3300"/>
        </a:accent2>
        <a:accent3>
          <a:srgbClr val="AAAAE2"/>
        </a:accent3>
        <a:accent4>
          <a:srgbClr val="DADADA"/>
        </a:accent4>
        <a:accent5>
          <a:srgbClr val="FFB8AA"/>
        </a:accent5>
        <a:accent6>
          <a:srgbClr val="E72D00"/>
        </a:accent6>
        <a:hlink>
          <a:srgbClr val="CC9900"/>
        </a:hlink>
        <a:folHlink>
          <a:srgbClr val="B2B2B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Edge 5">
        <a:dk1>
          <a:srgbClr val="9B8D65"/>
        </a:dk1>
        <a:lt1>
          <a:srgbClr val="F8F8F8"/>
        </a:lt1>
        <a:dk2>
          <a:srgbClr val="002600"/>
        </a:dk2>
        <a:lt2>
          <a:srgbClr val="FAFACC"/>
        </a:lt2>
        <a:accent1>
          <a:srgbClr val="CC9933"/>
        </a:accent1>
        <a:accent2>
          <a:srgbClr val="8F9967"/>
        </a:accent2>
        <a:accent3>
          <a:srgbClr val="AAACAA"/>
        </a:accent3>
        <a:accent4>
          <a:srgbClr val="D4D4D4"/>
        </a:accent4>
        <a:accent5>
          <a:srgbClr val="E2CAAD"/>
        </a:accent5>
        <a:accent6>
          <a:srgbClr val="818A5D"/>
        </a:accent6>
        <a:hlink>
          <a:srgbClr val="336600"/>
        </a:hlink>
        <a:folHlink>
          <a:srgbClr val="8080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Edge 6">
        <a:dk1>
          <a:srgbClr val="333333"/>
        </a:dk1>
        <a:lt1>
          <a:srgbClr val="FFFFFF"/>
        </a:lt1>
        <a:dk2>
          <a:srgbClr val="006699"/>
        </a:dk2>
        <a:lt2>
          <a:srgbClr val="FFFFFF"/>
        </a:lt2>
        <a:accent1>
          <a:srgbClr val="CC9900"/>
        </a:accent1>
        <a:accent2>
          <a:srgbClr val="FF9900"/>
        </a:accent2>
        <a:accent3>
          <a:srgbClr val="AAB8CA"/>
        </a:accent3>
        <a:accent4>
          <a:srgbClr val="DADADA"/>
        </a:accent4>
        <a:accent5>
          <a:srgbClr val="E2CAAA"/>
        </a:accent5>
        <a:accent6>
          <a:srgbClr val="E78A00"/>
        </a:accent6>
        <a:hlink>
          <a:srgbClr val="FFCC00"/>
        </a:hlink>
        <a:folHlink>
          <a:srgbClr val="706F37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Edge 7">
        <a:dk1>
          <a:srgbClr val="000000"/>
        </a:dk1>
        <a:lt1>
          <a:srgbClr val="FFFFFF"/>
        </a:lt1>
        <a:dk2>
          <a:srgbClr val="006633"/>
        </a:dk2>
        <a:lt2>
          <a:srgbClr val="5F5F5F"/>
        </a:lt2>
        <a:accent1>
          <a:srgbClr val="CC9900"/>
        </a:accent1>
        <a:accent2>
          <a:srgbClr val="3B812F"/>
        </a:accent2>
        <a:accent3>
          <a:srgbClr val="FFFFFF"/>
        </a:accent3>
        <a:accent4>
          <a:srgbClr val="000000"/>
        </a:accent4>
        <a:accent5>
          <a:srgbClr val="E2CAAA"/>
        </a:accent5>
        <a:accent6>
          <a:srgbClr val="35742A"/>
        </a:accent6>
        <a:hlink>
          <a:srgbClr val="996600"/>
        </a:hlink>
        <a:folHlink>
          <a:srgbClr val="AFBF3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dge 8">
        <a:dk1>
          <a:srgbClr val="000000"/>
        </a:dk1>
        <a:lt1>
          <a:srgbClr val="FFFFFF"/>
        </a:lt1>
        <a:dk2>
          <a:srgbClr val="CC0000"/>
        </a:dk2>
        <a:lt2>
          <a:srgbClr val="666699"/>
        </a:lt2>
        <a:accent1>
          <a:srgbClr val="808080"/>
        </a:accent1>
        <a:accent2>
          <a:srgbClr val="999933"/>
        </a:accent2>
        <a:accent3>
          <a:srgbClr val="FFFFFF"/>
        </a:accent3>
        <a:accent4>
          <a:srgbClr val="000000"/>
        </a:accent4>
        <a:accent5>
          <a:srgbClr val="C0C0C0"/>
        </a:accent5>
        <a:accent6>
          <a:srgbClr val="8A8A2D"/>
        </a:accent6>
        <a:hlink>
          <a:srgbClr val="4C6D80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dge 9">
        <a:dk1>
          <a:srgbClr val="000000"/>
        </a:dk1>
        <a:lt1>
          <a:srgbClr val="FFFFFF"/>
        </a:lt1>
        <a:dk2>
          <a:srgbClr val="003399"/>
        </a:dk2>
        <a:lt2>
          <a:srgbClr val="666699"/>
        </a:lt2>
        <a:accent1>
          <a:srgbClr val="009999"/>
        </a:accent1>
        <a:accent2>
          <a:srgbClr val="4C6D4E"/>
        </a:accent2>
        <a:accent3>
          <a:srgbClr val="FFFFFF"/>
        </a:accent3>
        <a:accent4>
          <a:srgbClr val="000000"/>
        </a:accent4>
        <a:accent5>
          <a:srgbClr val="AACACA"/>
        </a:accent5>
        <a:accent6>
          <a:srgbClr val="446246"/>
        </a:accent6>
        <a:hlink>
          <a:srgbClr val="4C6D80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5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6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Edge">
  <a:themeElements>
    <a:clrScheme name="Edge 7">
      <a:dk1>
        <a:srgbClr val="000000"/>
      </a:dk1>
      <a:lt1>
        <a:srgbClr val="FFFFFF"/>
      </a:lt1>
      <a:dk2>
        <a:srgbClr val="006633"/>
      </a:dk2>
      <a:lt2>
        <a:srgbClr val="5F5F5F"/>
      </a:lt2>
      <a:accent1>
        <a:srgbClr val="CC9900"/>
      </a:accent1>
      <a:accent2>
        <a:srgbClr val="3B812F"/>
      </a:accent2>
      <a:accent3>
        <a:srgbClr val="FFFFFF"/>
      </a:accent3>
      <a:accent4>
        <a:srgbClr val="000000"/>
      </a:accent4>
      <a:accent5>
        <a:srgbClr val="E2CAAA"/>
      </a:accent5>
      <a:accent6>
        <a:srgbClr val="35742A"/>
      </a:accent6>
      <a:hlink>
        <a:srgbClr val="996600"/>
      </a:hlink>
      <a:folHlink>
        <a:srgbClr val="AFBF39"/>
      </a:folHlink>
    </a:clrScheme>
    <a:fontScheme name="Edge">
      <a:majorFont>
        <a:latin typeface="Garamond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342900" marR="0" indent="-342900" algn="l" defTabSz="914400" rtl="0" eaLnBrk="1" fontAlgn="base" latinLnBrk="0" hangingPunct="1">
          <a:lnSpc>
            <a:spcPct val="100000"/>
          </a:lnSpc>
          <a:spcBef>
            <a:spcPct val="20000"/>
          </a:spcBef>
          <a:spcAft>
            <a:spcPct val="0"/>
          </a:spcAft>
          <a:buClr>
            <a:schemeClr val="accent1"/>
          </a:buClr>
          <a:buSzPct val="65000"/>
          <a:buFont typeface="Wingdings" pitchFamily="-110" charset="2"/>
          <a:buChar char="n"/>
          <a:tabLst/>
          <a:defRPr kumimoji="0" lang="en-US" sz="3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342900" marR="0" indent="-342900" algn="l" defTabSz="914400" rtl="0" eaLnBrk="1" fontAlgn="base" latinLnBrk="0" hangingPunct="1">
          <a:lnSpc>
            <a:spcPct val="100000"/>
          </a:lnSpc>
          <a:spcBef>
            <a:spcPct val="20000"/>
          </a:spcBef>
          <a:spcAft>
            <a:spcPct val="0"/>
          </a:spcAft>
          <a:buClr>
            <a:schemeClr val="accent1"/>
          </a:buClr>
          <a:buSzPct val="65000"/>
          <a:buFont typeface="Wingdings" pitchFamily="-110" charset="2"/>
          <a:buChar char="n"/>
          <a:tabLst/>
          <a:defRPr kumimoji="0" lang="en-US" sz="3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Edge 1">
        <a:dk1>
          <a:srgbClr val="333333"/>
        </a:dk1>
        <a:lt1>
          <a:srgbClr val="FFFFFF"/>
        </a:lt1>
        <a:dk2>
          <a:srgbClr val="820000"/>
        </a:dk2>
        <a:lt2>
          <a:srgbClr val="FFFFFF"/>
        </a:lt2>
        <a:accent1>
          <a:srgbClr val="FF9900"/>
        </a:accent1>
        <a:accent2>
          <a:srgbClr val="CC3300"/>
        </a:accent2>
        <a:accent3>
          <a:srgbClr val="C1AAAA"/>
        </a:accent3>
        <a:accent4>
          <a:srgbClr val="DADADA"/>
        </a:accent4>
        <a:accent5>
          <a:srgbClr val="FFCAAA"/>
        </a:accent5>
        <a:accent6>
          <a:srgbClr val="B92D00"/>
        </a:accent6>
        <a:hlink>
          <a:srgbClr val="808080"/>
        </a:hlink>
        <a:folHlink>
          <a:srgbClr val="666633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Edge 2">
        <a:dk1>
          <a:srgbClr val="333333"/>
        </a:dk1>
        <a:lt1>
          <a:srgbClr val="CCCCFF"/>
        </a:lt1>
        <a:dk2>
          <a:srgbClr val="0B0506"/>
        </a:dk2>
        <a:lt2>
          <a:srgbClr val="FFFFFF"/>
        </a:lt2>
        <a:accent1>
          <a:srgbClr val="3366CC"/>
        </a:accent1>
        <a:accent2>
          <a:srgbClr val="3333CC"/>
        </a:accent2>
        <a:accent3>
          <a:srgbClr val="AAAAAA"/>
        </a:accent3>
        <a:accent4>
          <a:srgbClr val="AEAEDA"/>
        </a:accent4>
        <a:accent5>
          <a:srgbClr val="ADB8E2"/>
        </a:accent5>
        <a:accent6>
          <a:srgbClr val="2D2DB9"/>
        </a:accent6>
        <a:hlink>
          <a:srgbClr val="808080"/>
        </a:hlink>
        <a:folHlink>
          <a:srgbClr val="666633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Edge 3">
        <a:dk1>
          <a:srgbClr val="333333"/>
        </a:dk1>
        <a:lt1>
          <a:srgbClr val="FFFFFF"/>
        </a:lt1>
        <a:dk2>
          <a:srgbClr val="221013"/>
        </a:dk2>
        <a:lt2>
          <a:srgbClr val="FFFFFF"/>
        </a:lt2>
        <a:accent1>
          <a:srgbClr val="CC3300"/>
        </a:accent1>
        <a:accent2>
          <a:srgbClr val="CC9900"/>
        </a:accent2>
        <a:accent3>
          <a:srgbClr val="ABAAAA"/>
        </a:accent3>
        <a:accent4>
          <a:srgbClr val="DADADA"/>
        </a:accent4>
        <a:accent5>
          <a:srgbClr val="E2ADAA"/>
        </a:accent5>
        <a:accent6>
          <a:srgbClr val="B98A00"/>
        </a:accent6>
        <a:hlink>
          <a:srgbClr val="808080"/>
        </a:hlink>
        <a:folHlink>
          <a:srgbClr val="666633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Edge 4">
        <a:dk1>
          <a:srgbClr val="11054B"/>
        </a:dk1>
        <a:lt1>
          <a:srgbClr val="FFFFFF"/>
        </a:lt1>
        <a:dk2>
          <a:srgbClr val="0000CC"/>
        </a:dk2>
        <a:lt2>
          <a:srgbClr val="FFFFFF"/>
        </a:lt2>
        <a:accent1>
          <a:srgbClr val="FF6600"/>
        </a:accent1>
        <a:accent2>
          <a:srgbClr val="FF3300"/>
        </a:accent2>
        <a:accent3>
          <a:srgbClr val="AAAAE2"/>
        </a:accent3>
        <a:accent4>
          <a:srgbClr val="DADADA"/>
        </a:accent4>
        <a:accent5>
          <a:srgbClr val="FFB8AA"/>
        </a:accent5>
        <a:accent6>
          <a:srgbClr val="E72D00"/>
        </a:accent6>
        <a:hlink>
          <a:srgbClr val="CC9900"/>
        </a:hlink>
        <a:folHlink>
          <a:srgbClr val="B2B2B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Edge 5">
        <a:dk1>
          <a:srgbClr val="9B8D65"/>
        </a:dk1>
        <a:lt1>
          <a:srgbClr val="F8F8F8"/>
        </a:lt1>
        <a:dk2>
          <a:srgbClr val="002600"/>
        </a:dk2>
        <a:lt2>
          <a:srgbClr val="FAFACC"/>
        </a:lt2>
        <a:accent1>
          <a:srgbClr val="CC9933"/>
        </a:accent1>
        <a:accent2>
          <a:srgbClr val="8F9967"/>
        </a:accent2>
        <a:accent3>
          <a:srgbClr val="AAACAA"/>
        </a:accent3>
        <a:accent4>
          <a:srgbClr val="D4D4D4"/>
        </a:accent4>
        <a:accent5>
          <a:srgbClr val="E2CAAD"/>
        </a:accent5>
        <a:accent6>
          <a:srgbClr val="818A5D"/>
        </a:accent6>
        <a:hlink>
          <a:srgbClr val="336600"/>
        </a:hlink>
        <a:folHlink>
          <a:srgbClr val="8080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Edge 6">
        <a:dk1>
          <a:srgbClr val="333333"/>
        </a:dk1>
        <a:lt1>
          <a:srgbClr val="FFFFFF"/>
        </a:lt1>
        <a:dk2>
          <a:srgbClr val="006699"/>
        </a:dk2>
        <a:lt2>
          <a:srgbClr val="FFFFFF"/>
        </a:lt2>
        <a:accent1>
          <a:srgbClr val="CC9900"/>
        </a:accent1>
        <a:accent2>
          <a:srgbClr val="FF9900"/>
        </a:accent2>
        <a:accent3>
          <a:srgbClr val="AAB8CA"/>
        </a:accent3>
        <a:accent4>
          <a:srgbClr val="DADADA"/>
        </a:accent4>
        <a:accent5>
          <a:srgbClr val="E2CAAA"/>
        </a:accent5>
        <a:accent6>
          <a:srgbClr val="E78A00"/>
        </a:accent6>
        <a:hlink>
          <a:srgbClr val="FFCC00"/>
        </a:hlink>
        <a:folHlink>
          <a:srgbClr val="706F37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Edge 7">
        <a:dk1>
          <a:srgbClr val="000000"/>
        </a:dk1>
        <a:lt1>
          <a:srgbClr val="FFFFFF"/>
        </a:lt1>
        <a:dk2>
          <a:srgbClr val="006633"/>
        </a:dk2>
        <a:lt2>
          <a:srgbClr val="5F5F5F"/>
        </a:lt2>
        <a:accent1>
          <a:srgbClr val="CC9900"/>
        </a:accent1>
        <a:accent2>
          <a:srgbClr val="3B812F"/>
        </a:accent2>
        <a:accent3>
          <a:srgbClr val="FFFFFF"/>
        </a:accent3>
        <a:accent4>
          <a:srgbClr val="000000"/>
        </a:accent4>
        <a:accent5>
          <a:srgbClr val="E2CAAA"/>
        </a:accent5>
        <a:accent6>
          <a:srgbClr val="35742A"/>
        </a:accent6>
        <a:hlink>
          <a:srgbClr val="996600"/>
        </a:hlink>
        <a:folHlink>
          <a:srgbClr val="AFBF3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dge 8">
        <a:dk1>
          <a:srgbClr val="000000"/>
        </a:dk1>
        <a:lt1>
          <a:srgbClr val="FFFFFF"/>
        </a:lt1>
        <a:dk2>
          <a:srgbClr val="CC0000"/>
        </a:dk2>
        <a:lt2>
          <a:srgbClr val="666699"/>
        </a:lt2>
        <a:accent1>
          <a:srgbClr val="808080"/>
        </a:accent1>
        <a:accent2>
          <a:srgbClr val="999933"/>
        </a:accent2>
        <a:accent3>
          <a:srgbClr val="FFFFFF"/>
        </a:accent3>
        <a:accent4>
          <a:srgbClr val="000000"/>
        </a:accent4>
        <a:accent5>
          <a:srgbClr val="C0C0C0"/>
        </a:accent5>
        <a:accent6>
          <a:srgbClr val="8A8A2D"/>
        </a:accent6>
        <a:hlink>
          <a:srgbClr val="4C6D80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dge 9">
        <a:dk1>
          <a:srgbClr val="000000"/>
        </a:dk1>
        <a:lt1>
          <a:srgbClr val="FFFFFF"/>
        </a:lt1>
        <a:dk2>
          <a:srgbClr val="003399"/>
        </a:dk2>
        <a:lt2>
          <a:srgbClr val="666699"/>
        </a:lt2>
        <a:accent1>
          <a:srgbClr val="009999"/>
        </a:accent1>
        <a:accent2>
          <a:srgbClr val="4C6D4E"/>
        </a:accent2>
        <a:accent3>
          <a:srgbClr val="FFFFFF"/>
        </a:accent3>
        <a:accent4>
          <a:srgbClr val="000000"/>
        </a:accent4>
        <a:accent5>
          <a:srgbClr val="AACACA"/>
        </a:accent5>
        <a:accent6>
          <a:srgbClr val="446246"/>
        </a:accent6>
        <a:hlink>
          <a:srgbClr val="4C6D80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1_Edge">
  <a:themeElements>
    <a:clrScheme name="Edge 7">
      <a:dk1>
        <a:srgbClr val="000000"/>
      </a:dk1>
      <a:lt1>
        <a:srgbClr val="FFFFFF"/>
      </a:lt1>
      <a:dk2>
        <a:srgbClr val="006633"/>
      </a:dk2>
      <a:lt2>
        <a:srgbClr val="5F5F5F"/>
      </a:lt2>
      <a:accent1>
        <a:srgbClr val="CC9900"/>
      </a:accent1>
      <a:accent2>
        <a:srgbClr val="3B812F"/>
      </a:accent2>
      <a:accent3>
        <a:srgbClr val="FFFFFF"/>
      </a:accent3>
      <a:accent4>
        <a:srgbClr val="000000"/>
      </a:accent4>
      <a:accent5>
        <a:srgbClr val="E2CAAA"/>
      </a:accent5>
      <a:accent6>
        <a:srgbClr val="35742A"/>
      </a:accent6>
      <a:hlink>
        <a:srgbClr val="996600"/>
      </a:hlink>
      <a:folHlink>
        <a:srgbClr val="AFBF39"/>
      </a:folHlink>
    </a:clrScheme>
    <a:fontScheme name="Edge">
      <a:majorFont>
        <a:latin typeface="Garamond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342900" marR="0" indent="-342900" algn="l" defTabSz="914400" rtl="0" eaLnBrk="1" fontAlgn="base" latinLnBrk="0" hangingPunct="1">
          <a:lnSpc>
            <a:spcPct val="100000"/>
          </a:lnSpc>
          <a:spcBef>
            <a:spcPct val="20000"/>
          </a:spcBef>
          <a:spcAft>
            <a:spcPct val="0"/>
          </a:spcAft>
          <a:buClr>
            <a:schemeClr val="accent1"/>
          </a:buClr>
          <a:buSzPct val="65000"/>
          <a:buFont typeface="Wingdings" pitchFamily="-110" charset="2"/>
          <a:buChar char="n"/>
          <a:tabLst/>
          <a:defRPr kumimoji="0" lang="en-US" sz="3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342900" marR="0" indent="-342900" algn="l" defTabSz="914400" rtl="0" eaLnBrk="1" fontAlgn="base" latinLnBrk="0" hangingPunct="1">
          <a:lnSpc>
            <a:spcPct val="100000"/>
          </a:lnSpc>
          <a:spcBef>
            <a:spcPct val="20000"/>
          </a:spcBef>
          <a:spcAft>
            <a:spcPct val="0"/>
          </a:spcAft>
          <a:buClr>
            <a:schemeClr val="accent1"/>
          </a:buClr>
          <a:buSzPct val="65000"/>
          <a:buFont typeface="Wingdings" pitchFamily="-110" charset="2"/>
          <a:buChar char="n"/>
          <a:tabLst/>
          <a:defRPr kumimoji="0" lang="en-US" sz="3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Edge 1">
        <a:dk1>
          <a:srgbClr val="333333"/>
        </a:dk1>
        <a:lt1>
          <a:srgbClr val="FFFFFF"/>
        </a:lt1>
        <a:dk2>
          <a:srgbClr val="820000"/>
        </a:dk2>
        <a:lt2>
          <a:srgbClr val="FFFFFF"/>
        </a:lt2>
        <a:accent1>
          <a:srgbClr val="FF9900"/>
        </a:accent1>
        <a:accent2>
          <a:srgbClr val="CC3300"/>
        </a:accent2>
        <a:accent3>
          <a:srgbClr val="C1AAAA"/>
        </a:accent3>
        <a:accent4>
          <a:srgbClr val="DADADA"/>
        </a:accent4>
        <a:accent5>
          <a:srgbClr val="FFCAAA"/>
        </a:accent5>
        <a:accent6>
          <a:srgbClr val="B92D00"/>
        </a:accent6>
        <a:hlink>
          <a:srgbClr val="808080"/>
        </a:hlink>
        <a:folHlink>
          <a:srgbClr val="666633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Edge 2">
        <a:dk1>
          <a:srgbClr val="333333"/>
        </a:dk1>
        <a:lt1>
          <a:srgbClr val="CCCCFF"/>
        </a:lt1>
        <a:dk2>
          <a:srgbClr val="0B0506"/>
        </a:dk2>
        <a:lt2>
          <a:srgbClr val="FFFFFF"/>
        </a:lt2>
        <a:accent1>
          <a:srgbClr val="3366CC"/>
        </a:accent1>
        <a:accent2>
          <a:srgbClr val="3333CC"/>
        </a:accent2>
        <a:accent3>
          <a:srgbClr val="AAAAAA"/>
        </a:accent3>
        <a:accent4>
          <a:srgbClr val="AEAEDA"/>
        </a:accent4>
        <a:accent5>
          <a:srgbClr val="ADB8E2"/>
        </a:accent5>
        <a:accent6>
          <a:srgbClr val="2D2DB9"/>
        </a:accent6>
        <a:hlink>
          <a:srgbClr val="808080"/>
        </a:hlink>
        <a:folHlink>
          <a:srgbClr val="666633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Edge 3">
        <a:dk1>
          <a:srgbClr val="333333"/>
        </a:dk1>
        <a:lt1>
          <a:srgbClr val="FFFFFF"/>
        </a:lt1>
        <a:dk2>
          <a:srgbClr val="221013"/>
        </a:dk2>
        <a:lt2>
          <a:srgbClr val="FFFFFF"/>
        </a:lt2>
        <a:accent1>
          <a:srgbClr val="CC3300"/>
        </a:accent1>
        <a:accent2>
          <a:srgbClr val="CC9900"/>
        </a:accent2>
        <a:accent3>
          <a:srgbClr val="ABAAAA"/>
        </a:accent3>
        <a:accent4>
          <a:srgbClr val="DADADA"/>
        </a:accent4>
        <a:accent5>
          <a:srgbClr val="E2ADAA"/>
        </a:accent5>
        <a:accent6>
          <a:srgbClr val="B98A00"/>
        </a:accent6>
        <a:hlink>
          <a:srgbClr val="808080"/>
        </a:hlink>
        <a:folHlink>
          <a:srgbClr val="666633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Edge 4">
        <a:dk1>
          <a:srgbClr val="11054B"/>
        </a:dk1>
        <a:lt1>
          <a:srgbClr val="FFFFFF"/>
        </a:lt1>
        <a:dk2>
          <a:srgbClr val="0000CC"/>
        </a:dk2>
        <a:lt2>
          <a:srgbClr val="FFFFFF"/>
        </a:lt2>
        <a:accent1>
          <a:srgbClr val="FF6600"/>
        </a:accent1>
        <a:accent2>
          <a:srgbClr val="FF3300"/>
        </a:accent2>
        <a:accent3>
          <a:srgbClr val="AAAAE2"/>
        </a:accent3>
        <a:accent4>
          <a:srgbClr val="DADADA"/>
        </a:accent4>
        <a:accent5>
          <a:srgbClr val="FFB8AA"/>
        </a:accent5>
        <a:accent6>
          <a:srgbClr val="E72D00"/>
        </a:accent6>
        <a:hlink>
          <a:srgbClr val="CC9900"/>
        </a:hlink>
        <a:folHlink>
          <a:srgbClr val="B2B2B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Edge 5">
        <a:dk1>
          <a:srgbClr val="9B8D65"/>
        </a:dk1>
        <a:lt1>
          <a:srgbClr val="F8F8F8"/>
        </a:lt1>
        <a:dk2>
          <a:srgbClr val="002600"/>
        </a:dk2>
        <a:lt2>
          <a:srgbClr val="FAFACC"/>
        </a:lt2>
        <a:accent1>
          <a:srgbClr val="CC9933"/>
        </a:accent1>
        <a:accent2>
          <a:srgbClr val="8F9967"/>
        </a:accent2>
        <a:accent3>
          <a:srgbClr val="AAACAA"/>
        </a:accent3>
        <a:accent4>
          <a:srgbClr val="D4D4D4"/>
        </a:accent4>
        <a:accent5>
          <a:srgbClr val="E2CAAD"/>
        </a:accent5>
        <a:accent6>
          <a:srgbClr val="818A5D"/>
        </a:accent6>
        <a:hlink>
          <a:srgbClr val="336600"/>
        </a:hlink>
        <a:folHlink>
          <a:srgbClr val="8080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Edge 6">
        <a:dk1>
          <a:srgbClr val="333333"/>
        </a:dk1>
        <a:lt1>
          <a:srgbClr val="FFFFFF"/>
        </a:lt1>
        <a:dk2>
          <a:srgbClr val="006699"/>
        </a:dk2>
        <a:lt2>
          <a:srgbClr val="FFFFFF"/>
        </a:lt2>
        <a:accent1>
          <a:srgbClr val="CC9900"/>
        </a:accent1>
        <a:accent2>
          <a:srgbClr val="FF9900"/>
        </a:accent2>
        <a:accent3>
          <a:srgbClr val="AAB8CA"/>
        </a:accent3>
        <a:accent4>
          <a:srgbClr val="DADADA"/>
        </a:accent4>
        <a:accent5>
          <a:srgbClr val="E2CAAA"/>
        </a:accent5>
        <a:accent6>
          <a:srgbClr val="E78A00"/>
        </a:accent6>
        <a:hlink>
          <a:srgbClr val="FFCC00"/>
        </a:hlink>
        <a:folHlink>
          <a:srgbClr val="706F37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Edge 7">
        <a:dk1>
          <a:srgbClr val="000000"/>
        </a:dk1>
        <a:lt1>
          <a:srgbClr val="FFFFFF"/>
        </a:lt1>
        <a:dk2>
          <a:srgbClr val="006633"/>
        </a:dk2>
        <a:lt2>
          <a:srgbClr val="5F5F5F"/>
        </a:lt2>
        <a:accent1>
          <a:srgbClr val="CC9900"/>
        </a:accent1>
        <a:accent2>
          <a:srgbClr val="3B812F"/>
        </a:accent2>
        <a:accent3>
          <a:srgbClr val="FFFFFF"/>
        </a:accent3>
        <a:accent4>
          <a:srgbClr val="000000"/>
        </a:accent4>
        <a:accent5>
          <a:srgbClr val="E2CAAA"/>
        </a:accent5>
        <a:accent6>
          <a:srgbClr val="35742A"/>
        </a:accent6>
        <a:hlink>
          <a:srgbClr val="996600"/>
        </a:hlink>
        <a:folHlink>
          <a:srgbClr val="AFBF3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dge 8">
        <a:dk1>
          <a:srgbClr val="000000"/>
        </a:dk1>
        <a:lt1>
          <a:srgbClr val="FFFFFF"/>
        </a:lt1>
        <a:dk2>
          <a:srgbClr val="CC0000"/>
        </a:dk2>
        <a:lt2>
          <a:srgbClr val="666699"/>
        </a:lt2>
        <a:accent1>
          <a:srgbClr val="808080"/>
        </a:accent1>
        <a:accent2>
          <a:srgbClr val="999933"/>
        </a:accent2>
        <a:accent3>
          <a:srgbClr val="FFFFFF"/>
        </a:accent3>
        <a:accent4>
          <a:srgbClr val="000000"/>
        </a:accent4>
        <a:accent5>
          <a:srgbClr val="C0C0C0"/>
        </a:accent5>
        <a:accent6>
          <a:srgbClr val="8A8A2D"/>
        </a:accent6>
        <a:hlink>
          <a:srgbClr val="4C6D80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dge 9">
        <a:dk1>
          <a:srgbClr val="000000"/>
        </a:dk1>
        <a:lt1>
          <a:srgbClr val="FFFFFF"/>
        </a:lt1>
        <a:dk2>
          <a:srgbClr val="003399"/>
        </a:dk2>
        <a:lt2>
          <a:srgbClr val="666699"/>
        </a:lt2>
        <a:accent1>
          <a:srgbClr val="009999"/>
        </a:accent1>
        <a:accent2>
          <a:srgbClr val="4C6D4E"/>
        </a:accent2>
        <a:accent3>
          <a:srgbClr val="FFFFFF"/>
        </a:accent3>
        <a:accent4>
          <a:srgbClr val="000000"/>
        </a:accent4>
        <a:accent5>
          <a:srgbClr val="AACACA"/>
        </a:accent5>
        <a:accent6>
          <a:srgbClr val="446246"/>
        </a:accent6>
        <a:hlink>
          <a:srgbClr val="4C6D80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Simple Light">
  <a:themeElements>
    <a:clrScheme name="Simple Light">
      <a:dk1>
        <a:srgbClr val="000000"/>
      </a:dk1>
      <a:lt1>
        <a:srgbClr val="FFFFFF"/>
      </a:lt1>
      <a:dk2>
        <a:srgbClr val="595959"/>
      </a:dk2>
      <a:lt2>
        <a:srgbClr val="EEEEEE"/>
      </a:lt2>
      <a:accent1>
        <a:srgbClr val="FFAB40"/>
      </a:accent1>
      <a:accent2>
        <a:srgbClr val="212121"/>
      </a:accent2>
      <a:accent3>
        <a:srgbClr val="78909C"/>
      </a:accent3>
      <a:accent4>
        <a:srgbClr val="FFAB40"/>
      </a:accent4>
      <a:accent5>
        <a:srgbClr val="0097A7"/>
      </a:accent5>
      <a:accent6>
        <a:srgbClr val="EEFF41"/>
      </a:accent6>
      <a:hlink>
        <a:srgbClr val="0097A7"/>
      </a:hlink>
      <a:folHlink>
        <a:srgbClr val="0097A7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Module">
  <a:themeElements>
    <a:clrScheme name="Module">
      <a:dk1>
        <a:sysClr val="windowText" lastClr="000000"/>
      </a:dk1>
      <a:lt1>
        <a:sysClr val="window" lastClr="FFFFFF"/>
      </a:lt1>
      <a:dk2>
        <a:srgbClr val="5A6378"/>
      </a:dk2>
      <a:lt2>
        <a:srgbClr val="D4D4D6"/>
      </a:lt2>
      <a:accent1>
        <a:srgbClr val="F0AD00"/>
      </a:accent1>
      <a:accent2>
        <a:srgbClr val="60B5CC"/>
      </a:accent2>
      <a:accent3>
        <a:srgbClr val="E66C7D"/>
      </a:accent3>
      <a:accent4>
        <a:srgbClr val="6BB76D"/>
      </a:accent4>
      <a:accent5>
        <a:srgbClr val="E88651"/>
      </a:accent5>
      <a:accent6>
        <a:srgbClr val="C64847"/>
      </a:accent6>
      <a:hlink>
        <a:srgbClr val="168BBA"/>
      </a:hlink>
      <a:folHlink>
        <a:srgbClr val="680000"/>
      </a:folHlink>
    </a:clrScheme>
    <a:fontScheme name="Module">
      <a:majorFont>
        <a:latin typeface="Corbel"/>
        <a:ea typeface=""/>
        <a:cs typeface=""/>
        <a:font script="Jpan" typeface="HGｺﾞｼｯｸM"/>
        <a:font script="Hang" typeface="HY엽서L"/>
        <a:font script="Hans" typeface="华文楷体"/>
        <a:font script="Hant" typeface="新細明體"/>
        <a:font script="Arab" typeface="Tahoma"/>
        <a:font script="Hebr" typeface="Miriam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Corbel"/>
        <a:ea typeface=""/>
        <a:cs typeface=""/>
        <a:font script="Jpan" typeface="HGｺﾞｼｯｸM"/>
        <a:font script="Hang" typeface="HY엽서L"/>
        <a:font script="Hans" typeface="华文楷体"/>
        <a:font script="Hant" typeface="新細明體"/>
        <a:font script="Arab" typeface="Tahoma"/>
        <a:font script="Hebr" typeface="Miriam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Modul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47500"/>
                <a:satMod val="137000"/>
              </a:schemeClr>
            </a:gs>
            <a:gs pos="55000">
              <a:schemeClr val="phClr">
                <a:shade val="69000"/>
                <a:satMod val="137000"/>
              </a:schemeClr>
            </a:gs>
            <a:gs pos="100000">
              <a:schemeClr val="phClr">
                <a:shade val="98000"/>
                <a:satMod val="137000"/>
              </a:schemeClr>
            </a:gs>
          </a:gsLst>
          <a:lin ang="16200000" scaled="0"/>
        </a:gradFill>
      </a:fillStyleLst>
      <a:lnStyleLst>
        <a:ln w="6350" cap="rnd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48000" cap="flat" cmpd="thickThin" algn="ctr">
          <a:solidFill>
            <a:schemeClr val="phClr"/>
          </a:solidFill>
          <a:prstDash val="solid"/>
        </a:ln>
        <a:ln w="48500" cap="flat" cmpd="thickThin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5000" dist="25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39000" dist="254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39000" dist="25400" dir="5400000" rotWithShape="0">
              <a:srgbClr val="000000">
                <a:alpha val="38000"/>
              </a:srgbClr>
            </a:outerShdw>
          </a:effectLst>
          <a:scene3d>
            <a:camera prst="orthographicFront" fov="0">
              <a:rot lat="0" lon="0" rev="0"/>
            </a:camera>
            <a:lightRig rig="threePt" dir="t">
              <a:rot lat="0" lon="0" rev="1800000"/>
            </a:lightRig>
          </a:scene3d>
          <a:sp3d prstMaterial="matte">
            <a:bevelT h="200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8000"/>
                <a:satMod val="300000"/>
              </a:schemeClr>
            </a:gs>
            <a:gs pos="12000">
              <a:schemeClr val="phClr">
                <a:tint val="48000"/>
                <a:satMod val="300000"/>
              </a:schemeClr>
            </a:gs>
            <a:gs pos="20000">
              <a:schemeClr val="phClr">
                <a:tint val="49000"/>
                <a:satMod val="300000"/>
              </a:schemeClr>
            </a:gs>
            <a:gs pos="100000">
              <a:schemeClr val="phClr">
                <a:shade val="30000"/>
              </a:schemeClr>
            </a:gs>
          </a:gsLst>
          <a:path path="circle">
            <a:fillToRect l="10000" t="-25000" r="10000" b="125000"/>
          </a:path>
        </a:gradFill>
        <a:blipFill>
          <a:blip xmlns:r="http://schemas.openxmlformats.org/officeDocument/2006/relationships" r:embed="rId1">
            <a:duotone>
              <a:schemeClr val="phClr">
                <a:shade val="75000"/>
                <a:satMod val="105000"/>
              </a:schemeClr>
              <a:schemeClr val="phClr">
                <a:tint val="95000"/>
                <a:satMod val="105000"/>
              </a:schemeClr>
            </a:duotone>
          </a:blip>
          <a:tile tx="0" ty="0" sx="38000" sy="38000" flip="none" algn="tl"/>
        </a:blip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a:style>
    </a:spDef>
  </a:objectDefaults>
  <a:extraClrSchemeLst/>
</a:theme>
</file>

<file path=ppt/theme/theme7.xml><?xml version="1.0" encoding="utf-8"?>
<a:theme xmlns:a="http://schemas.openxmlformats.org/drawingml/2006/main" name="Default Design">
  <a:themeElements>
    <a:clrScheme name="Default Desig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Default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8.xml><?xml version="1.0" encoding="utf-8"?>
<a:theme xmlns:a="http://schemas.openxmlformats.org/drawingml/2006/main" name="1_Office Theme">
  <a:themeElements>
    <a:clrScheme name="Custom 4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17365D"/>
      </a:hlink>
      <a:folHlink>
        <a:srgbClr val="17365D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9.xml><?xml version="1.0" encoding="utf-8"?>
<a:theme xmlns:a="http://schemas.openxmlformats.org/drawingml/2006/main" name="1_Module">
  <a:themeElements>
    <a:clrScheme name="Module">
      <a:dk1>
        <a:sysClr val="windowText" lastClr="000000"/>
      </a:dk1>
      <a:lt1>
        <a:sysClr val="window" lastClr="FFFFFF"/>
      </a:lt1>
      <a:dk2>
        <a:srgbClr val="5A6378"/>
      </a:dk2>
      <a:lt2>
        <a:srgbClr val="D4D4D6"/>
      </a:lt2>
      <a:accent1>
        <a:srgbClr val="F0AD00"/>
      </a:accent1>
      <a:accent2>
        <a:srgbClr val="60B5CC"/>
      </a:accent2>
      <a:accent3>
        <a:srgbClr val="E66C7D"/>
      </a:accent3>
      <a:accent4>
        <a:srgbClr val="6BB76D"/>
      </a:accent4>
      <a:accent5>
        <a:srgbClr val="E88651"/>
      </a:accent5>
      <a:accent6>
        <a:srgbClr val="C64847"/>
      </a:accent6>
      <a:hlink>
        <a:srgbClr val="168BBA"/>
      </a:hlink>
      <a:folHlink>
        <a:srgbClr val="680000"/>
      </a:folHlink>
    </a:clrScheme>
    <a:fontScheme name="Module">
      <a:majorFont>
        <a:latin typeface="Corbel"/>
        <a:ea typeface=""/>
        <a:cs typeface=""/>
        <a:font script="Jpan" typeface="HGｺﾞｼｯｸM"/>
        <a:font script="Hang" typeface="HY엽서L"/>
        <a:font script="Hans" typeface="华文楷体"/>
        <a:font script="Hant" typeface="新細明體"/>
        <a:font script="Arab" typeface="Tahoma"/>
        <a:font script="Hebr" typeface="Miriam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Corbel"/>
        <a:ea typeface=""/>
        <a:cs typeface=""/>
        <a:font script="Jpan" typeface="HGｺﾞｼｯｸM"/>
        <a:font script="Hang" typeface="HY엽서L"/>
        <a:font script="Hans" typeface="华文楷体"/>
        <a:font script="Hant" typeface="新細明體"/>
        <a:font script="Arab" typeface="Tahoma"/>
        <a:font script="Hebr" typeface="Miriam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Modul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47500"/>
                <a:satMod val="137000"/>
              </a:schemeClr>
            </a:gs>
            <a:gs pos="55000">
              <a:schemeClr val="phClr">
                <a:shade val="69000"/>
                <a:satMod val="137000"/>
              </a:schemeClr>
            </a:gs>
            <a:gs pos="100000">
              <a:schemeClr val="phClr">
                <a:shade val="98000"/>
                <a:satMod val="137000"/>
              </a:schemeClr>
            </a:gs>
          </a:gsLst>
          <a:lin ang="16200000" scaled="0"/>
        </a:gradFill>
      </a:fillStyleLst>
      <a:lnStyleLst>
        <a:ln w="6350" cap="rnd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48000" cap="flat" cmpd="thickThin" algn="ctr">
          <a:solidFill>
            <a:schemeClr val="phClr"/>
          </a:solidFill>
          <a:prstDash val="solid"/>
        </a:ln>
        <a:ln w="48500" cap="flat" cmpd="thickThin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5000" dist="25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39000" dist="254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39000" dist="25400" dir="5400000" rotWithShape="0">
              <a:srgbClr val="000000">
                <a:alpha val="38000"/>
              </a:srgbClr>
            </a:outerShdw>
          </a:effectLst>
          <a:scene3d>
            <a:camera prst="orthographicFront" fov="0">
              <a:rot lat="0" lon="0" rev="0"/>
            </a:camera>
            <a:lightRig rig="threePt" dir="t">
              <a:rot lat="0" lon="0" rev="1800000"/>
            </a:lightRig>
          </a:scene3d>
          <a:sp3d prstMaterial="matte">
            <a:bevelT h="200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8000"/>
                <a:satMod val="300000"/>
              </a:schemeClr>
            </a:gs>
            <a:gs pos="12000">
              <a:schemeClr val="phClr">
                <a:tint val="48000"/>
                <a:satMod val="300000"/>
              </a:schemeClr>
            </a:gs>
            <a:gs pos="20000">
              <a:schemeClr val="phClr">
                <a:tint val="49000"/>
                <a:satMod val="300000"/>
              </a:schemeClr>
            </a:gs>
            <a:gs pos="100000">
              <a:schemeClr val="phClr">
                <a:shade val="30000"/>
              </a:schemeClr>
            </a:gs>
          </a:gsLst>
          <a:path path="circle">
            <a:fillToRect l="10000" t="-25000" r="10000" b="125000"/>
          </a:path>
        </a:gradFill>
        <a:blipFill>
          <a:blip xmlns:r="http://schemas.openxmlformats.org/officeDocument/2006/relationships" r:embed="rId1">
            <a:duotone>
              <a:schemeClr val="phClr">
                <a:shade val="75000"/>
                <a:satMod val="105000"/>
              </a:schemeClr>
              <a:schemeClr val="phClr">
                <a:tint val="95000"/>
                <a:satMod val="105000"/>
              </a:schemeClr>
            </a:duotone>
          </a:blip>
          <a:tile tx="0" ty="0" sx="38000" sy="38000" flip="none" algn="tl"/>
        </a:blip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a:style>
    </a:spDef>
  </a:objectDefaults>
  <a:extraClrSchemeLst/>
</a:theme>
</file>

<file path=ppt/theme/themeOverride1.xml><?xml version="1.0" encoding="utf-8"?>
<a:themeOverride xmlns:a="http://schemas.openxmlformats.org/drawingml/2006/main">
  <a:clrScheme name="Module">
    <a:dk1>
      <a:sysClr val="windowText" lastClr="000000"/>
    </a:dk1>
    <a:lt1>
      <a:sysClr val="window" lastClr="FFFFFF"/>
    </a:lt1>
    <a:dk2>
      <a:srgbClr val="5A6378"/>
    </a:dk2>
    <a:lt2>
      <a:srgbClr val="D4D4D6"/>
    </a:lt2>
    <a:accent1>
      <a:srgbClr val="F0AD00"/>
    </a:accent1>
    <a:accent2>
      <a:srgbClr val="60B5CC"/>
    </a:accent2>
    <a:accent3>
      <a:srgbClr val="E66C7D"/>
    </a:accent3>
    <a:accent4>
      <a:srgbClr val="6BB76D"/>
    </a:accent4>
    <a:accent5>
      <a:srgbClr val="E88651"/>
    </a:accent5>
    <a:accent6>
      <a:srgbClr val="C64847"/>
    </a:accent6>
    <a:hlink>
      <a:srgbClr val="168BBA"/>
    </a:hlink>
    <a:folHlink>
      <a:srgbClr val="680000"/>
    </a:folHlink>
  </a:clrScheme>
</a:themeOverride>
</file>

<file path=ppt/theme/themeOverride2.xml><?xml version="1.0" encoding="utf-8"?>
<a:themeOverride xmlns:a="http://schemas.openxmlformats.org/drawingml/2006/main">
  <a:clrScheme name="Module">
    <a:dk1>
      <a:sysClr val="windowText" lastClr="000000"/>
    </a:dk1>
    <a:lt1>
      <a:sysClr val="window" lastClr="FFFFFF"/>
    </a:lt1>
    <a:dk2>
      <a:srgbClr val="5A6378"/>
    </a:dk2>
    <a:lt2>
      <a:srgbClr val="D4D4D6"/>
    </a:lt2>
    <a:accent1>
      <a:srgbClr val="F0AD00"/>
    </a:accent1>
    <a:accent2>
      <a:srgbClr val="60B5CC"/>
    </a:accent2>
    <a:accent3>
      <a:srgbClr val="E66C7D"/>
    </a:accent3>
    <a:accent4>
      <a:srgbClr val="6BB76D"/>
    </a:accent4>
    <a:accent5>
      <a:srgbClr val="E88651"/>
    </a:accent5>
    <a:accent6>
      <a:srgbClr val="C64847"/>
    </a:accent6>
    <a:hlink>
      <a:srgbClr val="168BBA"/>
    </a:hlink>
    <a:folHlink>
      <a:srgbClr val="680000"/>
    </a:folHlink>
  </a:clrScheme>
</a:themeOverride>
</file>

<file path=ppt/theme/themeOverride3.xml><?xml version="1.0" encoding="utf-8"?>
<a:themeOverride xmlns:a="http://schemas.openxmlformats.org/drawingml/2006/main">
  <a:clrScheme name="Module">
    <a:dk1>
      <a:sysClr val="windowText" lastClr="000000"/>
    </a:dk1>
    <a:lt1>
      <a:sysClr val="window" lastClr="FFFFFF"/>
    </a:lt1>
    <a:dk2>
      <a:srgbClr val="5A6378"/>
    </a:dk2>
    <a:lt2>
      <a:srgbClr val="D4D4D6"/>
    </a:lt2>
    <a:accent1>
      <a:srgbClr val="F0AD00"/>
    </a:accent1>
    <a:accent2>
      <a:srgbClr val="60B5CC"/>
    </a:accent2>
    <a:accent3>
      <a:srgbClr val="E66C7D"/>
    </a:accent3>
    <a:accent4>
      <a:srgbClr val="6BB76D"/>
    </a:accent4>
    <a:accent5>
      <a:srgbClr val="E88651"/>
    </a:accent5>
    <a:accent6>
      <a:srgbClr val="C64847"/>
    </a:accent6>
    <a:hlink>
      <a:srgbClr val="168BBA"/>
    </a:hlink>
    <a:folHlink>
      <a:srgbClr val="680000"/>
    </a:folHlink>
  </a:clrScheme>
</a:themeOverride>
</file>

<file path=ppt/theme/themeOverride4.xml><?xml version="1.0" encoding="utf-8"?>
<a:themeOverride xmlns:a="http://schemas.openxmlformats.org/drawingml/2006/main">
  <a:clrScheme name="Module">
    <a:dk1>
      <a:sysClr val="windowText" lastClr="000000"/>
    </a:dk1>
    <a:lt1>
      <a:sysClr val="window" lastClr="FFFFFF"/>
    </a:lt1>
    <a:dk2>
      <a:srgbClr val="5A6378"/>
    </a:dk2>
    <a:lt2>
      <a:srgbClr val="D4D4D6"/>
    </a:lt2>
    <a:accent1>
      <a:srgbClr val="F0AD00"/>
    </a:accent1>
    <a:accent2>
      <a:srgbClr val="60B5CC"/>
    </a:accent2>
    <a:accent3>
      <a:srgbClr val="E66C7D"/>
    </a:accent3>
    <a:accent4>
      <a:srgbClr val="6BB76D"/>
    </a:accent4>
    <a:accent5>
      <a:srgbClr val="E88651"/>
    </a:accent5>
    <a:accent6>
      <a:srgbClr val="C64847"/>
    </a:accent6>
    <a:hlink>
      <a:srgbClr val="168BBA"/>
    </a:hlink>
    <a:folHlink>
      <a:srgbClr val="680000"/>
    </a:folHlink>
  </a:clrScheme>
</a:themeOverride>
</file>

<file path=ppt/theme/themeOverride5.xml><?xml version="1.0" encoding="utf-8"?>
<a:themeOverride xmlns:a="http://schemas.openxmlformats.org/drawingml/2006/main">
  <a:clrScheme name="Module">
    <a:dk1>
      <a:sysClr val="windowText" lastClr="000000"/>
    </a:dk1>
    <a:lt1>
      <a:sysClr val="window" lastClr="FFFFFF"/>
    </a:lt1>
    <a:dk2>
      <a:srgbClr val="5A6378"/>
    </a:dk2>
    <a:lt2>
      <a:srgbClr val="D4D4D6"/>
    </a:lt2>
    <a:accent1>
      <a:srgbClr val="F0AD00"/>
    </a:accent1>
    <a:accent2>
      <a:srgbClr val="60B5CC"/>
    </a:accent2>
    <a:accent3>
      <a:srgbClr val="E66C7D"/>
    </a:accent3>
    <a:accent4>
      <a:srgbClr val="6BB76D"/>
    </a:accent4>
    <a:accent5>
      <a:srgbClr val="E88651"/>
    </a:accent5>
    <a:accent6>
      <a:srgbClr val="C64847"/>
    </a:accent6>
    <a:hlink>
      <a:srgbClr val="168BBA"/>
    </a:hlink>
    <a:folHlink>
      <a:srgbClr val="680000"/>
    </a:folHlink>
  </a:clrScheme>
</a:themeOverride>
</file>

<file path=ppt/theme/themeOverride6.xml><?xml version="1.0" encoding="utf-8"?>
<a:themeOverride xmlns:a="http://schemas.openxmlformats.org/drawingml/2006/main">
  <a:clrScheme name="Module">
    <a:dk1>
      <a:sysClr val="windowText" lastClr="000000"/>
    </a:dk1>
    <a:lt1>
      <a:sysClr val="window" lastClr="FFFFFF"/>
    </a:lt1>
    <a:dk2>
      <a:srgbClr val="5A6378"/>
    </a:dk2>
    <a:lt2>
      <a:srgbClr val="D4D4D6"/>
    </a:lt2>
    <a:accent1>
      <a:srgbClr val="F0AD00"/>
    </a:accent1>
    <a:accent2>
      <a:srgbClr val="60B5CC"/>
    </a:accent2>
    <a:accent3>
      <a:srgbClr val="E66C7D"/>
    </a:accent3>
    <a:accent4>
      <a:srgbClr val="6BB76D"/>
    </a:accent4>
    <a:accent5>
      <a:srgbClr val="E88651"/>
    </a:accent5>
    <a:accent6>
      <a:srgbClr val="C64847"/>
    </a:accent6>
    <a:hlink>
      <a:srgbClr val="168BBA"/>
    </a:hlink>
    <a:folHlink>
      <a:srgbClr val="680000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Edge</Template>
  <TotalTime>17261</TotalTime>
  <Words>3513</Words>
  <Application>Microsoft Office PowerPoint</Application>
  <PresentationFormat>On-screen Show (4:3)</PresentationFormat>
  <Paragraphs>903</Paragraphs>
  <Slides>102</Slides>
  <Notes>33</Notes>
  <HiddenSlides>0</HiddenSlides>
  <MMClips>0</MMClips>
  <ScaleCrop>false</ScaleCrop>
  <HeadingPairs>
    <vt:vector size="8" baseType="variant">
      <vt:variant>
        <vt:lpstr>Fonts Used</vt:lpstr>
      </vt:variant>
      <vt:variant>
        <vt:i4>32</vt:i4>
      </vt:variant>
      <vt:variant>
        <vt:lpstr>Theme</vt:lpstr>
      </vt:variant>
      <vt:variant>
        <vt:i4>24</vt:i4>
      </vt:variant>
      <vt:variant>
        <vt:lpstr>Embedded OLE Servers</vt:lpstr>
      </vt:variant>
      <vt:variant>
        <vt:i4>3</vt:i4>
      </vt:variant>
      <vt:variant>
        <vt:lpstr>Slide Titles</vt:lpstr>
      </vt:variant>
      <vt:variant>
        <vt:i4>102</vt:i4>
      </vt:variant>
    </vt:vector>
  </HeadingPairs>
  <TitlesOfParts>
    <vt:vector size="161" baseType="lpstr">
      <vt:lpstr>Arial Unicode MS</vt:lpstr>
      <vt:lpstr>Malgun Gothic</vt:lpstr>
      <vt:lpstr>ＭＳ Ｐゴシック</vt:lpstr>
      <vt:lpstr>SimSun</vt:lpstr>
      <vt:lpstr>SimSun</vt:lpstr>
      <vt:lpstr>Arial</vt:lpstr>
      <vt:lpstr>Arial Rounded MT Bold</vt:lpstr>
      <vt:lpstr>Calibri</vt:lpstr>
      <vt:lpstr>Calibri Light</vt:lpstr>
      <vt:lpstr>Cambria Math</vt:lpstr>
      <vt:lpstr>cmsy10</vt:lpstr>
      <vt:lpstr>Comic Sans MS</vt:lpstr>
      <vt:lpstr>Corbel</vt:lpstr>
      <vt:lpstr>EB Garamond</vt:lpstr>
      <vt:lpstr>Garamond</vt:lpstr>
      <vt:lpstr>Impact</vt:lpstr>
      <vt:lpstr>Lucida Bright</vt:lpstr>
      <vt:lpstr>Lucida Sans</vt:lpstr>
      <vt:lpstr>medium-content-serif-font</vt:lpstr>
      <vt:lpstr>Open Sans</vt:lpstr>
      <vt:lpstr>Osaka</vt:lpstr>
      <vt:lpstr>Palatino Linotype</vt:lpstr>
      <vt:lpstr>新細明體</vt:lpstr>
      <vt:lpstr>Rockwell</vt:lpstr>
      <vt:lpstr>Source Sans Pro</vt:lpstr>
      <vt:lpstr>Symbol</vt:lpstr>
      <vt:lpstr>Tahoma</vt:lpstr>
      <vt:lpstr>Times New Roman</vt:lpstr>
      <vt:lpstr>Ultra</vt:lpstr>
      <vt:lpstr>Wingdings</vt:lpstr>
      <vt:lpstr>Wingdings 2</vt:lpstr>
      <vt:lpstr>Wingdings 3</vt:lpstr>
      <vt:lpstr>1_Default Design</vt:lpstr>
      <vt:lpstr>Pixel</vt:lpstr>
      <vt:lpstr>Edge</vt:lpstr>
      <vt:lpstr>1_Edge</vt:lpstr>
      <vt:lpstr>Simple Light</vt:lpstr>
      <vt:lpstr>Module</vt:lpstr>
      <vt:lpstr>Default Design</vt:lpstr>
      <vt:lpstr>1_Office Theme</vt:lpstr>
      <vt:lpstr>1_Module</vt:lpstr>
      <vt:lpstr>2_Module</vt:lpstr>
      <vt:lpstr>Pulse</vt:lpstr>
      <vt:lpstr>KTH_PPT template 2014 general</vt:lpstr>
      <vt:lpstr>2_Edge</vt:lpstr>
      <vt:lpstr>3_Edge</vt:lpstr>
      <vt:lpstr>4_Edge</vt:lpstr>
      <vt:lpstr>2_Office Theme</vt:lpstr>
      <vt:lpstr>5_Edge</vt:lpstr>
      <vt:lpstr>3_Office Theme</vt:lpstr>
      <vt:lpstr>lecture1.key</vt:lpstr>
      <vt:lpstr>6_Edge</vt:lpstr>
      <vt:lpstr>Office Theme</vt:lpstr>
      <vt:lpstr>4_Office Theme</vt:lpstr>
      <vt:lpstr>2_Default Design</vt:lpstr>
      <vt:lpstr>7_Edge</vt:lpstr>
      <vt:lpstr>think-cell Slide</vt:lpstr>
      <vt:lpstr>Equation</vt:lpstr>
      <vt:lpstr>方程式</vt:lpstr>
      <vt:lpstr>Machine Learning: A Bird’s Eye View  </vt:lpstr>
      <vt:lpstr>We start a little light….</vt:lpstr>
      <vt:lpstr>PowerPoint Presentation</vt:lpstr>
      <vt:lpstr>Why “Learn”?</vt:lpstr>
      <vt:lpstr>What We Talk About When We  Talk About“Learning”</vt:lpstr>
      <vt:lpstr>What is Machine Learning?</vt:lpstr>
      <vt:lpstr>PowerPoint Presentation</vt:lpstr>
      <vt:lpstr>PowerPoint Presentation</vt:lpstr>
      <vt:lpstr>The data and the goal</vt:lpstr>
      <vt:lpstr>An example: data (loan application)</vt:lpstr>
      <vt:lpstr>An example: the learning task</vt:lpstr>
      <vt:lpstr>The machine learning framework</vt:lpstr>
      <vt:lpstr>The machine learning framework</vt:lpstr>
      <vt:lpstr>PowerPoint Presentation</vt:lpstr>
      <vt:lpstr>Steps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So many classifiers over the years….</vt:lpstr>
      <vt:lpstr>Generative vs. Discriminative Classifiers</vt:lpstr>
      <vt:lpstr>PowerPoint Presentation</vt:lpstr>
      <vt:lpstr>PowerPoint Presentation</vt:lpstr>
      <vt:lpstr>Example: k=6 (6NN)</vt:lpstr>
      <vt:lpstr>The Decision Tree Classifier</vt:lpstr>
      <vt:lpstr>The Loan Data Reproduced…</vt:lpstr>
      <vt:lpstr>Use the decision tree</vt:lpstr>
      <vt:lpstr>Is the decision tree unique?</vt:lpstr>
      <vt:lpstr>An example in a continuous space</vt:lpstr>
      <vt:lpstr>Artificial Neural Network (ANN)</vt:lpstr>
      <vt:lpstr>Artificial Neural Network (ANN)</vt:lpstr>
      <vt:lpstr>Support Vector Machine</vt:lpstr>
      <vt:lpstr>Support Vector Machine</vt:lpstr>
      <vt:lpstr>Support Vector Machine</vt:lpstr>
      <vt:lpstr>Generalization</vt:lpstr>
      <vt:lpstr>Generalization</vt:lpstr>
      <vt:lpstr>Bias-Variance Trade-off</vt:lpstr>
      <vt:lpstr>Towards Ensemble Classifiers…</vt:lpstr>
      <vt:lpstr>Ensemble of Classifiers—Learn to Combine</vt:lpstr>
      <vt:lpstr>PowerPoint Presentation</vt:lpstr>
      <vt:lpstr>PowerPoint Presentation</vt:lpstr>
      <vt:lpstr>Regression</vt:lpstr>
      <vt:lpstr>Regression: Over/under fitting</vt:lpstr>
      <vt:lpstr>Logistic Regression</vt:lpstr>
      <vt:lpstr>Sigmoid function f(x)</vt:lpstr>
      <vt:lpstr>PowerPoint Presentation</vt:lpstr>
      <vt:lpstr>Clustering Analysis</vt:lpstr>
      <vt:lpstr>K-Means</vt:lpstr>
      <vt:lpstr>PowerPoint Presentation</vt:lpstr>
      <vt:lpstr>Dimension Reduction</vt:lpstr>
      <vt:lpstr>PowerPoint Presentation</vt:lpstr>
      <vt:lpstr>Multi-Dimensional Scaling (MDS)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Developments in Neural Learning Systems</vt:lpstr>
      <vt:lpstr>PowerPoint Presentation</vt:lpstr>
      <vt:lpstr>The 2012 Breakthrough in Predictive Learning….</vt:lpstr>
      <vt:lpstr>Deep Learning:  Acknowledging Some Resources used here…</vt:lpstr>
      <vt:lpstr>Deep Learning </vt:lpstr>
      <vt:lpstr>Example Application</vt:lpstr>
      <vt:lpstr>Handwriting Digit Recognition</vt:lpstr>
      <vt:lpstr>Example Application</vt:lpstr>
      <vt:lpstr>Element of Neural Network </vt:lpstr>
      <vt:lpstr>Neural Network</vt:lpstr>
      <vt:lpstr>Neural Network </vt:lpstr>
      <vt:lpstr>Neural Network </vt:lpstr>
      <vt:lpstr>How to set network parameters</vt:lpstr>
      <vt:lpstr>Training Data</vt:lpstr>
      <vt:lpstr>Cost</vt:lpstr>
      <vt:lpstr>Total Cost</vt:lpstr>
      <vt:lpstr>PowerPoint Presentation</vt:lpstr>
      <vt:lpstr>Universality Theorem</vt:lpstr>
      <vt:lpstr>Fat + Short v.s. Thin + Tall</vt:lpstr>
      <vt:lpstr>Why Deep? </vt:lpstr>
      <vt:lpstr>Why Deep?</vt:lpstr>
      <vt:lpstr>Why Deep?</vt:lpstr>
      <vt:lpstr>Why Deep?</vt:lpstr>
      <vt:lpstr>PowerPoint Presentation</vt:lpstr>
      <vt:lpstr>Generative Adversarial Network (GAN)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Ever Tough Challenge to ML: Data Irregularities</vt:lpstr>
      <vt:lpstr>Imbalance in the Deep Learning Era</vt:lpstr>
      <vt:lpstr>PowerPoint Presentation</vt:lpstr>
      <vt:lpstr>PowerPoint Presentation</vt:lpstr>
      <vt:lpstr>PowerPoint Presentation</vt:lpstr>
    </vt:vector>
  </TitlesOfParts>
  <Company>UIC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upervised Learning</dc:title>
  <dc:creator>Preferred Customer</dc:creator>
  <cp:lastModifiedBy>Admin</cp:lastModifiedBy>
  <cp:revision>1960</cp:revision>
  <dcterms:created xsi:type="dcterms:W3CDTF">2004-06-21T03:23:40Z</dcterms:created>
  <dcterms:modified xsi:type="dcterms:W3CDTF">2019-02-26T05:24:20Z</dcterms:modified>
</cp:coreProperties>
</file>